
<file path=[Content_Types].xml><?xml version="1.0" encoding="utf-8"?>
<Types xmlns="http://schemas.openxmlformats.org/package/2006/content-types">
  <Default Extension="jpeg" ContentType="image/jpeg"/>
  <Default Extension="JPG" ContentType="image/.jpg"/>
  <Default Extension="png" ContentType="image/png"/>
  <Default Extension="gif" ContentType="image/gif"/>
  <Default Extension="rels" ContentType="application/vnd.openxmlformats-package.relationships+xml"/>
  <Default Extension="xml" ContentType="application/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2.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4" Type="http://schemas.openxmlformats.org/package/2006/relationships/metadata/thumbnail" Target="docProps/thumbnail.jpeg"/><Relationship Id="rId3" Type="http://schemas.openxmlformats.org/package/2006/relationships/metadata/core-properties" Target="docProps/core.xml"/><Relationship Id="rId2"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Lst>
  <p:notesMasterIdLst>
    <p:notesMasterId r:id="rId4"/>
  </p:notesMasterIdLst>
  <p:sldIdLst>
    <p:sldId id="256" r:id="rId3"/>
    <p:sldId id="257" r:id="rId5"/>
    <p:sldId id="258" r:id="rId6"/>
    <p:sldId id="259" r:id="rId7"/>
    <p:sldId id="261" r:id="rId8"/>
    <p:sldId id="262" r:id="rId9"/>
    <p:sldId id="263" r:id="rId10"/>
    <p:sldId id="264" r:id="rId11"/>
    <p:sldId id="269" r:id="rId12"/>
    <p:sldId id="265" r:id="rId13"/>
    <p:sldId id="266" r:id="rId14"/>
    <p:sldId id="270" r:id="rId15"/>
    <p:sldId id="271" r:id="rId16"/>
    <p:sldId id="272" r:id="rId17"/>
    <p:sldId id="278" r:id="rId18"/>
    <p:sldId id="273" r:id="rId19"/>
    <p:sldId id="274" r:id="rId20"/>
    <p:sldId id="275" r:id="rId21"/>
    <p:sldId id="279" r:id="rId22"/>
    <p:sldId id="283" r:id="rId23"/>
    <p:sldId id="280" r:id="rId24"/>
    <p:sldId id="260" r:id="rId25"/>
    <p:sldId id="284" r:id="rId26"/>
    <p:sldId id="285" r:id="rId27"/>
    <p:sldId id="281" r:id="rId28"/>
    <p:sldId id="286" r:id="rId29"/>
    <p:sldId id="287" r:id="rId30"/>
    <p:sldId id="292" r:id="rId31"/>
  </p:sldIdLst>
  <p:sldSz cx="12190095" cy="6858000"/>
  <p:notesSz cx="6858000" cy="9144000"/>
  <p:custDataLst>
    <p:tags r:id="rId35"/>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47A7FF"/>
    <a:srgbClr val="000000"/>
    <a:srgbClr val="FD77F3"/>
    <a:srgbClr val="5A61EC"/>
    <a:srgbClr val="2A4DFE"/>
    <a:srgbClr val="B00071"/>
    <a:srgbClr val="FF09A7"/>
    <a:srgbClr val="E60094"/>
    <a:srgbClr val="5874FE"/>
    <a:srgbClr val="151AF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1397" autoAdjust="0"/>
    <p:restoredTop sz="94660"/>
  </p:normalViewPr>
  <p:slideViewPr>
    <p:cSldViewPr showGuides="1">
      <p:cViewPr varScale="1">
        <p:scale>
          <a:sx n="107" d="100"/>
          <a:sy n="107" d="100"/>
        </p:scale>
        <p:origin x="960" y="96"/>
      </p:cViewPr>
      <p:guideLst>
        <p:guide orient="horz" pos="2160"/>
        <p:guide pos="3840"/>
      </p:guideLst>
    </p:cSldViewPr>
  </p:slideViewPr>
  <p:notesTextViewPr>
    <p:cViewPr>
      <p:scale>
        <a:sx n="100" d="100"/>
        <a:sy n="100" d="100"/>
      </p:scale>
      <p:origin x="0" y="0"/>
    </p:cViewPr>
  </p:notesTextViewPr>
  <p:gridSpacing cx="72008" cy="72008"/>
</p:viewPr>
</file>

<file path=ppt/_rels/presentation.xml.rels><?xml version="1.0" encoding="UTF-8" standalone="yes"?>
<Relationships xmlns="http://schemas.openxmlformats.org/package/2006/relationships"><Relationship Id="rId9" Type="http://schemas.openxmlformats.org/officeDocument/2006/relationships/slide" Target="slides/slide6.xml"/><Relationship Id="rId8" Type="http://schemas.openxmlformats.org/officeDocument/2006/relationships/slide" Target="slides/slide5.xml"/><Relationship Id="rId7" Type="http://schemas.openxmlformats.org/officeDocument/2006/relationships/slide" Target="slides/slide4.xml"/><Relationship Id="rId6" Type="http://schemas.openxmlformats.org/officeDocument/2006/relationships/slide" Target="slides/slide3.xml"/><Relationship Id="rId5" Type="http://schemas.openxmlformats.org/officeDocument/2006/relationships/slide" Target="slides/slide2.xml"/><Relationship Id="rId4" Type="http://schemas.openxmlformats.org/officeDocument/2006/relationships/notesMaster" Target="notesMasters/notesMaster1.xml"/><Relationship Id="rId35" Type="http://schemas.openxmlformats.org/officeDocument/2006/relationships/tags" Target="tags/tag2.xml"/><Relationship Id="rId34" Type="http://schemas.openxmlformats.org/officeDocument/2006/relationships/tableStyles" Target="tableStyles.xml"/><Relationship Id="rId33" Type="http://schemas.openxmlformats.org/officeDocument/2006/relationships/viewProps" Target="viewProps.xml"/><Relationship Id="rId32" Type="http://schemas.openxmlformats.org/officeDocument/2006/relationships/presProps" Target="presProps.xml"/><Relationship Id="rId31" Type="http://schemas.openxmlformats.org/officeDocument/2006/relationships/slide" Target="slides/slide28.xml"/><Relationship Id="rId30" Type="http://schemas.openxmlformats.org/officeDocument/2006/relationships/slide" Target="slides/slide27.xml"/><Relationship Id="rId3" Type="http://schemas.openxmlformats.org/officeDocument/2006/relationships/slide" Target="slides/slide1.xml"/><Relationship Id="rId29" Type="http://schemas.openxmlformats.org/officeDocument/2006/relationships/slide" Target="slides/slide26.xml"/><Relationship Id="rId28" Type="http://schemas.openxmlformats.org/officeDocument/2006/relationships/slide" Target="slides/slide25.xml"/><Relationship Id="rId27" Type="http://schemas.openxmlformats.org/officeDocument/2006/relationships/slide" Target="slides/slide24.xml"/><Relationship Id="rId26" Type="http://schemas.openxmlformats.org/officeDocument/2006/relationships/slide" Target="slides/slide23.xml"/><Relationship Id="rId25" Type="http://schemas.openxmlformats.org/officeDocument/2006/relationships/slide" Target="slides/slide22.xml"/><Relationship Id="rId24" Type="http://schemas.openxmlformats.org/officeDocument/2006/relationships/slide" Target="slides/slide21.xml"/><Relationship Id="rId23" Type="http://schemas.openxmlformats.org/officeDocument/2006/relationships/slide" Target="slides/slide20.xml"/><Relationship Id="rId22" Type="http://schemas.openxmlformats.org/officeDocument/2006/relationships/slide" Target="slides/slide19.xml"/><Relationship Id="rId21" Type="http://schemas.openxmlformats.org/officeDocument/2006/relationships/slide" Target="slides/slide18.xml"/><Relationship Id="rId20" Type="http://schemas.openxmlformats.org/officeDocument/2006/relationships/slide" Target="slides/slide17.xml"/><Relationship Id="rId2" Type="http://schemas.openxmlformats.org/officeDocument/2006/relationships/theme" Target="theme/theme1.xml"/><Relationship Id="rId19" Type="http://schemas.openxmlformats.org/officeDocument/2006/relationships/slide" Target="slides/slide16.xml"/><Relationship Id="rId18" Type="http://schemas.openxmlformats.org/officeDocument/2006/relationships/slide" Target="slides/slide15.xml"/><Relationship Id="rId17" Type="http://schemas.openxmlformats.org/officeDocument/2006/relationships/slide" Target="slides/slide14.xml"/><Relationship Id="rId16" Type="http://schemas.openxmlformats.org/officeDocument/2006/relationships/slide" Target="slides/slide13.xml"/><Relationship Id="rId15" Type="http://schemas.openxmlformats.org/officeDocument/2006/relationships/slide" Target="slides/slide12.xml"/><Relationship Id="rId14" Type="http://schemas.openxmlformats.org/officeDocument/2006/relationships/slide" Target="slides/slide11.xml"/><Relationship Id="rId13" Type="http://schemas.openxmlformats.org/officeDocument/2006/relationships/slide" Target="slides/slide10.xml"/><Relationship Id="rId12" Type="http://schemas.openxmlformats.org/officeDocument/2006/relationships/slide" Target="slides/slide9.xml"/><Relationship Id="rId11" Type="http://schemas.openxmlformats.org/officeDocument/2006/relationships/slide" Target="slides/slide8.xml"/><Relationship Id="rId10" Type="http://schemas.openxmlformats.org/officeDocument/2006/relationships/slide" Target="slides/slide7.xml"/><Relationship Id="rId1" Type="http://schemas.openxmlformats.org/officeDocument/2006/relationships/slideMaster" Target="slideMasters/slideMaster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E30B87BC-4C54-42F0-80F3-8F4558E7F9CF}" type="datetimeFigureOut">
              <a:rPr lang="zh-CN" altLang="en-US" smtClean="0"/>
            </a:fld>
            <a:endParaRPr lang="zh-CN" altLang="en-US"/>
          </a:p>
        </p:txBody>
      </p:sp>
      <p:sp>
        <p:nvSpPr>
          <p:cNvPr id="4" name="幻灯片图像占位符 3"/>
          <p:cNvSpPr>
            <a:spLocks noGrp="1" noRot="1" noChangeAspect="1"/>
          </p:cNvSpPr>
          <p:nvPr>
            <p:ph type="sldImg" idx="2"/>
          </p:nvPr>
        </p:nvSpPr>
        <p:spPr>
          <a:xfrm>
            <a:off x="382588" y="685800"/>
            <a:ext cx="6092825" cy="34290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
        <p:nvSpPr>
          <p:cNvPr id="6" name="页脚占位符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ACD155A8-87E7-42D9-9123-DE11223425F8}" type="slidenum">
              <a:rPr lang="zh-CN" altLang="en-US" smtClean="0"/>
            </a:fld>
            <a:endParaRPr lang="zh-CN" alt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0.xml"/></Relationships>
</file>

<file path=ppt/notesSlides/_rels/notesSlide1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1.xml"/></Relationships>
</file>

<file path=ppt/notesSlides/_rels/notesSlide1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2.xml"/></Relationships>
</file>

<file path=ppt/notesSlides/_rels/notesSlide1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3.xml"/></Relationships>
</file>

<file path=ppt/notesSlides/_rels/notesSlide1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4.xml"/></Relationships>
</file>

<file path=ppt/notesSlides/_rels/notesSlide1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5.xml"/></Relationships>
</file>

<file path=ppt/notesSlides/_rels/notesSlide1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6.xml"/></Relationships>
</file>

<file path=ppt/notesSlides/_rels/notesSlide1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7.xml"/></Relationships>
</file>

<file path=ppt/notesSlides/_rels/notesSlide1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8.xml"/></Relationships>
</file>

<file path=ppt/notesSlides/_rels/notesSlide1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9.xml"/></Relationships>
</file>

<file path=ppt/notesSlides/_rels/notesSlide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xml"/></Relationships>
</file>

<file path=ppt/notesSlides/_rels/notesSlide2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0.xml"/></Relationships>
</file>

<file path=ppt/notesSlides/_rels/notesSlide2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1.xml"/></Relationships>
</file>

<file path=ppt/notesSlides/_rels/notesSlide2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2.xml"/></Relationships>
</file>

<file path=ppt/notesSlides/_rels/notesSlide2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3.xml"/></Relationships>
</file>

<file path=ppt/notesSlides/_rels/notesSlide2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4.xml"/></Relationships>
</file>

<file path=ppt/notesSlides/_rels/notesSlide2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5.xml"/></Relationships>
</file>

<file path=ppt/notesSlides/_rels/notesSlide2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6.xml"/></Relationships>
</file>

<file path=ppt/notesSlides/_rels/notesSlide2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7.xml"/></Relationships>
</file>

<file path=ppt/notesSlides/_rels/notesSlide2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8.xml"/></Relationships>
</file>

<file path=ppt/notesSlides/_rels/notesSlide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xml"/></Relationships>
</file>

<file path=ppt/notesSlides/_rels/notesSlide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xml"/></Relationships>
</file>

<file path=ppt/notesSlides/_rels/notesSlide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xml"/></Relationships>
</file>

<file path=ppt/notesSlides/_rels/notesSlide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6.xml"/></Relationships>
</file>

<file path=ppt/notesSlides/_rels/notesSlide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7.xml"/></Relationships>
</file>

<file path=ppt/notesSlides/_rels/notesSlide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8.xml"/></Relationships>
</file>

<file path=ppt/notesSlides/_rels/notesSlide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9.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CD155A8-87E7-42D9-9123-DE11223425F8}" type="slidenum">
              <a:rPr lang="zh-CN" altLang="en-US" smtClean="0"/>
            </a:fld>
            <a:endParaRPr lang="zh-CN" alt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CD155A8-87E7-42D9-9123-DE11223425F8}" type="slidenum">
              <a:rPr lang="zh-CN" altLang="en-US" smtClean="0"/>
            </a:fld>
            <a:endParaRPr lang="zh-CN" altLang="en-US"/>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CD155A8-87E7-42D9-9123-DE11223425F8}" type="slidenum">
              <a:rPr lang="zh-CN" altLang="en-US" smtClean="0"/>
            </a:fld>
            <a:endParaRPr lang="zh-CN" altLang="en-US"/>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CD155A8-87E7-42D9-9123-DE11223425F8}" type="slidenum">
              <a:rPr lang="zh-CN" altLang="en-US" smtClean="0"/>
            </a:fld>
            <a:endParaRPr lang="zh-CN" altLang="en-US"/>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CD155A8-87E7-42D9-9123-DE11223425F8}" type="slidenum">
              <a:rPr lang="zh-CN" altLang="en-US" smtClean="0"/>
            </a:fld>
            <a:endParaRPr lang="zh-CN" altLang="en-US"/>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CD155A8-87E7-42D9-9123-DE11223425F8}" type="slidenum">
              <a:rPr lang="zh-CN" altLang="en-US" smtClean="0"/>
            </a:fld>
            <a:endParaRPr lang="zh-CN" altLang="en-US"/>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CD155A8-87E7-42D9-9123-DE11223425F8}" type="slidenum">
              <a:rPr lang="zh-CN" altLang="en-US" smtClean="0"/>
            </a:fld>
            <a:endParaRPr lang="zh-CN" altLang="en-US"/>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CD155A8-87E7-42D9-9123-DE11223425F8}" type="slidenum">
              <a:rPr lang="zh-CN" altLang="en-US" smtClean="0"/>
            </a:fld>
            <a:endParaRPr lang="zh-CN" altLang="en-US"/>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CD155A8-87E7-42D9-9123-DE11223425F8}" type="slidenum">
              <a:rPr lang="zh-CN" altLang="en-US" smtClean="0"/>
            </a:fld>
            <a:endParaRPr lang="zh-CN" altLang="en-US"/>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CD155A8-87E7-42D9-9123-DE11223425F8}" type="slidenum">
              <a:rPr lang="zh-CN" altLang="en-US" smtClean="0"/>
            </a:fld>
            <a:endParaRPr lang="zh-CN" altLang="en-US"/>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CD155A8-87E7-42D9-9123-DE11223425F8}" type="slidenum">
              <a:rPr lang="zh-CN" altLang="en-US" smtClean="0"/>
            </a:fld>
            <a:endParaRPr lang="zh-CN" alt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CD155A8-87E7-42D9-9123-DE11223425F8}" type="slidenum">
              <a:rPr lang="zh-CN" altLang="en-US" smtClean="0"/>
            </a:fld>
            <a:endParaRPr lang="zh-CN" altLang="en-US"/>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CD155A8-87E7-42D9-9123-DE11223425F8}" type="slidenum">
              <a:rPr lang="zh-CN" altLang="en-US" smtClean="0"/>
            </a:fld>
            <a:endParaRPr lang="zh-CN" altLang="en-US"/>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CD155A8-87E7-42D9-9123-DE11223425F8}" type="slidenum">
              <a:rPr lang="zh-CN" altLang="en-US" smtClean="0"/>
            </a:fld>
            <a:endParaRPr lang="zh-CN" altLang="en-US"/>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CD155A8-87E7-42D9-9123-DE11223425F8}" type="slidenum">
              <a:rPr lang="zh-CN" altLang="en-US" smtClean="0"/>
            </a:fld>
            <a:endParaRPr lang="zh-CN" altLang="en-US"/>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CD155A8-87E7-42D9-9123-DE11223425F8}" type="slidenum">
              <a:rPr lang="zh-CN" altLang="en-US" smtClean="0"/>
            </a:fld>
            <a:endParaRPr lang="zh-CN" altLang="en-US"/>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CD155A8-87E7-42D9-9123-DE11223425F8}" type="slidenum">
              <a:rPr lang="zh-CN" altLang="en-US" smtClean="0"/>
            </a:fld>
            <a:endParaRPr lang="zh-CN" altLang="en-US"/>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CD155A8-87E7-42D9-9123-DE11223425F8}" type="slidenum">
              <a:rPr lang="zh-CN" altLang="en-US" smtClean="0"/>
            </a:fld>
            <a:endParaRPr lang="zh-CN" altLang="en-US"/>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CD155A8-87E7-42D9-9123-DE11223425F8}" type="slidenum">
              <a:rPr lang="zh-CN" altLang="en-US" smtClean="0"/>
            </a:fld>
            <a:endParaRPr lang="zh-CN" altLang="en-US"/>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CD155A8-87E7-42D9-9123-DE11223425F8}" type="slidenum">
              <a:rPr lang="zh-CN" altLang="en-US" smtClean="0"/>
            </a:fld>
            <a:endParaRPr lang="zh-CN" altLang="en-US"/>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39937" name="幻灯片图像占位符 1"/>
          <p:cNvSpPr>
            <a:spLocks noGrp="1" noRot="1" noChangeAspect="1" noTextEdit="1"/>
          </p:cNvSpPr>
          <p:nvPr>
            <p:ph type="sldImg"/>
          </p:nvPr>
        </p:nvSpPr>
        <p:spPr>
          <a:ln>
            <a:solidFill>
              <a:srgbClr val="000000"/>
            </a:solidFill>
            <a:miter/>
          </a:ln>
        </p:spPr>
      </p:sp>
      <p:sp>
        <p:nvSpPr>
          <p:cNvPr id="39938" name="备注占位符 2"/>
          <p:cNvSpPr>
            <a:spLocks noGrp="1"/>
          </p:cNvSpPr>
          <p:nvPr>
            <p:ph type="body"/>
          </p:nvPr>
        </p:nvSpPr>
        <p:spPr>
          <a:noFill/>
          <a:ln>
            <a:noFill/>
          </a:ln>
        </p:spPr>
        <p:txBody>
          <a:bodyPr wrap="square" lIns="91440" tIns="45720" rIns="91440" bIns="45720" anchor="t"/>
          <a:p>
            <a:pPr lvl="0">
              <a:spcBef>
                <a:spcPct val="0"/>
              </a:spcBef>
            </a:pPr>
            <a:r>
              <a:rPr lang="zh-CN" altLang="en-US" dirty="0"/>
              <a:t>模板来自于 </a:t>
            </a:r>
            <a:r>
              <a:rPr lang="en-US" altLang="zh-CN" dirty="0"/>
              <a:t>https://www.pptying.com    【PPT</a:t>
            </a:r>
            <a:r>
              <a:rPr lang="zh-CN" altLang="en-US" dirty="0"/>
              <a:t>营</a:t>
            </a:r>
            <a:r>
              <a:rPr lang="en-US" altLang="zh-CN" dirty="0"/>
              <a:t>】</a:t>
            </a:r>
            <a:endParaRPr lang="zh-CN" altLang="en-US" dirty="0"/>
          </a:p>
        </p:txBody>
      </p:sp>
      <p:sp>
        <p:nvSpPr>
          <p:cNvPr id="39939" name="灯片编号占位符 3"/>
          <p:cNvSpPr>
            <a:spLocks noGrp="1"/>
          </p:cNvSpPr>
          <p:nvPr>
            <p:ph type="sldNum" sz="quarter"/>
          </p:nvPr>
        </p:nvSpPr>
        <p:spPr>
          <a:xfrm>
            <a:off x="3884613" y="8685213"/>
            <a:ext cx="2971800" cy="458787"/>
          </a:xfrm>
          <a:prstGeom prst="rect">
            <a:avLst/>
          </a:prstGeom>
          <a:noFill/>
          <a:ln w="9525">
            <a:noFill/>
          </a:ln>
        </p:spPr>
        <p:txBody>
          <a:bodyPr vert="horz" wrap="square" lIns="91440" tIns="45720" rIns="91440" bIns="45720" anchor="b"/>
          <a:p>
            <a:pPr lvl="0" algn="r" eaLnBrk="1" hangingPunct="1"/>
            <a:fld id="{9A0DB2DC-4C9A-4742-B13C-FB6460FD3503}" type="slidenum">
              <a:rPr lang="zh-CN" altLang="en-US" sz="1200">
                <a:solidFill>
                  <a:srgbClr val="000000"/>
                </a:solidFill>
                <a:latin typeface="Calibri" panose="020F0502020204030204" pitchFamily="34" charset="0"/>
                <a:ea typeface="宋体" panose="02010600030101010101" pitchFamily="2" charset="-122"/>
              </a:rPr>
            </a:fld>
            <a:endParaRPr lang="zh-CN" altLang="en-US" sz="1200">
              <a:solidFill>
                <a:srgbClr val="000000"/>
              </a:solidFill>
              <a:latin typeface="Calibri" panose="020F0502020204030204" pitchFamily="34" charset="0"/>
              <a:ea typeface="宋体" panose="02010600030101010101" pitchFamily="2" charset="-122"/>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CD155A8-87E7-42D9-9123-DE11223425F8}" type="slidenum">
              <a:rPr lang="zh-CN" altLang="en-US" smtClean="0"/>
            </a:fld>
            <a:endParaRPr lang="zh-CN" alt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CD155A8-87E7-42D9-9123-DE11223425F8}" type="slidenum">
              <a:rPr lang="zh-CN" altLang="en-US" smtClean="0"/>
            </a:fld>
            <a:endParaRPr lang="zh-CN" altLang="en-US"/>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CD155A8-87E7-42D9-9123-DE11223425F8}" type="slidenum">
              <a:rPr lang="zh-CN" altLang="en-US" smtClean="0"/>
            </a:fld>
            <a:endParaRPr lang="zh-CN" alt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CD155A8-87E7-42D9-9123-DE11223425F8}" type="slidenum">
              <a:rPr lang="zh-CN" altLang="en-US" smtClean="0"/>
            </a:fld>
            <a:endParaRPr lang="zh-CN" altLang="en-US"/>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CD155A8-87E7-42D9-9123-DE11223425F8}" type="slidenum">
              <a:rPr lang="zh-CN" altLang="en-US" smtClean="0"/>
            </a:fld>
            <a:endParaRPr lang="zh-CN" altLang="en-US"/>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CD155A8-87E7-42D9-9123-DE11223425F8}" type="slidenum">
              <a:rPr lang="zh-CN" altLang="en-US" smtClean="0"/>
            </a:fld>
            <a:endParaRPr lang="zh-CN" altLang="en-US"/>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CD155A8-87E7-42D9-9123-DE11223425F8}" type="slidenum">
              <a:rPr lang="zh-CN" altLang="en-US" smtClean="0"/>
            </a:fld>
            <a:endParaRPr lang="zh-CN" altLang="en-US"/>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标题幻灯片">
    <p:spTree>
      <p:nvGrpSpPr>
        <p:cNvPr id="1" name=""/>
        <p:cNvGrpSpPr/>
        <p:nvPr/>
      </p:nvGrpSpPr>
      <p:grpSpPr>
        <a:xfrm>
          <a:off x="0" y="0"/>
          <a:ext cx="0" cy="0"/>
          <a:chOff x="0" y="0"/>
          <a:chExt cx="0" cy="0"/>
        </a:xfrm>
      </p:grpSpPr>
      <p:pic>
        <p:nvPicPr>
          <p:cNvPr id="3" name="图片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2389406" y="4800600"/>
            <a:ext cx="7314248" cy="566738"/>
          </a:xfrm>
        </p:spPr>
        <p:txBody>
          <a:bodyPr anchor="b"/>
          <a:lstStyle>
            <a:lvl1pPr algn="l">
              <a:defRPr sz="2000" b="1"/>
            </a:lvl1pPr>
          </a:lstStyle>
          <a:p>
            <a:r>
              <a:rPr lang="zh-CN" altLang="en-US" smtClean="0"/>
              <a:t>单击此处编辑母版标题样式</a:t>
            </a:r>
            <a:endParaRPr lang="zh-CN" altLang="en-US"/>
          </a:p>
        </p:txBody>
      </p:sp>
      <p:sp>
        <p:nvSpPr>
          <p:cNvPr id="3" name="图片占位符 2"/>
          <p:cNvSpPr>
            <a:spLocks noGrp="1"/>
          </p:cNvSpPr>
          <p:nvPr>
            <p:ph type="pic" idx="1"/>
          </p:nvPr>
        </p:nvSpPr>
        <p:spPr>
          <a:xfrm>
            <a:off x="2389406" y="612775"/>
            <a:ext cx="7314248"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zh-CN" altLang="en-US"/>
          </a:p>
        </p:txBody>
      </p:sp>
      <p:sp>
        <p:nvSpPr>
          <p:cNvPr id="4" name="文本占位符 3"/>
          <p:cNvSpPr>
            <a:spLocks noGrp="1"/>
          </p:cNvSpPr>
          <p:nvPr>
            <p:ph type="body" sz="half" idx="2"/>
          </p:nvPr>
        </p:nvSpPr>
        <p:spPr>
          <a:xfrm>
            <a:off x="2389406" y="5367338"/>
            <a:ext cx="7314248"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smtClean="0"/>
              <a:t>单击此处编辑母版文本样式</a:t>
            </a:r>
            <a:endParaRPr lang="zh-CN" altLang="en-US" smtClean="0"/>
          </a:p>
        </p:txBody>
      </p:sp>
      <p:sp>
        <p:nvSpPr>
          <p:cNvPr id="5" name="日期占位符 4"/>
          <p:cNvSpPr>
            <a:spLocks noGrp="1"/>
          </p:cNvSpPr>
          <p:nvPr>
            <p:ph type="dt" sz="half" idx="10"/>
          </p:nvPr>
        </p:nvSpPr>
        <p:spPr/>
        <p:txBody>
          <a:bodyPr/>
          <a:lstStyle/>
          <a:p>
            <a:fld id="{530820CF-B880-4189-942D-D702A7CBA730}" type="datetimeFigureOut">
              <a:rPr lang="zh-CN" altLang="en-US" smtClean="0"/>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0C913308-F349-4B6D-A68A-DD1791B4A57B}" type="slidenum">
              <a:rPr lang="zh-CN" altLang="en-US" smtClean="0"/>
            </a:fld>
            <a:endParaRPr lang="zh-CN" alt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p:txBody>
          <a:bodyPr vert="eaVert"/>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
        <p:nvSpPr>
          <p:cNvPr id="4" name="日期占位符 3"/>
          <p:cNvSpPr>
            <a:spLocks noGrp="1"/>
          </p:cNvSpPr>
          <p:nvPr>
            <p:ph type="dt" sz="half" idx="10"/>
          </p:nvPr>
        </p:nvSpPr>
        <p:spPr/>
        <p:txBody>
          <a:bodyPr/>
          <a:lstStyle/>
          <a:p>
            <a:fld id="{530820CF-B880-4189-942D-D702A7CBA730}"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0C913308-F349-4B6D-A68A-DD1791B4A57B}" type="slidenum">
              <a:rPr lang="zh-CN" altLang="en-US" smtClean="0"/>
            </a:fld>
            <a:endParaRPr lang="zh-CN" altLang="en-US"/>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vertTitleAndTx" preserve="1">
  <p:cSld name="垂直排列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8838049" y="274639"/>
            <a:ext cx="2742843" cy="5851525"/>
          </a:xfrm>
        </p:spPr>
        <p:txBody>
          <a:bodyPr vert="eaVert"/>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a:xfrm>
            <a:off x="609521" y="274639"/>
            <a:ext cx="8025355" cy="5851525"/>
          </a:xfrm>
        </p:spPr>
        <p:txBody>
          <a:bodyPr vert="eaVert"/>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
        <p:nvSpPr>
          <p:cNvPr id="4" name="日期占位符 3"/>
          <p:cNvSpPr>
            <a:spLocks noGrp="1"/>
          </p:cNvSpPr>
          <p:nvPr>
            <p:ph type="dt" sz="half" idx="10"/>
          </p:nvPr>
        </p:nvSpPr>
        <p:spPr/>
        <p:txBody>
          <a:bodyPr/>
          <a:lstStyle/>
          <a:p>
            <a:fld id="{530820CF-B880-4189-942D-D702A7CBA730}"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0C913308-F349-4B6D-A68A-DD1791B4A57B}" type="slidenum">
              <a:rPr lang="zh-CN" altLang="en-US" smtClean="0"/>
            </a:fld>
            <a:endParaRPr lang="zh-CN" altLang="en-US"/>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标题幻灯片">
    <p:spTree>
      <p:nvGrpSpPr>
        <p:cNvPr id="1" name=""/>
        <p:cNvGrpSpPr/>
        <p:nvPr/>
      </p:nvGrpSpPr>
      <p:grpSpPr>
        <a:xfrm>
          <a:off x="0" y="0"/>
          <a:ext cx="0" cy="0"/>
          <a:chOff x="0" y="0"/>
          <a:chExt cx="0" cy="0"/>
        </a:xfrm>
      </p:grpSpPr>
      <p:pic>
        <p:nvPicPr>
          <p:cNvPr id="3" name="图片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4" name="矩形 3"/>
          <p:cNvSpPr/>
          <p:nvPr userDrawn="1"/>
        </p:nvSpPr>
        <p:spPr>
          <a:xfrm>
            <a:off x="0" y="0"/>
            <a:ext cx="12190413" cy="1124744"/>
          </a:xfrm>
          <a:prstGeom prst="rect">
            <a:avLst/>
          </a:prstGeom>
          <a:solidFill>
            <a:srgbClr val="000000">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up)">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idx="1"/>
          </p:nvPr>
        </p:nvSpPr>
        <p:spPr/>
        <p:txBody>
          <a:bodyPr/>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
        <p:nvSpPr>
          <p:cNvPr id="4" name="日期占位符 3"/>
          <p:cNvSpPr>
            <a:spLocks noGrp="1"/>
          </p:cNvSpPr>
          <p:nvPr>
            <p:ph type="dt" sz="half" idx="10"/>
          </p:nvPr>
        </p:nvSpPr>
        <p:spPr/>
        <p:txBody>
          <a:bodyPr/>
          <a:lstStyle/>
          <a:p>
            <a:fld id="{530820CF-B880-4189-942D-D702A7CBA730}"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0C913308-F349-4B6D-A68A-DD1791B4A57B}" type="slidenum">
              <a:rPr lang="zh-CN" altLang="en-US" smtClean="0"/>
            </a:fld>
            <a:endParaRPr lang="zh-CN" alt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962959" y="4406901"/>
            <a:ext cx="10361851" cy="1362075"/>
          </a:xfrm>
        </p:spPr>
        <p:txBody>
          <a:bodyPr anchor="t"/>
          <a:lstStyle>
            <a:lvl1pPr algn="l">
              <a:defRPr sz="4000" b="1" cap="all"/>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962959" y="2906713"/>
            <a:ext cx="10361851"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zh-CN" altLang="en-US" smtClean="0"/>
              <a:t>单击此处编辑母版文本样式</a:t>
            </a:r>
            <a:endParaRPr lang="zh-CN" altLang="en-US" smtClean="0"/>
          </a:p>
        </p:txBody>
      </p:sp>
      <p:sp>
        <p:nvSpPr>
          <p:cNvPr id="4" name="日期占位符 3"/>
          <p:cNvSpPr>
            <a:spLocks noGrp="1"/>
          </p:cNvSpPr>
          <p:nvPr>
            <p:ph type="dt" sz="half" idx="10"/>
          </p:nvPr>
        </p:nvSpPr>
        <p:spPr/>
        <p:txBody>
          <a:bodyPr/>
          <a:lstStyle/>
          <a:p>
            <a:fld id="{530820CF-B880-4189-942D-D702A7CBA730}"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0C913308-F349-4B6D-A68A-DD1791B4A57B}" type="slidenum">
              <a:rPr lang="zh-CN" altLang="en-US" smtClean="0"/>
            </a:fld>
            <a:endParaRPr lang="zh-CN" alt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sz="half" idx="1"/>
          </p:nvPr>
        </p:nvSpPr>
        <p:spPr>
          <a:xfrm>
            <a:off x="609521" y="1600201"/>
            <a:ext cx="5384099"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
        <p:nvSpPr>
          <p:cNvPr id="4" name="内容占位符 3"/>
          <p:cNvSpPr>
            <a:spLocks noGrp="1"/>
          </p:cNvSpPr>
          <p:nvPr>
            <p:ph sz="half" idx="2"/>
          </p:nvPr>
        </p:nvSpPr>
        <p:spPr>
          <a:xfrm>
            <a:off x="6196793" y="1600201"/>
            <a:ext cx="5384099"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
        <p:nvSpPr>
          <p:cNvPr id="5" name="日期占位符 4"/>
          <p:cNvSpPr>
            <a:spLocks noGrp="1"/>
          </p:cNvSpPr>
          <p:nvPr>
            <p:ph type="dt" sz="half" idx="10"/>
          </p:nvPr>
        </p:nvSpPr>
        <p:spPr/>
        <p:txBody>
          <a:bodyPr/>
          <a:lstStyle/>
          <a:p>
            <a:fld id="{530820CF-B880-4189-942D-D702A7CBA730}" type="datetimeFigureOut">
              <a:rPr lang="zh-CN" altLang="en-US" smtClean="0"/>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0C913308-F349-4B6D-A68A-DD1791B4A57B}" type="slidenum">
              <a:rPr lang="zh-CN" altLang="en-US" smtClean="0"/>
            </a:fld>
            <a:endParaRPr lang="zh-CN" alt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lvl1pPr>
              <a:defRPr/>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609521" y="1535113"/>
            <a:ext cx="5386216"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endParaRPr lang="zh-CN" altLang="en-US" smtClean="0"/>
          </a:p>
        </p:txBody>
      </p:sp>
      <p:sp>
        <p:nvSpPr>
          <p:cNvPr id="4" name="内容占位符 3"/>
          <p:cNvSpPr>
            <a:spLocks noGrp="1"/>
          </p:cNvSpPr>
          <p:nvPr>
            <p:ph sz="half" idx="2"/>
          </p:nvPr>
        </p:nvSpPr>
        <p:spPr>
          <a:xfrm>
            <a:off x="609521" y="2174875"/>
            <a:ext cx="5386216"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
        <p:nvSpPr>
          <p:cNvPr id="5" name="文本占位符 4"/>
          <p:cNvSpPr>
            <a:spLocks noGrp="1"/>
          </p:cNvSpPr>
          <p:nvPr>
            <p:ph type="body" sz="quarter" idx="3"/>
          </p:nvPr>
        </p:nvSpPr>
        <p:spPr>
          <a:xfrm>
            <a:off x="6192561" y="1535113"/>
            <a:ext cx="5388332"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endParaRPr lang="zh-CN" altLang="en-US" smtClean="0"/>
          </a:p>
        </p:txBody>
      </p:sp>
      <p:sp>
        <p:nvSpPr>
          <p:cNvPr id="6" name="内容占位符 5"/>
          <p:cNvSpPr>
            <a:spLocks noGrp="1"/>
          </p:cNvSpPr>
          <p:nvPr>
            <p:ph sz="quarter" idx="4"/>
          </p:nvPr>
        </p:nvSpPr>
        <p:spPr>
          <a:xfrm>
            <a:off x="6192561" y="2174875"/>
            <a:ext cx="5388332"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
        <p:nvSpPr>
          <p:cNvPr id="7" name="日期占位符 6"/>
          <p:cNvSpPr>
            <a:spLocks noGrp="1"/>
          </p:cNvSpPr>
          <p:nvPr>
            <p:ph type="dt" sz="half" idx="10"/>
          </p:nvPr>
        </p:nvSpPr>
        <p:spPr/>
        <p:txBody>
          <a:bodyPr/>
          <a:lstStyle/>
          <a:p>
            <a:fld id="{530820CF-B880-4189-942D-D702A7CBA730}" type="datetimeFigureOut">
              <a:rPr lang="zh-CN" altLang="en-US" smtClean="0"/>
            </a:fld>
            <a:endParaRPr lang="zh-CN" altLang="en-US"/>
          </a:p>
        </p:txBody>
      </p:sp>
      <p:sp>
        <p:nvSpPr>
          <p:cNvPr id="8" name="页脚占位符 7"/>
          <p:cNvSpPr>
            <a:spLocks noGrp="1"/>
          </p:cNvSpPr>
          <p:nvPr>
            <p:ph type="ftr" sz="quarter" idx="11"/>
          </p:nvPr>
        </p:nvSpPr>
        <p:spPr/>
        <p:txBody>
          <a:bodyPr/>
          <a:lstStyle/>
          <a:p>
            <a:endParaRPr lang="zh-CN" altLang="en-US"/>
          </a:p>
        </p:txBody>
      </p:sp>
      <p:sp>
        <p:nvSpPr>
          <p:cNvPr id="9" name="灯片编号占位符 8"/>
          <p:cNvSpPr>
            <a:spLocks noGrp="1"/>
          </p:cNvSpPr>
          <p:nvPr>
            <p:ph type="sldNum" sz="quarter" idx="12"/>
          </p:nvPr>
        </p:nvSpPr>
        <p:spPr/>
        <p:txBody>
          <a:bodyPr/>
          <a:lstStyle/>
          <a:p>
            <a:fld id="{0C913308-F349-4B6D-A68A-DD1791B4A57B}" type="slidenum">
              <a:rPr lang="zh-CN" altLang="en-US" smtClean="0"/>
            </a:fld>
            <a:endParaRPr lang="zh-CN" alt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日期占位符 2"/>
          <p:cNvSpPr>
            <a:spLocks noGrp="1"/>
          </p:cNvSpPr>
          <p:nvPr>
            <p:ph type="dt" sz="half" idx="10"/>
          </p:nvPr>
        </p:nvSpPr>
        <p:spPr/>
        <p:txBody>
          <a:bodyPr/>
          <a:lstStyle/>
          <a:p>
            <a:fld id="{530820CF-B880-4189-942D-D702A7CBA730}" type="datetimeFigureOut">
              <a:rPr lang="zh-CN" altLang="en-US" smtClean="0"/>
            </a:fld>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0C913308-F349-4B6D-A68A-DD1791B4A57B}" type="slidenum">
              <a:rPr lang="zh-CN" altLang="en-US" smtClean="0"/>
            </a:fld>
            <a:endParaRPr lang="zh-CN" alt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fld id="{530820CF-B880-4189-942D-D702A7CBA730}" type="datetimeFigureOut">
              <a:rPr lang="zh-CN" altLang="en-US" smtClean="0"/>
            </a:fld>
            <a:endParaRPr lang="zh-CN" altLang="en-US"/>
          </a:p>
        </p:txBody>
      </p:sp>
      <p:sp>
        <p:nvSpPr>
          <p:cNvPr id="3" name="页脚占位符 2"/>
          <p:cNvSpPr>
            <a:spLocks noGrp="1"/>
          </p:cNvSpPr>
          <p:nvPr>
            <p:ph type="ftr" sz="quarter" idx="11"/>
          </p:nvPr>
        </p:nvSpPr>
        <p:spPr/>
        <p:txBody>
          <a:bodyPr/>
          <a:lstStyle/>
          <a:p>
            <a:endParaRPr lang="zh-CN" altLang="en-US"/>
          </a:p>
        </p:txBody>
      </p:sp>
      <p:sp>
        <p:nvSpPr>
          <p:cNvPr id="4" name="灯片编号占位符 3"/>
          <p:cNvSpPr>
            <a:spLocks noGrp="1"/>
          </p:cNvSpPr>
          <p:nvPr>
            <p:ph type="sldNum" sz="quarter" idx="12"/>
          </p:nvPr>
        </p:nvSpPr>
        <p:spPr/>
        <p:txBody>
          <a:bodyPr/>
          <a:lstStyle/>
          <a:p>
            <a:fld id="{0C913308-F349-4B6D-A68A-DD1791B4A57B}" type="slidenum">
              <a:rPr lang="zh-CN" altLang="en-US" smtClean="0"/>
            </a:fld>
            <a:endParaRPr lang="zh-CN" alt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609521" y="273050"/>
            <a:ext cx="4010562" cy="1162050"/>
          </a:xfrm>
        </p:spPr>
        <p:txBody>
          <a:bodyPr anchor="b"/>
          <a:lstStyle>
            <a:lvl1pPr algn="l">
              <a:defRPr sz="2000" b="1"/>
            </a:lvl1pPr>
          </a:lstStyle>
          <a:p>
            <a:r>
              <a:rPr lang="zh-CN" altLang="en-US" smtClean="0"/>
              <a:t>单击此处编辑母版标题样式</a:t>
            </a:r>
            <a:endParaRPr lang="zh-CN" altLang="en-US"/>
          </a:p>
        </p:txBody>
      </p:sp>
      <p:sp>
        <p:nvSpPr>
          <p:cNvPr id="3" name="内容占位符 2"/>
          <p:cNvSpPr>
            <a:spLocks noGrp="1"/>
          </p:cNvSpPr>
          <p:nvPr>
            <p:ph idx="1"/>
          </p:nvPr>
        </p:nvSpPr>
        <p:spPr>
          <a:xfrm>
            <a:off x="4766113" y="273051"/>
            <a:ext cx="6814779"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
        <p:nvSpPr>
          <p:cNvPr id="4" name="文本占位符 3"/>
          <p:cNvSpPr>
            <a:spLocks noGrp="1"/>
          </p:cNvSpPr>
          <p:nvPr>
            <p:ph type="body" sz="half" idx="2"/>
          </p:nvPr>
        </p:nvSpPr>
        <p:spPr>
          <a:xfrm>
            <a:off x="609521" y="1435101"/>
            <a:ext cx="4010562"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smtClean="0"/>
              <a:t>单击此处编辑母版文本样式</a:t>
            </a:r>
            <a:endParaRPr lang="zh-CN" altLang="en-US" smtClean="0"/>
          </a:p>
        </p:txBody>
      </p:sp>
      <p:sp>
        <p:nvSpPr>
          <p:cNvPr id="5" name="日期占位符 4"/>
          <p:cNvSpPr>
            <a:spLocks noGrp="1"/>
          </p:cNvSpPr>
          <p:nvPr>
            <p:ph type="dt" sz="half" idx="10"/>
          </p:nvPr>
        </p:nvSpPr>
        <p:spPr/>
        <p:txBody>
          <a:bodyPr/>
          <a:lstStyle/>
          <a:p>
            <a:fld id="{530820CF-B880-4189-942D-D702A7CBA730}" type="datetimeFigureOut">
              <a:rPr lang="zh-CN" altLang="en-US" smtClean="0"/>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0C913308-F349-4B6D-A68A-DD1791B4A57B}" type="slidenum">
              <a:rPr lang="zh-CN" altLang="en-US" smtClean="0"/>
            </a:fld>
            <a:endParaRPr lang="zh-CN" altLang="en-US"/>
          </a:p>
        </p:txBody>
      </p:sp>
    </p:spTree>
  </p:cSld>
  <p:clrMapOvr>
    <a:masterClrMapping/>
  </p:clrMapOvr>
</p:sldLayout>
</file>

<file path=ppt/slideMasters/_rels/slideMaster1.xml.rels><?xml version="1.0" encoding="UTF-8" standalone="yes"?>
<Relationships xmlns="http://schemas.openxmlformats.org/package/2006/relationships"><Relationship Id="rId9" Type="http://schemas.openxmlformats.org/officeDocument/2006/relationships/slideLayout" Target="../slideLayouts/slideLayout9.xml"/><Relationship Id="rId8" Type="http://schemas.openxmlformats.org/officeDocument/2006/relationships/slideLayout" Target="../slideLayouts/slideLayout8.xml"/><Relationship Id="rId7" Type="http://schemas.openxmlformats.org/officeDocument/2006/relationships/slideLayout" Target="../slideLayouts/slideLayout7.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3" Type="http://schemas.openxmlformats.org/officeDocument/2006/relationships/slideLayout" Target="../slideLayouts/slideLayout3.xml"/><Relationship Id="rId2" Type="http://schemas.openxmlformats.org/officeDocument/2006/relationships/slideLayout" Target="../slideLayouts/slideLayout2.xml"/><Relationship Id="rId13" Type="http://schemas.openxmlformats.org/officeDocument/2006/relationships/theme" Target="../theme/theme1.xml"/><Relationship Id="rId12" Type="http://schemas.openxmlformats.org/officeDocument/2006/relationships/slideLayout" Target="../slideLayouts/slideLayout12.xml"/><Relationship Id="rId11" Type="http://schemas.openxmlformats.org/officeDocument/2006/relationships/slideLayout" Target="../slideLayouts/slideLayout11.xml"/><Relationship Id="rId10" Type="http://schemas.openxmlformats.org/officeDocument/2006/relationships/slideLayout" Target="../slideLayouts/slideLayout10.xml"/><Relationship Id="rId1" Type="http://schemas.openxmlformats.org/officeDocument/2006/relationships/slideLayout" Target="../slideLayouts/slideLayout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609521" y="274638"/>
            <a:ext cx="10971372" cy="1143000"/>
          </a:xfrm>
          <a:prstGeom prst="rect">
            <a:avLst/>
          </a:prstGeom>
        </p:spPr>
        <p:txBody>
          <a:bodyPr vert="horz" lIns="91440" tIns="45720" rIns="91440" bIns="45720" rtlCol="0" anchor="ctr">
            <a:normAutofit/>
          </a:body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609521" y="1600201"/>
            <a:ext cx="10971372" cy="4525963"/>
          </a:xfrm>
          <a:prstGeom prst="rect">
            <a:avLst/>
          </a:prstGeom>
        </p:spPr>
        <p:txBody>
          <a:bodyPr vert="horz" lIns="91440" tIns="45720" rIns="91440" bIns="45720" rtlCol="0">
            <a:normAutofit/>
          </a:bodyPr>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
        <p:nvSpPr>
          <p:cNvPr id="4" name="日期占位符 3"/>
          <p:cNvSpPr>
            <a:spLocks noGrp="1"/>
          </p:cNvSpPr>
          <p:nvPr>
            <p:ph type="dt" sz="half" idx="2"/>
          </p:nvPr>
        </p:nvSpPr>
        <p:spPr>
          <a:xfrm>
            <a:off x="609521" y="6356351"/>
            <a:ext cx="284443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30820CF-B880-4189-942D-D702A7CBA730}" type="datetimeFigureOut">
              <a:rPr lang="zh-CN" altLang="en-US" smtClean="0"/>
            </a:fld>
            <a:endParaRPr lang="zh-CN" altLang="en-US"/>
          </a:p>
        </p:txBody>
      </p:sp>
      <p:sp>
        <p:nvSpPr>
          <p:cNvPr id="5" name="页脚占位符 4"/>
          <p:cNvSpPr>
            <a:spLocks noGrp="1"/>
          </p:cNvSpPr>
          <p:nvPr>
            <p:ph type="ftr" sz="quarter" idx="3"/>
          </p:nvPr>
        </p:nvSpPr>
        <p:spPr>
          <a:xfrm>
            <a:off x="4165058" y="6356351"/>
            <a:ext cx="3860297"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zh-CN" altLang="en-US"/>
          </a:p>
        </p:txBody>
      </p:sp>
      <p:sp>
        <p:nvSpPr>
          <p:cNvPr id="6" name="灯片编号占位符 5"/>
          <p:cNvSpPr>
            <a:spLocks noGrp="1"/>
          </p:cNvSpPr>
          <p:nvPr>
            <p:ph type="sldNum" sz="quarter" idx="4"/>
          </p:nvPr>
        </p:nvSpPr>
        <p:spPr>
          <a:xfrm>
            <a:off x="8736463" y="6356351"/>
            <a:ext cx="284443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C913308-F349-4B6D-A68A-DD1791B4A57B}" type="slidenum">
              <a:rPr lang="zh-CN" altLang="en-US" smtClean="0"/>
            </a:fld>
            <a:endParaRPr lang="zh-CN" altLang="en-U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2.xml"/><Relationship Id="rId1" Type="http://schemas.openxmlformats.org/officeDocument/2006/relationships/image" Target="../media/image4.jpe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9" Type="http://schemas.openxmlformats.org/officeDocument/2006/relationships/image" Target="../media/image13.png"/><Relationship Id="rId8" Type="http://schemas.openxmlformats.org/officeDocument/2006/relationships/image" Target="../media/image12.GIF"/><Relationship Id="rId7" Type="http://schemas.openxmlformats.org/officeDocument/2006/relationships/image" Target="../media/image11.GIF"/><Relationship Id="rId6" Type="http://schemas.openxmlformats.org/officeDocument/2006/relationships/image" Target="../media/image10.GIF"/><Relationship Id="rId5" Type="http://schemas.openxmlformats.org/officeDocument/2006/relationships/image" Target="../media/image9.png"/><Relationship Id="rId4" Type="http://schemas.openxmlformats.org/officeDocument/2006/relationships/image" Target="../media/image8.png"/><Relationship Id="rId3" Type="http://schemas.openxmlformats.org/officeDocument/2006/relationships/image" Target="../media/image7.jpeg"/><Relationship Id="rId20" Type="http://schemas.openxmlformats.org/officeDocument/2006/relationships/notesSlide" Target="../notesSlides/notesSlide12.xml"/><Relationship Id="rId2" Type="http://schemas.openxmlformats.org/officeDocument/2006/relationships/image" Target="../media/image6.png"/><Relationship Id="rId19" Type="http://schemas.openxmlformats.org/officeDocument/2006/relationships/slideLayout" Target="../slideLayouts/slideLayout2.xml"/><Relationship Id="rId18" Type="http://schemas.openxmlformats.org/officeDocument/2006/relationships/image" Target="../media/image22.GIF"/><Relationship Id="rId17" Type="http://schemas.openxmlformats.org/officeDocument/2006/relationships/image" Target="../media/image21.GIF"/><Relationship Id="rId16" Type="http://schemas.openxmlformats.org/officeDocument/2006/relationships/image" Target="../media/image20.png"/><Relationship Id="rId15" Type="http://schemas.openxmlformats.org/officeDocument/2006/relationships/image" Target="../media/image19.png"/><Relationship Id="rId14" Type="http://schemas.openxmlformats.org/officeDocument/2006/relationships/image" Target="../media/image18.png"/><Relationship Id="rId13" Type="http://schemas.openxmlformats.org/officeDocument/2006/relationships/image" Target="../media/image17.png"/><Relationship Id="rId12" Type="http://schemas.openxmlformats.org/officeDocument/2006/relationships/image" Target="../media/image16.png"/><Relationship Id="rId11" Type="http://schemas.openxmlformats.org/officeDocument/2006/relationships/image" Target="../media/image15.jpeg"/><Relationship Id="rId10" Type="http://schemas.openxmlformats.org/officeDocument/2006/relationships/image" Target="../media/image14.png"/><Relationship Id="rId1" Type="http://schemas.openxmlformats.org/officeDocument/2006/relationships/image" Target="../media/image5.jpeg"/></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2.xml"/><Relationship Id="rId1" Type="http://schemas.openxmlformats.org/officeDocument/2006/relationships/image" Target="../media/image23.jpe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6" Type="http://schemas.openxmlformats.org/officeDocument/2006/relationships/notesSlide" Target="../notesSlides/notesSlide16.xml"/><Relationship Id="rId5" Type="http://schemas.openxmlformats.org/officeDocument/2006/relationships/slideLayout" Target="../slideLayouts/slideLayout2.xml"/><Relationship Id="rId4" Type="http://schemas.openxmlformats.org/officeDocument/2006/relationships/image" Target="../media/image26.png"/><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tags" Target="../tags/tag1.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2.xml"/><Relationship Id="rId1" Type="http://schemas.openxmlformats.org/officeDocument/2006/relationships/image" Target="../media/image27.jpeg"/></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2.xml"/><Relationship Id="rId1" Type="http://schemas.openxmlformats.org/officeDocument/2006/relationships/image" Target="../media/image28.jpeg"/></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2.xml"/><Relationship Id="rId1" Type="http://schemas.openxmlformats.org/officeDocument/2006/relationships/image" Target="../media/image29.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2.xml"/><Relationship Id="rId1" Type="http://schemas.openxmlformats.org/officeDocument/2006/relationships/image" Target="../media/image4.jpeg"/></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2.xml"/><Relationship Id="rId1" Type="http://schemas.openxmlformats.org/officeDocument/2006/relationships/image" Target="../media/image30.jpeg"/></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xml"/></Relationships>
</file>

<file path=ppt/slides/_rels/slide28.xml.rels><?xml version="1.0" encoding="UTF-8" standalone="yes"?>
<Relationships xmlns="http://schemas.openxmlformats.org/package/2006/relationships"><Relationship Id="rId4" Type="http://schemas.openxmlformats.org/officeDocument/2006/relationships/notesSlide" Target="../notesSlides/notesSlide28.xml"/><Relationship Id="rId3" Type="http://schemas.openxmlformats.org/officeDocument/2006/relationships/slideLayout" Target="../slideLayouts/slideLayout8.xml"/><Relationship Id="rId2" Type="http://schemas.openxmlformats.org/officeDocument/2006/relationships/hyperlink" Target="https://www.pptying.com" TargetMode="External"/><Relationship Id="rId1" Type="http://schemas.openxmlformats.org/officeDocument/2006/relationships/image" Target="../media/image31.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2.xml"/><Relationship Id="rId1" Type="http://schemas.openxmlformats.org/officeDocument/2006/relationships/image" Target="../media/image2.jpe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2.xml"/><Relationship Id="rId1" Type="http://schemas.openxmlformats.org/officeDocument/2006/relationships/image" Target="../media/image3.jpe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3708976" y="3501008"/>
            <a:ext cx="4772460" cy="369332"/>
          </a:xfrm>
          <a:prstGeom prst="rect">
            <a:avLst/>
          </a:prstGeom>
          <a:noFill/>
        </p:spPr>
        <p:txBody>
          <a:bodyPr wrap="none" rtlCol="0">
            <a:spAutoFit/>
          </a:bodyPr>
          <a:lstStyle/>
          <a:p>
            <a:pPr algn="ctr"/>
            <a:r>
              <a:rPr lang="zh-CN" altLang="en-US" dirty="0" smtClean="0">
                <a:solidFill>
                  <a:schemeClr val="bg1"/>
                </a:solidFill>
                <a:latin typeface="华文黑体" pitchFamily="2" charset="-122"/>
                <a:ea typeface="华文黑体" pitchFamily="2" charset="-122"/>
                <a:cs typeface="华文黑体" pitchFamily="2" charset="-122"/>
              </a:rPr>
              <a:t>适用于工作计划</a:t>
            </a:r>
            <a:r>
              <a:rPr lang="en-US" altLang="zh-CN" dirty="0" smtClean="0">
                <a:solidFill>
                  <a:schemeClr val="bg1"/>
                </a:solidFill>
                <a:latin typeface="华文黑体" pitchFamily="2" charset="-122"/>
                <a:ea typeface="华文黑体" pitchFamily="2" charset="-122"/>
                <a:cs typeface="华文黑体" pitchFamily="2" charset="-122"/>
              </a:rPr>
              <a:t> / </a:t>
            </a:r>
            <a:r>
              <a:rPr lang="zh-CN" altLang="en-US" dirty="0" smtClean="0">
                <a:solidFill>
                  <a:schemeClr val="bg1"/>
                </a:solidFill>
                <a:latin typeface="华文黑体" pitchFamily="2" charset="-122"/>
                <a:ea typeface="华文黑体" pitchFamily="2" charset="-122"/>
                <a:cs typeface="华文黑体" pitchFamily="2" charset="-122"/>
              </a:rPr>
              <a:t>工作总结</a:t>
            </a:r>
            <a:r>
              <a:rPr lang="en-US" altLang="zh-CN" dirty="0" smtClean="0">
                <a:solidFill>
                  <a:schemeClr val="bg1"/>
                </a:solidFill>
                <a:latin typeface="华文黑体" pitchFamily="2" charset="-122"/>
                <a:ea typeface="华文黑体" pitchFamily="2" charset="-122"/>
                <a:cs typeface="华文黑体" pitchFamily="2" charset="-122"/>
              </a:rPr>
              <a:t> / </a:t>
            </a:r>
            <a:r>
              <a:rPr lang="zh-CN" altLang="en-US" dirty="0" smtClean="0">
                <a:solidFill>
                  <a:schemeClr val="bg1"/>
                </a:solidFill>
                <a:latin typeface="华文黑体" pitchFamily="2" charset="-122"/>
                <a:ea typeface="华文黑体" pitchFamily="2" charset="-122"/>
                <a:cs typeface="华文黑体" pitchFamily="2" charset="-122"/>
              </a:rPr>
              <a:t>季度报告等演示</a:t>
            </a:r>
            <a:endParaRPr lang="zh-CN" altLang="en-US" dirty="0">
              <a:solidFill>
                <a:schemeClr val="bg1"/>
              </a:solidFill>
              <a:latin typeface="华文黑体" pitchFamily="2" charset="-122"/>
              <a:ea typeface="华文黑体" pitchFamily="2" charset="-122"/>
              <a:cs typeface="华文黑体" pitchFamily="2" charset="-122"/>
            </a:endParaRPr>
          </a:p>
        </p:txBody>
      </p:sp>
      <p:grpSp>
        <p:nvGrpSpPr>
          <p:cNvPr id="6" name="组合 5"/>
          <p:cNvGrpSpPr/>
          <p:nvPr/>
        </p:nvGrpSpPr>
        <p:grpSpPr>
          <a:xfrm>
            <a:off x="2936252" y="1865633"/>
            <a:ext cx="6317908" cy="1200329"/>
            <a:chOff x="2936252" y="1865633"/>
            <a:chExt cx="6317908" cy="1200329"/>
          </a:xfrm>
        </p:grpSpPr>
        <p:sp>
          <p:nvSpPr>
            <p:cNvPr id="3" name="圆角矩形 2"/>
            <p:cNvSpPr/>
            <p:nvPr/>
          </p:nvSpPr>
          <p:spPr>
            <a:xfrm>
              <a:off x="2936252" y="1865633"/>
              <a:ext cx="6317908" cy="1200329"/>
            </a:xfrm>
            <a:prstGeom prst="roundRect">
              <a:avLst/>
            </a:prstGeom>
            <a:solidFill>
              <a:schemeClr val="bg1"/>
            </a:solidFill>
            <a:ln>
              <a:noFill/>
            </a:ln>
            <a:effectLst>
              <a:outerShdw blurRad="317500" dist="1778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 name="TextBox 3"/>
            <p:cNvSpPr txBox="1"/>
            <p:nvPr/>
          </p:nvSpPr>
          <p:spPr>
            <a:xfrm>
              <a:off x="3181588" y="1865633"/>
              <a:ext cx="5827236" cy="1200329"/>
            </a:xfrm>
            <a:prstGeom prst="rect">
              <a:avLst/>
            </a:prstGeom>
            <a:noFill/>
          </p:spPr>
          <p:txBody>
            <a:bodyPr wrap="none" rtlCol="0">
              <a:spAutoFit/>
            </a:bodyPr>
            <a:lstStyle/>
            <a:p>
              <a:pPr algn="ctr"/>
              <a:r>
                <a:rPr lang="en-US" altLang="zh-CN" sz="7200" dirty="0" smtClean="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anose="02010600040101010101" pitchFamily="2" charset="-122"/>
                  <a:cs typeface="华文黑体" pitchFamily="2" charset="-122"/>
                </a:rPr>
                <a:t>POWERPOINT</a:t>
              </a:r>
              <a:endParaRPr lang="zh-CN" altLang="en-US" sz="7200" dirty="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anose="02010600040101010101" pitchFamily="2" charset="-122"/>
                <a:cs typeface="华文黑体" pitchFamily="2" charset="-122"/>
              </a:endParaRPr>
            </a:p>
          </p:txBody>
        </p:sp>
      </p:grpSp>
      <p:sp>
        <p:nvSpPr>
          <p:cNvPr id="13" name="矩形 12"/>
          <p:cNvSpPr/>
          <p:nvPr/>
        </p:nvSpPr>
        <p:spPr>
          <a:xfrm>
            <a:off x="2009546" y="4090267"/>
            <a:ext cx="1853412" cy="504056"/>
          </a:xfrm>
          <a:prstGeom prst="rect">
            <a:avLst/>
          </a:prstGeom>
          <a:solidFill>
            <a:srgbClr val="FF78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dirty="0" smtClean="0">
                <a:solidFill>
                  <a:srgbClr val="FFFFFF"/>
                </a:solidFill>
                <a:latin typeface="HelveticaNeueLT Pro 35 Th" pitchFamily="34" charset="0"/>
                <a:ea typeface="华文细黑" panose="02010600040101010101" pitchFamily="2" charset="-122"/>
              </a:rPr>
              <a:t>有力 </a:t>
            </a:r>
            <a:r>
              <a:rPr lang="en-US" altLang="zh-CN" sz="1600" dirty="0" smtClean="0">
                <a:solidFill>
                  <a:srgbClr val="FFFFFF"/>
                </a:solidFill>
                <a:latin typeface="HelveticaNeueLT Pro 35 Th" pitchFamily="34" charset="0"/>
                <a:ea typeface="华文细黑" panose="02010600040101010101" pitchFamily="2" charset="-122"/>
              </a:rPr>
              <a:t>POWERFUL</a:t>
            </a:r>
            <a:endParaRPr lang="zh-CN" altLang="en-US" sz="1600" dirty="0">
              <a:solidFill>
                <a:srgbClr val="FFFFFF"/>
              </a:solidFill>
              <a:latin typeface="HelveticaNeueLT Pro 35 Th" pitchFamily="34" charset="0"/>
              <a:ea typeface="华文细黑" panose="02010600040101010101" pitchFamily="2" charset="-122"/>
            </a:endParaRPr>
          </a:p>
        </p:txBody>
      </p:sp>
      <p:sp>
        <p:nvSpPr>
          <p:cNvPr id="19" name="矩形 18"/>
          <p:cNvSpPr/>
          <p:nvPr/>
        </p:nvSpPr>
        <p:spPr>
          <a:xfrm>
            <a:off x="4150197" y="4090267"/>
            <a:ext cx="1853412" cy="50405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a:solidFill>
                  <a:schemeClr val="tx1"/>
                </a:solidFill>
                <a:latin typeface="HelveticaNeueLT Pro 35 Th" pitchFamily="34" charset="0"/>
                <a:ea typeface="华文细黑" panose="02010600040101010101" pitchFamily="2" charset="-122"/>
              </a:rPr>
              <a:t>创意</a:t>
            </a:r>
            <a:r>
              <a:rPr lang="zh-CN" altLang="en-US" sz="1600" smtClean="0">
                <a:solidFill>
                  <a:schemeClr val="tx1"/>
                </a:solidFill>
                <a:latin typeface="HelveticaNeueLT Pro 35 Th" pitchFamily="34" charset="0"/>
                <a:ea typeface="华文细黑" panose="02010600040101010101" pitchFamily="2" charset="-122"/>
              </a:rPr>
              <a:t> </a:t>
            </a:r>
            <a:r>
              <a:rPr lang="en-US" altLang="zh-CN" sz="1600" smtClean="0">
                <a:solidFill>
                  <a:schemeClr val="tx1"/>
                </a:solidFill>
                <a:latin typeface="HelveticaNeueLT Pro 35 Th" pitchFamily="34" charset="0"/>
                <a:ea typeface="华文细黑" panose="02010600040101010101" pitchFamily="2" charset="-122"/>
              </a:rPr>
              <a:t>CREATIVE</a:t>
            </a:r>
            <a:endParaRPr lang="zh-CN" altLang="en-US" sz="1600">
              <a:solidFill>
                <a:schemeClr val="tx1"/>
              </a:solidFill>
              <a:latin typeface="HelveticaNeueLT Pro 35 Th" pitchFamily="34" charset="0"/>
              <a:ea typeface="华文细黑" panose="02010600040101010101" pitchFamily="2" charset="-122"/>
            </a:endParaRPr>
          </a:p>
        </p:txBody>
      </p:sp>
      <p:sp>
        <p:nvSpPr>
          <p:cNvPr id="20" name="矩形 19"/>
          <p:cNvSpPr/>
          <p:nvPr/>
        </p:nvSpPr>
        <p:spPr>
          <a:xfrm>
            <a:off x="6239222" y="4090267"/>
            <a:ext cx="1853412" cy="50405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smtClean="0">
                <a:solidFill>
                  <a:schemeClr val="tx1"/>
                </a:solidFill>
                <a:latin typeface="HelveticaNeueLT Pro 35 Th" pitchFamily="34" charset="0"/>
                <a:ea typeface="华文细黑" panose="02010600040101010101" pitchFamily="2" charset="-122"/>
              </a:rPr>
              <a:t>清新 </a:t>
            </a:r>
            <a:r>
              <a:rPr lang="en-US" altLang="zh-CN" sz="1600" smtClean="0">
                <a:solidFill>
                  <a:schemeClr val="tx1"/>
                </a:solidFill>
                <a:latin typeface="HelveticaNeueLT Pro 35 Th" pitchFamily="34" charset="0"/>
                <a:ea typeface="华文细黑" panose="02010600040101010101" pitchFamily="2" charset="-122"/>
              </a:rPr>
              <a:t>CLEAR</a:t>
            </a:r>
            <a:endParaRPr lang="zh-CN" altLang="en-US" sz="1600">
              <a:solidFill>
                <a:schemeClr val="tx1"/>
              </a:solidFill>
              <a:latin typeface="HelveticaNeueLT Pro 35 Th" pitchFamily="34" charset="0"/>
              <a:ea typeface="华文细黑" panose="02010600040101010101" pitchFamily="2" charset="-122"/>
            </a:endParaRPr>
          </a:p>
        </p:txBody>
      </p:sp>
      <p:sp>
        <p:nvSpPr>
          <p:cNvPr id="21" name="矩形 20"/>
          <p:cNvSpPr/>
          <p:nvPr/>
        </p:nvSpPr>
        <p:spPr>
          <a:xfrm>
            <a:off x="8327454" y="4090267"/>
            <a:ext cx="1853412" cy="504056"/>
          </a:xfrm>
          <a:prstGeom prst="rect">
            <a:avLst/>
          </a:prstGeom>
          <a:solidFill>
            <a:srgbClr val="47A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smtClean="0">
                <a:solidFill>
                  <a:schemeClr val="bg1"/>
                </a:solidFill>
                <a:latin typeface="HelveticaNeueLT Pro 35 Th" pitchFamily="34" charset="0"/>
                <a:ea typeface="华文细黑" panose="02010600040101010101" pitchFamily="2" charset="-122"/>
              </a:rPr>
              <a:t>时尚 </a:t>
            </a:r>
            <a:r>
              <a:rPr lang="en-US" altLang="zh-CN" sz="1600" smtClean="0">
                <a:solidFill>
                  <a:schemeClr val="bg1"/>
                </a:solidFill>
                <a:latin typeface="HelveticaNeueLT Pro 35 Th" pitchFamily="34" charset="0"/>
                <a:ea typeface="华文细黑" panose="02010600040101010101" pitchFamily="2" charset="-122"/>
              </a:rPr>
              <a:t>FASHION</a:t>
            </a:r>
            <a:endParaRPr lang="zh-CN" altLang="en-US" sz="1600">
              <a:solidFill>
                <a:schemeClr val="bg1"/>
              </a:solidFill>
              <a:latin typeface="HelveticaNeueLT Pro 35 Th" pitchFamily="34" charset="0"/>
              <a:ea typeface="华文细黑" panose="02010600040101010101" pitchFamily="2" charset="-122"/>
            </a:endParaRPr>
          </a:p>
        </p:txBody>
      </p:sp>
    </p:spTree>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1"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p:tgtEl>
                                          <p:spTgt spid="6"/>
                                        </p:tgtEl>
                                        <p:attrNameLst>
                                          <p:attrName>ppt_y</p:attrName>
                                        </p:attrNameLst>
                                      </p:cBhvr>
                                      <p:tavLst>
                                        <p:tav tm="0">
                                          <p:val>
                                            <p:strVal val="#ppt_y-#ppt_h*1.125000"/>
                                          </p:val>
                                        </p:tav>
                                        <p:tav tm="100000">
                                          <p:val>
                                            <p:strVal val="#ppt_y"/>
                                          </p:val>
                                        </p:tav>
                                      </p:tavLst>
                                    </p:anim>
                                    <p:animEffect transition="in" filter="wipe(down)">
                                      <p:cBhvr>
                                        <p:cTn id="8" dur="500"/>
                                        <p:tgtEl>
                                          <p:spTgt spid="6"/>
                                        </p:tgtEl>
                                      </p:cBhvr>
                                    </p:animEffect>
                                  </p:childTnLst>
                                </p:cTn>
                              </p:par>
                            </p:childTnLst>
                          </p:cTn>
                        </p:par>
                        <p:par>
                          <p:cTn id="9" fill="hold">
                            <p:stCondLst>
                              <p:cond delay="500"/>
                            </p:stCondLst>
                            <p:childTnLst>
                              <p:par>
                                <p:cTn id="10" presetID="2" presetClass="entr" presetSubtype="8" fill="hold" grpId="0" nodeType="afterEffect">
                                  <p:stCondLst>
                                    <p:cond delay="0"/>
                                  </p:stCondLst>
                                  <p:childTnLst>
                                    <p:set>
                                      <p:cBhvr>
                                        <p:cTn id="11" dur="1" fill="hold">
                                          <p:stCondLst>
                                            <p:cond delay="0"/>
                                          </p:stCondLst>
                                        </p:cTn>
                                        <p:tgtEl>
                                          <p:spTgt spid="13"/>
                                        </p:tgtEl>
                                        <p:attrNameLst>
                                          <p:attrName>style.visibility</p:attrName>
                                        </p:attrNameLst>
                                      </p:cBhvr>
                                      <p:to>
                                        <p:strVal val="visible"/>
                                      </p:to>
                                    </p:set>
                                    <p:anim calcmode="lin" valueType="num">
                                      <p:cBhvr additive="base">
                                        <p:cTn id="12" dur="500" fill="hold"/>
                                        <p:tgtEl>
                                          <p:spTgt spid="13"/>
                                        </p:tgtEl>
                                        <p:attrNameLst>
                                          <p:attrName>ppt_x</p:attrName>
                                        </p:attrNameLst>
                                      </p:cBhvr>
                                      <p:tavLst>
                                        <p:tav tm="0">
                                          <p:val>
                                            <p:strVal val="0-#ppt_w/2"/>
                                          </p:val>
                                        </p:tav>
                                        <p:tav tm="100000">
                                          <p:val>
                                            <p:strVal val="#ppt_x"/>
                                          </p:val>
                                        </p:tav>
                                      </p:tavLst>
                                    </p:anim>
                                    <p:anim calcmode="lin" valueType="num">
                                      <p:cBhvr additive="base">
                                        <p:cTn id="13" dur="500" fill="hold"/>
                                        <p:tgtEl>
                                          <p:spTgt spid="13"/>
                                        </p:tgtEl>
                                        <p:attrNameLst>
                                          <p:attrName>ppt_y</p:attrName>
                                        </p:attrNameLst>
                                      </p:cBhvr>
                                      <p:tavLst>
                                        <p:tav tm="0">
                                          <p:val>
                                            <p:strVal val="#ppt_y"/>
                                          </p:val>
                                        </p:tav>
                                        <p:tav tm="100000">
                                          <p:val>
                                            <p:strVal val="#ppt_y"/>
                                          </p:val>
                                        </p:tav>
                                      </p:tavLst>
                                    </p:anim>
                                  </p:childTnLst>
                                </p:cTn>
                              </p:par>
                              <p:par>
                                <p:cTn id="14" presetID="2" presetClass="entr" presetSubtype="8" fill="hold" grpId="0" nodeType="withEffect">
                                  <p:stCondLst>
                                    <p:cond delay="0"/>
                                  </p:stCondLst>
                                  <p:childTnLst>
                                    <p:set>
                                      <p:cBhvr>
                                        <p:cTn id="15" dur="1" fill="hold">
                                          <p:stCondLst>
                                            <p:cond delay="0"/>
                                          </p:stCondLst>
                                        </p:cTn>
                                        <p:tgtEl>
                                          <p:spTgt spid="19"/>
                                        </p:tgtEl>
                                        <p:attrNameLst>
                                          <p:attrName>style.visibility</p:attrName>
                                        </p:attrNameLst>
                                      </p:cBhvr>
                                      <p:to>
                                        <p:strVal val="visible"/>
                                      </p:to>
                                    </p:set>
                                    <p:anim calcmode="lin" valueType="num">
                                      <p:cBhvr additive="base">
                                        <p:cTn id="16" dur="500" fill="hold"/>
                                        <p:tgtEl>
                                          <p:spTgt spid="19"/>
                                        </p:tgtEl>
                                        <p:attrNameLst>
                                          <p:attrName>ppt_x</p:attrName>
                                        </p:attrNameLst>
                                      </p:cBhvr>
                                      <p:tavLst>
                                        <p:tav tm="0">
                                          <p:val>
                                            <p:strVal val="0-#ppt_w/2"/>
                                          </p:val>
                                        </p:tav>
                                        <p:tav tm="100000">
                                          <p:val>
                                            <p:strVal val="#ppt_x"/>
                                          </p:val>
                                        </p:tav>
                                      </p:tavLst>
                                    </p:anim>
                                    <p:anim calcmode="lin" valueType="num">
                                      <p:cBhvr additive="base">
                                        <p:cTn id="17" dur="500" fill="hold"/>
                                        <p:tgtEl>
                                          <p:spTgt spid="19"/>
                                        </p:tgtEl>
                                        <p:attrNameLst>
                                          <p:attrName>ppt_y</p:attrName>
                                        </p:attrNameLst>
                                      </p:cBhvr>
                                      <p:tavLst>
                                        <p:tav tm="0">
                                          <p:val>
                                            <p:strVal val="#ppt_y"/>
                                          </p:val>
                                        </p:tav>
                                        <p:tav tm="100000">
                                          <p:val>
                                            <p:strVal val="#ppt_y"/>
                                          </p:val>
                                        </p:tav>
                                      </p:tavLst>
                                    </p:anim>
                                  </p:childTnLst>
                                </p:cTn>
                              </p:par>
                              <p:par>
                                <p:cTn id="18" presetID="2" presetClass="entr" presetSubtype="2" fill="hold" grpId="0" nodeType="withEffect">
                                  <p:stCondLst>
                                    <p:cond delay="0"/>
                                  </p:stCondLst>
                                  <p:childTnLst>
                                    <p:set>
                                      <p:cBhvr>
                                        <p:cTn id="19" dur="1" fill="hold">
                                          <p:stCondLst>
                                            <p:cond delay="0"/>
                                          </p:stCondLst>
                                        </p:cTn>
                                        <p:tgtEl>
                                          <p:spTgt spid="20"/>
                                        </p:tgtEl>
                                        <p:attrNameLst>
                                          <p:attrName>style.visibility</p:attrName>
                                        </p:attrNameLst>
                                      </p:cBhvr>
                                      <p:to>
                                        <p:strVal val="visible"/>
                                      </p:to>
                                    </p:set>
                                    <p:anim calcmode="lin" valueType="num">
                                      <p:cBhvr additive="base">
                                        <p:cTn id="20" dur="500" fill="hold"/>
                                        <p:tgtEl>
                                          <p:spTgt spid="20"/>
                                        </p:tgtEl>
                                        <p:attrNameLst>
                                          <p:attrName>ppt_x</p:attrName>
                                        </p:attrNameLst>
                                      </p:cBhvr>
                                      <p:tavLst>
                                        <p:tav tm="0">
                                          <p:val>
                                            <p:strVal val="1+#ppt_w/2"/>
                                          </p:val>
                                        </p:tav>
                                        <p:tav tm="100000">
                                          <p:val>
                                            <p:strVal val="#ppt_x"/>
                                          </p:val>
                                        </p:tav>
                                      </p:tavLst>
                                    </p:anim>
                                    <p:anim calcmode="lin" valueType="num">
                                      <p:cBhvr additive="base">
                                        <p:cTn id="21" dur="500" fill="hold"/>
                                        <p:tgtEl>
                                          <p:spTgt spid="20"/>
                                        </p:tgtEl>
                                        <p:attrNameLst>
                                          <p:attrName>ppt_y</p:attrName>
                                        </p:attrNameLst>
                                      </p:cBhvr>
                                      <p:tavLst>
                                        <p:tav tm="0">
                                          <p:val>
                                            <p:strVal val="#ppt_y"/>
                                          </p:val>
                                        </p:tav>
                                        <p:tav tm="100000">
                                          <p:val>
                                            <p:strVal val="#ppt_y"/>
                                          </p:val>
                                        </p:tav>
                                      </p:tavLst>
                                    </p:anim>
                                  </p:childTnLst>
                                </p:cTn>
                              </p:par>
                              <p:par>
                                <p:cTn id="22" presetID="2" presetClass="entr" presetSubtype="2" fill="hold" grpId="0" nodeType="withEffect">
                                  <p:stCondLst>
                                    <p:cond delay="0"/>
                                  </p:stCondLst>
                                  <p:childTnLst>
                                    <p:set>
                                      <p:cBhvr>
                                        <p:cTn id="23" dur="1" fill="hold">
                                          <p:stCondLst>
                                            <p:cond delay="0"/>
                                          </p:stCondLst>
                                        </p:cTn>
                                        <p:tgtEl>
                                          <p:spTgt spid="21"/>
                                        </p:tgtEl>
                                        <p:attrNameLst>
                                          <p:attrName>style.visibility</p:attrName>
                                        </p:attrNameLst>
                                      </p:cBhvr>
                                      <p:to>
                                        <p:strVal val="visible"/>
                                      </p:to>
                                    </p:set>
                                    <p:anim calcmode="lin" valueType="num">
                                      <p:cBhvr additive="base">
                                        <p:cTn id="24" dur="500" fill="hold"/>
                                        <p:tgtEl>
                                          <p:spTgt spid="21"/>
                                        </p:tgtEl>
                                        <p:attrNameLst>
                                          <p:attrName>ppt_x</p:attrName>
                                        </p:attrNameLst>
                                      </p:cBhvr>
                                      <p:tavLst>
                                        <p:tav tm="0">
                                          <p:val>
                                            <p:strVal val="1+#ppt_w/2"/>
                                          </p:val>
                                        </p:tav>
                                        <p:tav tm="100000">
                                          <p:val>
                                            <p:strVal val="#ppt_x"/>
                                          </p:val>
                                        </p:tav>
                                      </p:tavLst>
                                    </p:anim>
                                    <p:anim calcmode="lin" valueType="num">
                                      <p:cBhvr additive="base">
                                        <p:cTn id="25" dur="500" fill="hold"/>
                                        <p:tgtEl>
                                          <p:spTgt spid="21"/>
                                        </p:tgtEl>
                                        <p:attrNameLst>
                                          <p:attrName>ppt_y</p:attrName>
                                        </p:attrNameLst>
                                      </p:cBhvr>
                                      <p:tavLst>
                                        <p:tav tm="0">
                                          <p:val>
                                            <p:strVal val="#ppt_y"/>
                                          </p:val>
                                        </p:tav>
                                        <p:tav tm="100000">
                                          <p:val>
                                            <p:strVal val="#ppt_y"/>
                                          </p:val>
                                        </p:tav>
                                      </p:tavLst>
                                    </p:anim>
                                  </p:childTnLst>
                                </p:cTn>
                              </p:par>
                            </p:childTnLst>
                          </p:cTn>
                        </p:par>
                        <p:par>
                          <p:cTn id="26" fill="hold">
                            <p:stCondLst>
                              <p:cond delay="1000"/>
                            </p:stCondLst>
                            <p:childTnLst>
                              <p:par>
                                <p:cTn id="27" presetID="16" presetClass="entr" presetSubtype="21" fill="hold" grpId="0" nodeType="afterEffect">
                                  <p:stCondLst>
                                    <p:cond delay="0"/>
                                  </p:stCondLst>
                                  <p:childTnLst>
                                    <p:set>
                                      <p:cBhvr>
                                        <p:cTn id="28" dur="1" fill="hold">
                                          <p:stCondLst>
                                            <p:cond delay="0"/>
                                          </p:stCondLst>
                                        </p:cTn>
                                        <p:tgtEl>
                                          <p:spTgt spid="2"/>
                                        </p:tgtEl>
                                        <p:attrNameLst>
                                          <p:attrName>style.visibility</p:attrName>
                                        </p:attrNameLst>
                                      </p:cBhvr>
                                      <p:to>
                                        <p:strVal val="visible"/>
                                      </p:to>
                                    </p:set>
                                    <p:animEffect transition="in" filter="barn(inVertical)">
                                      <p:cBhvr>
                                        <p:cTn id="29"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13" grpId="0" animBg="1"/>
      <p:bldP spid="19" grpId="0" animBg="1"/>
      <p:bldP spid="20" grpId="0" animBg="1"/>
      <p:bldP spid="21" grpId="0" animBg="1"/>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矩形 33" hidden="1"/>
          <p:cNvSpPr/>
          <p:nvPr/>
        </p:nvSpPr>
        <p:spPr>
          <a:xfrm>
            <a:off x="2584817" y="2133288"/>
            <a:ext cx="936104" cy="6551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smtClean="0">
                <a:solidFill>
                  <a:srgbClr val="B0F533"/>
                </a:solidFill>
                <a:latin typeface="Gill Sans MT Pro Light" pitchFamily="34" charset="0"/>
              </a:rPr>
              <a:t>1</a:t>
            </a:r>
            <a:endParaRPr lang="zh-CN" altLang="en-US" sz="3600">
              <a:solidFill>
                <a:srgbClr val="B0F533"/>
              </a:solidFill>
              <a:latin typeface="Gill Sans MT Pro Light" pitchFamily="34" charset="0"/>
            </a:endParaRPr>
          </a:p>
        </p:txBody>
      </p:sp>
      <p:sp>
        <p:nvSpPr>
          <p:cNvPr id="35" name="矩形 34" hidden="1"/>
          <p:cNvSpPr/>
          <p:nvPr/>
        </p:nvSpPr>
        <p:spPr>
          <a:xfrm>
            <a:off x="3621305" y="2133288"/>
            <a:ext cx="5984291" cy="655104"/>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smtClean="0">
                <a:latin typeface="华文黑体" pitchFamily="2" charset="-122"/>
                <a:ea typeface="华文黑体" pitchFamily="2" charset="-122"/>
                <a:cs typeface="华文黑体" pitchFamily="2" charset="-122"/>
              </a:rPr>
              <a:t>                     点击添加标题</a:t>
            </a:r>
            <a:endParaRPr lang="zh-CN" altLang="en-US" sz="2800">
              <a:latin typeface="华文黑体" pitchFamily="2" charset="-122"/>
              <a:ea typeface="华文黑体" pitchFamily="2" charset="-122"/>
              <a:cs typeface="华文黑体" pitchFamily="2" charset="-122"/>
            </a:endParaRPr>
          </a:p>
        </p:txBody>
      </p:sp>
      <p:pic>
        <p:nvPicPr>
          <p:cNvPr id="8" name="Picture 2"/>
          <p:cNvPicPr>
            <a:picLocks noChangeAspect="1" noChangeArrowheads="1"/>
          </p:cNvPicPr>
          <p:nvPr/>
        </p:nvPicPr>
        <p:blipFill>
          <a:blip r:embed="rId1" cstate="print">
            <a:extLst>
              <a:ext uri="{28A0092B-C50C-407E-A947-70E740481C1C}">
                <a14:useLocalDpi xmlns:a14="http://schemas.microsoft.com/office/drawing/2010/main" val="0"/>
              </a:ext>
            </a:extLst>
          </a:blip>
          <a:stretch>
            <a:fillRect/>
          </a:stretch>
        </p:blipFill>
        <p:spPr bwMode="auto">
          <a:xfrm>
            <a:off x="1054646" y="1849021"/>
            <a:ext cx="5063836" cy="3368738"/>
          </a:xfrm>
          <a:prstGeom prst="rect">
            <a:avLst/>
          </a:prstGeom>
          <a:noFill/>
          <a:effectLst>
            <a:reflection blurRad="6350" stA="30000" endPos="35000" dir="5400000" sy="-100000" algn="bl" rotWithShape="0"/>
          </a:effectLst>
          <a:extLst>
            <a:ext uri="{909E8E84-426E-40DD-AFC4-6F175D3DCCD1}">
              <a14:hiddenFill xmlns:a14="http://schemas.microsoft.com/office/drawing/2010/main">
                <a:solidFill>
                  <a:srgbClr val="FFFFFF"/>
                </a:solidFill>
              </a14:hiddenFill>
            </a:ext>
          </a:extLst>
        </p:spPr>
      </p:pic>
      <p:sp>
        <p:nvSpPr>
          <p:cNvPr id="9" name="TextBox 8"/>
          <p:cNvSpPr txBox="1"/>
          <p:nvPr/>
        </p:nvSpPr>
        <p:spPr>
          <a:xfrm>
            <a:off x="6815286" y="2810115"/>
            <a:ext cx="4320480" cy="2277547"/>
          </a:xfrm>
          <a:prstGeom prst="rect">
            <a:avLst/>
          </a:prstGeom>
          <a:noFill/>
        </p:spPr>
        <p:txBody>
          <a:bodyPr wrap="square" rtlCol="0">
            <a:spAutoFit/>
          </a:bodyPr>
          <a:lstStyle/>
          <a:p>
            <a:r>
              <a:rPr lang="zh-CN" altLang="en-US" sz="2400" smtClean="0">
                <a:solidFill>
                  <a:schemeClr val="bg1"/>
                </a:solidFill>
                <a:latin typeface="华文黑体" pitchFamily="2" charset="-122"/>
                <a:ea typeface="华文黑体" pitchFamily="2" charset="-122"/>
                <a:cs typeface="华文黑体" pitchFamily="2" charset="-122"/>
              </a:rPr>
              <a:t>单击添加标题</a:t>
            </a:r>
            <a:endParaRPr lang="en-US" altLang="zh-CN" sz="2400" smtClean="0">
              <a:solidFill>
                <a:schemeClr val="bg1"/>
              </a:solidFill>
              <a:latin typeface="华文黑体" pitchFamily="2" charset="-122"/>
              <a:ea typeface="华文黑体" pitchFamily="2" charset="-122"/>
              <a:cs typeface="华文黑体" pitchFamily="2" charset="-122"/>
            </a:endParaRPr>
          </a:p>
          <a:p>
            <a:endParaRPr lang="en-US" altLang="zh-CN" sz="1000" smtClean="0">
              <a:solidFill>
                <a:schemeClr val="bg1"/>
              </a:solidFill>
              <a:latin typeface="华文黑体" pitchFamily="2" charset="-122"/>
              <a:ea typeface="华文黑体" pitchFamily="2" charset="-122"/>
              <a:cs typeface="华文黑体" pitchFamily="2" charset="-122"/>
            </a:endParaRPr>
          </a:p>
          <a:p>
            <a:r>
              <a:rPr lang="zh-CN" altLang="en-US" smtClean="0">
                <a:solidFill>
                  <a:schemeClr val="bg1"/>
                </a:solidFill>
                <a:latin typeface="华文细黑" panose="02010600040101010101" pitchFamily="2" charset="-122"/>
                <a:ea typeface="华文细黑" panose="02010600040101010101" pitchFamily="2" charset="-122"/>
                <a:cs typeface="华文黑体" pitchFamily="2" charset="-122"/>
              </a:rPr>
              <a:t>单击添加文本单击添加文本单击添加文本单击添加文本单击</a:t>
            </a:r>
            <a:r>
              <a:rPr lang="zh-CN" altLang="en-US">
                <a:solidFill>
                  <a:schemeClr val="bg1"/>
                </a:solidFill>
                <a:latin typeface="华文细黑" panose="02010600040101010101" pitchFamily="2" charset="-122"/>
                <a:ea typeface="华文细黑" panose="02010600040101010101" pitchFamily="2" charset="-122"/>
                <a:cs typeface="华文黑体" pitchFamily="2" charset="-122"/>
              </a:rPr>
              <a:t>添加</a:t>
            </a:r>
            <a:r>
              <a:rPr lang="zh-CN" altLang="en-US" smtClean="0">
                <a:solidFill>
                  <a:schemeClr val="bg1"/>
                </a:solidFill>
                <a:latin typeface="华文细黑" panose="02010600040101010101" pitchFamily="2" charset="-122"/>
                <a:ea typeface="华文细黑" panose="02010600040101010101" pitchFamily="2" charset="-122"/>
                <a:cs typeface="华文黑体" pitchFamily="2" charset="-122"/>
              </a:rPr>
              <a:t>文本单击添加</a:t>
            </a:r>
            <a:r>
              <a:rPr lang="zh-CN" altLang="en-US">
                <a:solidFill>
                  <a:schemeClr val="bg1"/>
                </a:solidFill>
                <a:latin typeface="华文细黑" panose="02010600040101010101" pitchFamily="2" charset="-122"/>
                <a:ea typeface="华文细黑" panose="02010600040101010101" pitchFamily="2" charset="-122"/>
                <a:cs typeface="华文黑体" pitchFamily="2" charset="-122"/>
              </a:rPr>
              <a:t>文本单击添加文本单击添加</a:t>
            </a:r>
            <a:r>
              <a:rPr lang="zh-CN" altLang="en-US" smtClean="0">
                <a:solidFill>
                  <a:schemeClr val="bg1"/>
                </a:solidFill>
                <a:latin typeface="华文细黑" panose="02010600040101010101" pitchFamily="2" charset="-122"/>
                <a:ea typeface="华文细黑" panose="02010600040101010101" pitchFamily="2" charset="-122"/>
                <a:cs typeface="华文黑体" pitchFamily="2" charset="-122"/>
              </a:rPr>
              <a:t>文本</a:t>
            </a:r>
            <a:r>
              <a:rPr lang="zh-CN" altLang="en-US">
                <a:solidFill>
                  <a:schemeClr val="bg1"/>
                </a:solidFill>
                <a:latin typeface="华文细黑" panose="02010600040101010101" pitchFamily="2" charset="-122"/>
                <a:ea typeface="华文细黑" panose="02010600040101010101" pitchFamily="2" charset="-122"/>
                <a:cs typeface="华文黑体" pitchFamily="2" charset="-122"/>
              </a:rPr>
              <a:t>单击添加文本单击添加</a:t>
            </a:r>
            <a:r>
              <a:rPr lang="zh-CN" altLang="en-US" smtClean="0">
                <a:solidFill>
                  <a:schemeClr val="bg1"/>
                </a:solidFill>
                <a:latin typeface="华文细黑" panose="02010600040101010101" pitchFamily="2" charset="-122"/>
                <a:ea typeface="华文细黑" panose="02010600040101010101" pitchFamily="2" charset="-122"/>
                <a:cs typeface="华文黑体" pitchFamily="2" charset="-122"/>
              </a:rPr>
              <a:t>文本单击</a:t>
            </a:r>
            <a:r>
              <a:rPr lang="zh-CN" altLang="en-US">
                <a:solidFill>
                  <a:schemeClr val="bg1"/>
                </a:solidFill>
                <a:latin typeface="华文细黑" panose="02010600040101010101" pitchFamily="2" charset="-122"/>
                <a:ea typeface="华文细黑" panose="02010600040101010101" pitchFamily="2" charset="-122"/>
                <a:cs typeface="华文黑体" pitchFamily="2" charset="-122"/>
              </a:rPr>
              <a:t>添加文本单击添加</a:t>
            </a:r>
            <a:r>
              <a:rPr lang="zh-CN" altLang="en-US" smtClean="0">
                <a:solidFill>
                  <a:schemeClr val="bg1"/>
                </a:solidFill>
                <a:latin typeface="华文细黑" panose="02010600040101010101" pitchFamily="2" charset="-122"/>
                <a:ea typeface="华文细黑" panose="02010600040101010101" pitchFamily="2" charset="-122"/>
                <a:cs typeface="华文黑体" pitchFamily="2" charset="-122"/>
              </a:rPr>
              <a:t>文本</a:t>
            </a:r>
            <a:r>
              <a:rPr lang="zh-CN" altLang="en-US">
                <a:solidFill>
                  <a:schemeClr val="bg1"/>
                </a:solidFill>
                <a:latin typeface="华文细黑" panose="02010600040101010101" pitchFamily="2" charset="-122"/>
                <a:ea typeface="华文细黑" panose="02010600040101010101" pitchFamily="2" charset="-122"/>
                <a:cs typeface="华文黑体" pitchFamily="2" charset="-122"/>
              </a:rPr>
              <a:t>单击添加文本单击添加</a:t>
            </a:r>
            <a:r>
              <a:rPr lang="zh-CN" altLang="en-US" smtClean="0">
                <a:solidFill>
                  <a:schemeClr val="bg1"/>
                </a:solidFill>
                <a:latin typeface="华文细黑" panose="02010600040101010101" pitchFamily="2" charset="-122"/>
                <a:ea typeface="华文细黑" panose="02010600040101010101" pitchFamily="2" charset="-122"/>
                <a:cs typeface="华文黑体" pitchFamily="2" charset="-122"/>
              </a:rPr>
              <a:t>文本</a:t>
            </a:r>
            <a:endParaRPr lang="zh-CN" altLang="en-US">
              <a:solidFill>
                <a:schemeClr val="bg1"/>
              </a:solidFill>
              <a:latin typeface="华文细黑" panose="02010600040101010101" pitchFamily="2" charset="-122"/>
              <a:ea typeface="华文细黑" panose="02010600040101010101" pitchFamily="2" charset="-122"/>
              <a:cs typeface="华文黑体" pitchFamily="2" charset="-122"/>
            </a:endParaRPr>
          </a:p>
          <a:p>
            <a:endParaRPr lang="zh-CN" altLang="en-US">
              <a:solidFill>
                <a:schemeClr val="bg1"/>
              </a:solidFill>
              <a:latin typeface="华文细黑" panose="02010600040101010101" pitchFamily="2" charset="-122"/>
              <a:ea typeface="华文细黑" panose="02010600040101010101" pitchFamily="2" charset="-122"/>
              <a:cs typeface="华文黑体" pitchFamily="2" charset="-122"/>
            </a:endParaRPr>
          </a:p>
        </p:txBody>
      </p:sp>
      <p:sp>
        <p:nvSpPr>
          <p:cNvPr id="10" name="圆角矩形 9"/>
          <p:cNvSpPr/>
          <p:nvPr/>
        </p:nvSpPr>
        <p:spPr>
          <a:xfrm>
            <a:off x="8894702" y="260648"/>
            <a:ext cx="2673112" cy="600163"/>
          </a:xfrm>
          <a:prstGeom prst="roundRect">
            <a:avLst/>
          </a:prstGeom>
          <a:solidFill>
            <a:srgbClr val="FFFFFF"/>
          </a:solidFill>
          <a:ln>
            <a:noFill/>
          </a:ln>
          <a:effectLst>
            <a:reflection blurRad="6350" stA="25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 name="TextBox 10"/>
          <p:cNvSpPr txBox="1"/>
          <p:nvPr/>
        </p:nvSpPr>
        <p:spPr>
          <a:xfrm>
            <a:off x="9061707" y="260648"/>
            <a:ext cx="2339102" cy="523220"/>
          </a:xfrm>
          <a:prstGeom prst="rect">
            <a:avLst/>
          </a:prstGeom>
          <a:noFill/>
        </p:spPr>
        <p:txBody>
          <a:bodyPr wrap="none" rtlCol="0" anchor="ctr">
            <a:spAutoFit/>
          </a:bodyPr>
          <a:lstStyle>
            <a:defPPr>
              <a:defRPr lang="zh-CN"/>
            </a:defPPr>
            <a:lvl1pPr algn="ctr">
              <a:defRPr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anose="02010600040101010101" pitchFamily="2" charset="-122"/>
                <a:cs typeface="华文黑体" pitchFamily="2" charset="-122"/>
              </a:defRPr>
            </a:lvl1pPr>
          </a:lstStyle>
          <a:p>
            <a:r>
              <a:rPr lang="zh-CN" altLang="en-US" sz="2800"/>
              <a:t>点击添加标题</a:t>
            </a:r>
            <a:endParaRPr lang="zh-CN" altLang="en-US" sz="280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3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1"/>
                                        </p:tgtEl>
                                        <p:attrNameLst>
                                          <p:attrName>style.visibility</p:attrName>
                                        </p:attrNameLst>
                                      </p:cBhvr>
                                      <p:to>
                                        <p:strVal val="visible"/>
                                      </p:to>
                                    </p:set>
                                    <p:animEffect transition="in" filter="fade">
                                      <p:cBhvr>
                                        <p:cTn id="10" dur="300"/>
                                        <p:tgtEl>
                                          <p:spTgt spid="11"/>
                                        </p:tgtEl>
                                      </p:cBhvr>
                                    </p:animEffect>
                                  </p:childTnLst>
                                </p:cTn>
                              </p:par>
                            </p:childTnLst>
                          </p:cTn>
                        </p:par>
                        <p:par>
                          <p:cTn id="11" fill="hold">
                            <p:stCondLst>
                              <p:cond delay="500"/>
                            </p:stCondLst>
                            <p:childTnLst>
                              <p:par>
                                <p:cTn id="12" presetID="2" presetClass="entr" presetSubtype="8" decel="100000" fill="hold" nodeType="afterEffect">
                                  <p:stCondLst>
                                    <p:cond delay="0"/>
                                  </p:stCondLst>
                                  <p:childTnLst>
                                    <p:set>
                                      <p:cBhvr>
                                        <p:cTn id="13" dur="1" fill="hold">
                                          <p:stCondLst>
                                            <p:cond delay="0"/>
                                          </p:stCondLst>
                                        </p:cTn>
                                        <p:tgtEl>
                                          <p:spTgt spid="8"/>
                                        </p:tgtEl>
                                        <p:attrNameLst>
                                          <p:attrName>style.visibility</p:attrName>
                                        </p:attrNameLst>
                                      </p:cBhvr>
                                      <p:to>
                                        <p:strVal val="visible"/>
                                      </p:to>
                                    </p:set>
                                    <p:anim calcmode="lin" valueType="num">
                                      <p:cBhvr additive="base">
                                        <p:cTn id="14" dur="1000" fill="hold"/>
                                        <p:tgtEl>
                                          <p:spTgt spid="8"/>
                                        </p:tgtEl>
                                        <p:attrNameLst>
                                          <p:attrName>ppt_x</p:attrName>
                                        </p:attrNameLst>
                                      </p:cBhvr>
                                      <p:tavLst>
                                        <p:tav tm="0">
                                          <p:val>
                                            <p:strVal val="0-#ppt_w/2"/>
                                          </p:val>
                                        </p:tav>
                                        <p:tav tm="100000">
                                          <p:val>
                                            <p:strVal val="#ppt_x"/>
                                          </p:val>
                                        </p:tav>
                                      </p:tavLst>
                                    </p:anim>
                                    <p:anim calcmode="lin" valueType="num">
                                      <p:cBhvr additive="base">
                                        <p:cTn id="15" dur="1000" fill="hold"/>
                                        <p:tgtEl>
                                          <p:spTgt spid="8"/>
                                        </p:tgtEl>
                                        <p:attrNameLst>
                                          <p:attrName>ppt_y</p:attrName>
                                        </p:attrNameLst>
                                      </p:cBhvr>
                                      <p:tavLst>
                                        <p:tav tm="0">
                                          <p:val>
                                            <p:strVal val="#ppt_y"/>
                                          </p:val>
                                        </p:tav>
                                        <p:tav tm="100000">
                                          <p:val>
                                            <p:strVal val="#ppt_y"/>
                                          </p:val>
                                        </p:tav>
                                      </p:tavLst>
                                    </p:anim>
                                  </p:childTnLst>
                                </p:cTn>
                              </p:par>
                              <p:par>
                                <p:cTn id="16" presetID="10" presetClass="entr" presetSubtype="0" fill="hold" grpId="0" nodeType="withEffect">
                                  <p:stCondLst>
                                    <p:cond delay="300"/>
                                  </p:stCondLst>
                                  <p:childTnLst>
                                    <p:set>
                                      <p:cBhvr>
                                        <p:cTn id="17" dur="1" fill="hold">
                                          <p:stCondLst>
                                            <p:cond delay="0"/>
                                          </p:stCondLst>
                                        </p:cTn>
                                        <p:tgtEl>
                                          <p:spTgt spid="9"/>
                                        </p:tgtEl>
                                        <p:attrNameLst>
                                          <p:attrName>style.visibility</p:attrName>
                                        </p:attrNameLst>
                                      </p:cBhvr>
                                      <p:to>
                                        <p:strVal val="visible"/>
                                      </p:to>
                                    </p:set>
                                    <p:animEffect transition="in" filter="fade">
                                      <p:cBhvr>
                                        <p:cTn id="18"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10" grpId="0" animBg="1"/>
      <p:bldP spid="11"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矩形 33" hidden="1"/>
          <p:cNvSpPr/>
          <p:nvPr/>
        </p:nvSpPr>
        <p:spPr>
          <a:xfrm>
            <a:off x="2584817" y="2133288"/>
            <a:ext cx="936104" cy="6551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smtClean="0">
                <a:solidFill>
                  <a:srgbClr val="B0F533"/>
                </a:solidFill>
                <a:latin typeface="Gill Sans MT Pro Light" pitchFamily="34" charset="0"/>
              </a:rPr>
              <a:t>1</a:t>
            </a:r>
            <a:endParaRPr lang="zh-CN" altLang="en-US" sz="3600">
              <a:solidFill>
                <a:srgbClr val="B0F533"/>
              </a:solidFill>
              <a:latin typeface="Gill Sans MT Pro Light" pitchFamily="34" charset="0"/>
            </a:endParaRPr>
          </a:p>
        </p:txBody>
      </p:sp>
      <p:sp>
        <p:nvSpPr>
          <p:cNvPr id="35" name="矩形 34" hidden="1"/>
          <p:cNvSpPr/>
          <p:nvPr/>
        </p:nvSpPr>
        <p:spPr>
          <a:xfrm>
            <a:off x="3621305" y="2133288"/>
            <a:ext cx="5984291" cy="655104"/>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smtClean="0">
                <a:latin typeface="华文黑体" pitchFamily="2" charset="-122"/>
                <a:ea typeface="华文黑体" pitchFamily="2" charset="-122"/>
                <a:cs typeface="华文黑体" pitchFamily="2" charset="-122"/>
              </a:rPr>
              <a:t>                     点击添加标题</a:t>
            </a:r>
            <a:endParaRPr lang="zh-CN" altLang="en-US" sz="2800">
              <a:latin typeface="华文黑体" pitchFamily="2" charset="-122"/>
              <a:ea typeface="华文黑体" pitchFamily="2" charset="-122"/>
              <a:cs typeface="华文黑体" pitchFamily="2" charset="-122"/>
            </a:endParaRPr>
          </a:p>
        </p:txBody>
      </p:sp>
      <p:sp>
        <p:nvSpPr>
          <p:cNvPr id="2" name="等腰三角形 1"/>
          <p:cNvSpPr/>
          <p:nvPr/>
        </p:nvSpPr>
        <p:spPr>
          <a:xfrm>
            <a:off x="1198662" y="5157192"/>
            <a:ext cx="1471299" cy="216024"/>
          </a:xfrm>
          <a:prstGeom prst="triangle">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 name="等腰三角形 8"/>
          <p:cNvSpPr/>
          <p:nvPr/>
        </p:nvSpPr>
        <p:spPr>
          <a:xfrm>
            <a:off x="2343005" y="4437112"/>
            <a:ext cx="1471299" cy="936104"/>
          </a:xfrm>
          <a:prstGeom prst="triangle">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等腰三角形 9"/>
          <p:cNvSpPr/>
          <p:nvPr/>
        </p:nvSpPr>
        <p:spPr>
          <a:xfrm>
            <a:off x="3487349" y="3429000"/>
            <a:ext cx="1471299" cy="1944216"/>
          </a:xfrm>
          <a:prstGeom prst="triangle">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 name="等腰三角形 10"/>
          <p:cNvSpPr/>
          <p:nvPr/>
        </p:nvSpPr>
        <p:spPr>
          <a:xfrm>
            <a:off x="4631692" y="2204864"/>
            <a:ext cx="1471299" cy="3168352"/>
          </a:xfrm>
          <a:prstGeom prst="triangle">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3" name="等腰三角形 12"/>
          <p:cNvSpPr/>
          <p:nvPr/>
        </p:nvSpPr>
        <p:spPr>
          <a:xfrm>
            <a:off x="5776035" y="3773714"/>
            <a:ext cx="1471299" cy="1599502"/>
          </a:xfrm>
          <a:prstGeom prst="triangle">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0" name="TextBox 19"/>
          <p:cNvSpPr txBox="1"/>
          <p:nvPr/>
        </p:nvSpPr>
        <p:spPr>
          <a:xfrm>
            <a:off x="1562613" y="5579948"/>
            <a:ext cx="743396" cy="369332"/>
          </a:xfrm>
          <a:prstGeom prst="rect">
            <a:avLst/>
          </a:prstGeom>
          <a:noFill/>
        </p:spPr>
        <p:txBody>
          <a:bodyPr wrap="square" rtlCol="0">
            <a:spAutoFit/>
          </a:bodyPr>
          <a:lstStyle/>
          <a:p>
            <a:pPr algn="ctr"/>
            <a:r>
              <a:rPr lang="zh-CN" altLang="en-US" smtClean="0">
                <a:solidFill>
                  <a:schemeClr val="bg1"/>
                </a:solidFill>
                <a:latin typeface="华文黑体" pitchFamily="2" charset="-122"/>
                <a:ea typeface="华文黑体" pitchFamily="2" charset="-122"/>
                <a:cs typeface="华文黑体" pitchFamily="2" charset="-122"/>
              </a:rPr>
              <a:t>标题</a:t>
            </a:r>
            <a:endParaRPr lang="zh-CN" altLang="en-US">
              <a:solidFill>
                <a:schemeClr val="bg1"/>
              </a:solidFill>
              <a:latin typeface="华文细黑" panose="02010600040101010101" pitchFamily="2" charset="-122"/>
              <a:ea typeface="华文细黑" panose="02010600040101010101" pitchFamily="2" charset="-122"/>
              <a:cs typeface="华文黑体" pitchFamily="2" charset="-122"/>
            </a:endParaRPr>
          </a:p>
        </p:txBody>
      </p:sp>
      <p:sp>
        <p:nvSpPr>
          <p:cNvPr id="21" name="TextBox 20"/>
          <p:cNvSpPr txBox="1"/>
          <p:nvPr/>
        </p:nvSpPr>
        <p:spPr>
          <a:xfrm>
            <a:off x="2706956" y="5579948"/>
            <a:ext cx="743396" cy="369332"/>
          </a:xfrm>
          <a:prstGeom prst="rect">
            <a:avLst/>
          </a:prstGeom>
          <a:noFill/>
        </p:spPr>
        <p:txBody>
          <a:bodyPr wrap="square" rtlCol="0">
            <a:spAutoFit/>
          </a:bodyPr>
          <a:lstStyle/>
          <a:p>
            <a:pPr algn="ctr"/>
            <a:r>
              <a:rPr lang="zh-CN" altLang="en-US" smtClean="0">
                <a:solidFill>
                  <a:schemeClr val="bg1"/>
                </a:solidFill>
                <a:latin typeface="华文黑体" pitchFamily="2" charset="-122"/>
                <a:ea typeface="华文黑体" pitchFamily="2" charset="-122"/>
                <a:cs typeface="华文黑体" pitchFamily="2" charset="-122"/>
              </a:rPr>
              <a:t>标题</a:t>
            </a:r>
            <a:endParaRPr lang="zh-CN" altLang="en-US">
              <a:solidFill>
                <a:schemeClr val="bg1"/>
              </a:solidFill>
              <a:latin typeface="华文细黑" panose="02010600040101010101" pitchFamily="2" charset="-122"/>
              <a:ea typeface="华文细黑" panose="02010600040101010101" pitchFamily="2" charset="-122"/>
              <a:cs typeface="华文黑体" pitchFamily="2" charset="-122"/>
            </a:endParaRPr>
          </a:p>
        </p:txBody>
      </p:sp>
      <p:sp>
        <p:nvSpPr>
          <p:cNvPr id="23" name="TextBox 22"/>
          <p:cNvSpPr txBox="1"/>
          <p:nvPr/>
        </p:nvSpPr>
        <p:spPr>
          <a:xfrm>
            <a:off x="3851300" y="5579948"/>
            <a:ext cx="743396" cy="369332"/>
          </a:xfrm>
          <a:prstGeom prst="rect">
            <a:avLst/>
          </a:prstGeom>
          <a:noFill/>
        </p:spPr>
        <p:txBody>
          <a:bodyPr wrap="square" rtlCol="0">
            <a:spAutoFit/>
          </a:bodyPr>
          <a:lstStyle/>
          <a:p>
            <a:pPr algn="ctr"/>
            <a:r>
              <a:rPr lang="zh-CN" altLang="en-US" smtClean="0">
                <a:solidFill>
                  <a:schemeClr val="bg1"/>
                </a:solidFill>
                <a:latin typeface="华文黑体" pitchFamily="2" charset="-122"/>
                <a:ea typeface="华文黑体" pitchFamily="2" charset="-122"/>
                <a:cs typeface="华文黑体" pitchFamily="2" charset="-122"/>
              </a:rPr>
              <a:t>标题</a:t>
            </a:r>
            <a:endParaRPr lang="zh-CN" altLang="en-US">
              <a:solidFill>
                <a:schemeClr val="bg1"/>
              </a:solidFill>
              <a:latin typeface="华文细黑" panose="02010600040101010101" pitchFamily="2" charset="-122"/>
              <a:ea typeface="华文细黑" panose="02010600040101010101" pitchFamily="2" charset="-122"/>
              <a:cs typeface="华文黑体" pitchFamily="2" charset="-122"/>
            </a:endParaRPr>
          </a:p>
        </p:txBody>
      </p:sp>
      <p:sp>
        <p:nvSpPr>
          <p:cNvPr id="24" name="TextBox 23"/>
          <p:cNvSpPr txBox="1"/>
          <p:nvPr/>
        </p:nvSpPr>
        <p:spPr>
          <a:xfrm>
            <a:off x="4995643" y="5579948"/>
            <a:ext cx="743396" cy="369332"/>
          </a:xfrm>
          <a:prstGeom prst="rect">
            <a:avLst/>
          </a:prstGeom>
          <a:noFill/>
        </p:spPr>
        <p:txBody>
          <a:bodyPr wrap="square" rtlCol="0">
            <a:spAutoFit/>
          </a:bodyPr>
          <a:lstStyle/>
          <a:p>
            <a:pPr algn="ctr"/>
            <a:r>
              <a:rPr lang="zh-CN" altLang="en-US" smtClean="0">
                <a:solidFill>
                  <a:schemeClr val="bg1"/>
                </a:solidFill>
                <a:latin typeface="华文黑体" pitchFamily="2" charset="-122"/>
                <a:ea typeface="华文黑体" pitchFamily="2" charset="-122"/>
                <a:cs typeface="华文黑体" pitchFamily="2" charset="-122"/>
              </a:rPr>
              <a:t>标题</a:t>
            </a:r>
            <a:endParaRPr lang="zh-CN" altLang="en-US">
              <a:solidFill>
                <a:schemeClr val="bg1"/>
              </a:solidFill>
              <a:latin typeface="华文细黑" panose="02010600040101010101" pitchFamily="2" charset="-122"/>
              <a:ea typeface="华文细黑" panose="02010600040101010101" pitchFamily="2" charset="-122"/>
              <a:cs typeface="华文黑体" pitchFamily="2" charset="-122"/>
            </a:endParaRPr>
          </a:p>
        </p:txBody>
      </p:sp>
      <p:sp>
        <p:nvSpPr>
          <p:cNvPr id="25" name="TextBox 24"/>
          <p:cNvSpPr txBox="1"/>
          <p:nvPr/>
        </p:nvSpPr>
        <p:spPr>
          <a:xfrm>
            <a:off x="6139986" y="5579948"/>
            <a:ext cx="743396" cy="369332"/>
          </a:xfrm>
          <a:prstGeom prst="rect">
            <a:avLst/>
          </a:prstGeom>
          <a:noFill/>
        </p:spPr>
        <p:txBody>
          <a:bodyPr wrap="square" rtlCol="0">
            <a:spAutoFit/>
          </a:bodyPr>
          <a:lstStyle/>
          <a:p>
            <a:pPr algn="ctr"/>
            <a:r>
              <a:rPr lang="zh-CN" altLang="en-US" smtClean="0">
                <a:solidFill>
                  <a:schemeClr val="bg1"/>
                </a:solidFill>
                <a:latin typeface="华文黑体" pitchFamily="2" charset="-122"/>
                <a:ea typeface="华文黑体" pitchFamily="2" charset="-122"/>
                <a:cs typeface="华文黑体" pitchFamily="2" charset="-122"/>
              </a:rPr>
              <a:t>标题</a:t>
            </a:r>
            <a:endParaRPr lang="zh-CN" altLang="en-US">
              <a:solidFill>
                <a:schemeClr val="bg1"/>
              </a:solidFill>
              <a:latin typeface="华文细黑" panose="02010600040101010101" pitchFamily="2" charset="-122"/>
              <a:ea typeface="华文细黑" panose="02010600040101010101" pitchFamily="2" charset="-122"/>
              <a:cs typeface="华文黑体" pitchFamily="2" charset="-122"/>
            </a:endParaRPr>
          </a:p>
        </p:txBody>
      </p:sp>
      <p:sp>
        <p:nvSpPr>
          <p:cNvPr id="26" name="TextBox 25"/>
          <p:cNvSpPr txBox="1"/>
          <p:nvPr/>
        </p:nvSpPr>
        <p:spPr>
          <a:xfrm>
            <a:off x="1671258" y="4611796"/>
            <a:ext cx="526106" cy="338554"/>
          </a:xfrm>
          <a:prstGeom prst="rect">
            <a:avLst/>
          </a:prstGeom>
          <a:noFill/>
        </p:spPr>
        <p:txBody>
          <a:bodyPr wrap="none" rtlCol="0">
            <a:spAutoFit/>
          </a:bodyPr>
          <a:lstStyle/>
          <a:p>
            <a:r>
              <a:rPr lang="en-US" altLang="zh-CN" sz="1600" smtClean="0">
                <a:solidFill>
                  <a:schemeClr val="bg1"/>
                </a:solidFill>
                <a:latin typeface="HelveticaNeueLT Pro 35 Th" pitchFamily="34" charset="0"/>
              </a:rPr>
              <a:t>500</a:t>
            </a:r>
            <a:endParaRPr lang="zh-CN" altLang="en-US" sz="1600">
              <a:solidFill>
                <a:schemeClr val="bg1"/>
              </a:solidFill>
              <a:latin typeface="HelveticaNeueLT Pro 35 Th" pitchFamily="34" charset="0"/>
            </a:endParaRPr>
          </a:p>
        </p:txBody>
      </p:sp>
      <p:sp>
        <p:nvSpPr>
          <p:cNvPr id="27" name="TextBox 26"/>
          <p:cNvSpPr txBox="1"/>
          <p:nvPr/>
        </p:nvSpPr>
        <p:spPr>
          <a:xfrm>
            <a:off x="2758695" y="3882534"/>
            <a:ext cx="639919" cy="338554"/>
          </a:xfrm>
          <a:prstGeom prst="rect">
            <a:avLst/>
          </a:prstGeom>
          <a:noFill/>
        </p:spPr>
        <p:txBody>
          <a:bodyPr wrap="none" rtlCol="0">
            <a:spAutoFit/>
          </a:bodyPr>
          <a:lstStyle/>
          <a:p>
            <a:r>
              <a:rPr lang="en-US" altLang="zh-CN" sz="1600" smtClean="0">
                <a:solidFill>
                  <a:schemeClr val="bg1"/>
                </a:solidFill>
                <a:latin typeface="HelveticaNeueLT Pro 35 Th" pitchFamily="34" charset="0"/>
              </a:rPr>
              <a:t>1000</a:t>
            </a:r>
            <a:endParaRPr lang="zh-CN" altLang="en-US" sz="1600">
              <a:solidFill>
                <a:schemeClr val="bg1"/>
              </a:solidFill>
              <a:latin typeface="HelveticaNeueLT Pro 35 Th" pitchFamily="34" charset="0"/>
            </a:endParaRPr>
          </a:p>
        </p:txBody>
      </p:sp>
      <p:sp>
        <p:nvSpPr>
          <p:cNvPr id="28" name="TextBox 27"/>
          <p:cNvSpPr txBox="1"/>
          <p:nvPr/>
        </p:nvSpPr>
        <p:spPr>
          <a:xfrm>
            <a:off x="3903039" y="2943202"/>
            <a:ext cx="639919" cy="338554"/>
          </a:xfrm>
          <a:prstGeom prst="rect">
            <a:avLst/>
          </a:prstGeom>
          <a:noFill/>
        </p:spPr>
        <p:txBody>
          <a:bodyPr wrap="none" rtlCol="0">
            <a:spAutoFit/>
          </a:bodyPr>
          <a:lstStyle/>
          <a:p>
            <a:r>
              <a:rPr lang="en-US" altLang="zh-CN" sz="1600" smtClean="0">
                <a:solidFill>
                  <a:schemeClr val="bg1"/>
                </a:solidFill>
                <a:latin typeface="HelveticaNeueLT Pro 35 Th" pitchFamily="34" charset="0"/>
              </a:rPr>
              <a:t>2000</a:t>
            </a:r>
            <a:endParaRPr lang="zh-CN" altLang="en-US" sz="1600">
              <a:solidFill>
                <a:schemeClr val="bg1"/>
              </a:solidFill>
              <a:latin typeface="HelveticaNeueLT Pro 35 Th" pitchFamily="34" charset="0"/>
            </a:endParaRPr>
          </a:p>
        </p:txBody>
      </p:sp>
      <p:sp>
        <p:nvSpPr>
          <p:cNvPr id="29" name="TextBox 28"/>
          <p:cNvSpPr txBox="1"/>
          <p:nvPr/>
        </p:nvSpPr>
        <p:spPr>
          <a:xfrm>
            <a:off x="5047382" y="1719066"/>
            <a:ext cx="639919" cy="338554"/>
          </a:xfrm>
          <a:prstGeom prst="rect">
            <a:avLst/>
          </a:prstGeom>
          <a:noFill/>
        </p:spPr>
        <p:txBody>
          <a:bodyPr wrap="none" rtlCol="0">
            <a:spAutoFit/>
          </a:bodyPr>
          <a:lstStyle/>
          <a:p>
            <a:r>
              <a:rPr lang="en-US" altLang="zh-CN" sz="1600" smtClean="0">
                <a:solidFill>
                  <a:schemeClr val="bg1"/>
                </a:solidFill>
                <a:latin typeface="HelveticaNeueLT Pro 35 Th" pitchFamily="34" charset="0"/>
              </a:rPr>
              <a:t>3000</a:t>
            </a:r>
            <a:endParaRPr lang="zh-CN" altLang="en-US" sz="1600">
              <a:solidFill>
                <a:schemeClr val="bg1"/>
              </a:solidFill>
              <a:latin typeface="HelveticaNeueLT Pro 35 Th" pitchFamily="34" charset="0"/>
            </a:endParaRPr>
          </a:p>
        </p:txBody>
      </p:sp>
      <p:sp>
        <p:nvSpPr>
          <p:cNvPr id="30" name="TextBox 29"/>
          <p:cNvSpPr txBox="1"/>
          <p:nvPr/>
        </p:nvSpPr>
        <p:spPr>
          <a:xfrm>
            <a:off x="6191725" y="3250979"/>
            <a:ext cx="639919" cy="338554"/>
          </a:xfrm>
          <a:prstGeom prst="rect">
            <a:avLst/>
          </a:prstGeom>
          <a:noFill/>
        </p:spPr>
        <p:txBody>
          <a:bodyPr wrap="none" rtlCol="0">
            <a:spAutoFit/>
          </a:bodyPr>
          <a:lstStyle/>
          <a:p>
            <a:r>
              <a:rPr lang="en-US" altLang="zh-CN" sz="1600" smtClean="0">
                <a:solidFill>
                  <a:schemeClr val="bg1"/>
                </a:solidFill>
                <a:latin typeface="HelveticaNeueLT Pro 35 Th" pitchFamily="34" charset="0"/>
              </a:rPr>
              <a:t>1500</a:t>
            </a:r>
            <a:endParaRPr lang="zh-CN" altLang="en-US" sz="1600">
              <a:solidFill>
                <a:schemeClr val="bg1"/>
              </a:solidFill>
              <a:latin typeface="HelveticaNeueLT Pro 35 Th" pitchFamily="34" charset="0"/>
            </a:endParaRPr>
          </a:p>
        </p:txBody>
      </p:sp>
      <p:sp>
        <p:nvSpPr>
          <p:cNvPr id="32" name="Freeform 91"/>
          <p:cNvSpPr>
            <a:spLocks noEditPoints="1"/>
          </p:cNvSpPr>
          <p:nvPr/>
        </p:nvSpPr>
        <p:spPr bwMode="auto">
          <a:xfrm>
            <a:off x="8327454" y="2132856"/>
            <a:ext cx="293174" cy="418025"/>
          </a:xfrm>
          <a:custGeom>
            <a:avLst/>
            <a:gdLst>
              <a:gd name="T0" fmla="*/ 8 w 348"/>
              <a:gd name="T1" fmla="*/ 0 h 414"/>
              <a:gd name="T2" fmla="*/ 0 w 348"/>
              <a:gd name="T3" fmla="*/ 406 h 414"/>
              <a:gd name="T4" fmla="*/ 340 w 348"/>
              <a:gd name="T5" fmla="*/ 414 h 414"/>
              <a:gd name="T6" fmla="*/ 348 w 348"/>
              <a:gd name="T7" fmla="*/ 8 h 414"/>
              <a:gd name="T8" fmla="*/ 333 w 348"/>
              <a:gd name="T9" fmla="*/ 399 h 414"/>
              <a:gd name="T10" fmla="*/ 15 w 348"/>
              <a:gd name="T11" fmla="*/ 15 h 414"/>
              <a:gd name="T12" fmla="*/ 333 w 348"/>
              <a:gd name="T13" fmla="*/ 399 h 414"/>
              <a:gd name="T14" fmla="*/ 33 w 348"/>
              <a:gd name="T15" fmla="*/ 43 h 414"/>
              <a:gd name="T16" fmla="*/ 307 w 348"/>
              <a:gd name="T17" fmla="*/ 36 h 414"/>
              <a:gd name="T18" fmla="*/ 315 w 348"/>
              <a:gd name="T19" fmla="*/ 104 h 414"/>
              <a:gd name="T20" fmla="*/ 41 w 348"/>
              <a:gd name="T21" fmla="*/ 111 h 414"/>
              <a:gd name="T22" fmla="*/ 108 w 348"/>
              <a:gd name="T23" fmla="*/ 141 h 414"/>
              <a:gd name="T24" fmla="*/ 123 w 348"/>
              <a:gd name="T25" fmla="*/ 203 h 414"/>
              <a:gd name="T26" fmla="*/ 53 w 348"/>
              <a:gd name="T27" fmla="*/ 210 h 414"/>
              <a:gd name="T28" fmla="*/ 108 w 348"/>
              <a:gd name="T29" fmla="*/ 195 h 414"/>
              <a:gd name="T30" fmla="*/ 198 w 348"/>
              <a:gd name="T31" fmla="*/ 141 h 414"/>
              <a:gd name="T32" fmla="*/ 212 w 348"/>
              <a:gd name="T33" fmla="*/ 203 h 414"/>
              <a:gd name="T34" fmla="*/ 143 w 348"/>
              <a:gd name="T35" fmla="*/ 210 h 414"/>
              <a:gd name="T36" fmla="*/ 198 w 348"/>
              <a:gd name="T37" fmla="*/ 195 h 414"/>
              <a:gd name="T38" fmla="*/ 287 w 348"/>
              <a:gd name="T39" fmla="*/ 141 h 414"/>
              <a:gd name="T40" fmla="*/ 302 w 348"/>
              <a:gd name="T41" fmla="*/ 203 h 414"/>
              <a:gd name="T42" fmla="*/ 233 w 348"/>
              <a:gd name="T43" fmla="*/ 210 h 414"/>
              <a:gd name="T44" fmla="*/ 287 w 348"/>
              <a:gd name="T45" fmla="*/ 195 h 414"/>
              <a:gd name="T46" fmla="*/ 108 w 348"/>
              <a:gd name="T47" fmla="*/ 314 h 414"/>
              <a:gd name="T48" fmla="*/ 123 w 348"/>
              <a:gd name="T49" fmla="*/ 376 h 414"/>
              <a:gd name="T50" fmla="*/ 53 w 348"/>
              <a:gd name="T51" fmla="*/ 384 h 414"/>
              <a:gd name="T52" fmla="*/ 108 w 348"/>
              <a:gd name="T53" fmla="*/ 369 h 414"/>
              <a:gd name="T54" fmla="*/ 198 w 348"/>
              <a:gd name="T55" fmla="*/ 314 h 414"/>
              <a:gd name="T56" fmla="*/ 212 w 348"/>
              <a:gd name="T57" fmla="*/ 376 h 414"/>
              <a:gd name="T58" fmla="*/ 143 w 348"/>
              <a:gd name="T59" fmla="*/ 384 h 414"/>
              <a:gd name="T60" fmla="*/ 198 w 348"/>
              <a:gd name="T61" fmla="*/ 369 h 414"/>
              <a:gd name="T62" fmla="*/ 287 w 348"/>
              <a:gd name="T63" fmla="*/ 314 h 414"/>
              <a:gd name="T64" fmla="*/ 302 w 348"/>
              <a:gd name="T65" fmla="*/ 376 h 414"/>
              <a:gd name="T66" fmla="*/ 233 w 348"/>
              <a:gd name="T67" fmla="*/ 384 h 414"/>
              <a:gd name="T68" fmla="*/ 287 w 348"/>
              <a:gd name="T69" fmla="*/ 369 h 414"/>
              <a:gd name="T70" fmla="*/ 108 w 348"/>
              <a:gd name="T71" fmla="*/ 227 h 414"/>
              <a:gd name="T72" fmla="*/ 123 w 348"/>
              <a:gd name="T73" fmla="*/ 289 h 414"/>
              <a:gd name="T74" fmla="*/ 53 w 348"/>
              <a:gd name="T75" fmla="*/ 297 h 414"/>
              <a:gd name="T76" fmla="*/ 108 w 348"/>
              <a:gd name="T77" fmla="*/ 282 h 414"/>
              <a:gd name="T78" fmla="*/ 198 w 348"/>
              <a:gd name="T79" fmla="*/ 227 h 414"/>
              <a:gd name="T80" fmla="*/ 212 w 348"/>
              <a:gd name="T81" fmla="*/ 289 h 414"/>
              <a:gd name="T82" fmla="*/ 143 w 348"/>
              <a:gd name="T83" fmla="*/ 297 h 414"/>
              <a:gd name="T84" fmla="*/ 198 w 348"/>
              <a:gd name="T85" fmla="*/ 282 h 414"/>
              <a:gd name="T86" fmla="*/ 287 w 348"/>
              <a:gd name="T87" fmla="*/ 227 h 414"/>
              <a:gd name="T88" fmla="*/ 302 w 348"/>
              <a:gd name="T89" fmla="*/ 289 h 414"/>
              <a:gd name="T90" fmla="*/ 233 w 348"/>
              <a:gd name="T91" fmla="*/ 297 h 414"/>
              <a:gd name="T92" fmla="*/ 287 w 348"/>
              <a:gd name="T93" fmla="*/ 282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8" h="414">
                <a:moveTo>
                  <a:pt x="340" y="0"/>
                </a:moveTo>
                <a:cubicBezTo>
                  <a:pt x="8" y="0"/>
                  <a:pt x="8" y="0"/>
                  <a:pt x="8" y="0"/>
                </a:cubicBezTo>
                <a:cubicBezTo>
                  <a:pt x="4" y="0"/>
                  <a:pt x="0" y="4"/>
                  <a:pt x="0" y="8"/>
                </a:cubicBezTo>
                <a:cubicBezTo>
                  <a:pt x="0" y="406"/>
                  <a:pt x="0" y="406"/>
                  <a:pt x="0" y="406"/>
                </a:cubicBezTo>
                <a:cubicBezTo>
                  <a:pt x="0" y="410"/>
                  <a:pt x="4" y="414"/>
                  <a:pt x="8" y="414"/>
                </a:cubicBezTo>
                <a:cubicBezTo>
                  <a:pt x="340" y="414"/>
                  <a:pt x="340" y="414"/>
                  <a:pt x="340" y="414"/>
                </a:cubicBezTo>
                <a:cubicBezTo>
                  <a:pt x="344" y="414"/>
                  <a:pt x="348" y="410"/>
                  <a:pt x="348" y="406"/>
                </a:cubicBezTo>
                <a:cubicBezTo>
                  <a:pt x="348" y="8"/>
                  <a:pt x="348" y="8"/>
                  <a:pt x="348" y="8"/>
                </a:cubicBezTo>
                <a:cubicBezTo>
                  <a:pt x="348" y="4"/>
                  <a:pt x="344" y="0"/>
                  <a:pt x="340" y="0"/>
                </a:cubicBezTo>
                <a:close/>
                <a:moveTo>
                  <a:pt x="333" y="399"/>
                </a:moveTo>
                <a:cubicBezTo>
                  <a:pt x="15" y="399"/>
                  <a:pt x="15" y="399"/>
                  <a:pt x="15" y="399"/>
                </a:cubicBezTo>
                <a:cubicBezTo>
                  <a:pt x="15" y="15"/>
                  <a:pt x="15" y="15"/>
                  <a:pt x="15" y="15"/>
                </a:cubicBezTo>
                <a:cubicBezTo>
                  <a:pt x="333" y="15"/>
                  <a:pt x="333" y="15"/>
                  <a:pt x="333" y="15"/>
                </a:cubicBezTo>
                <a:lnTo>
                  <a:pt x="333" y="399"/>
                </a:lnTo>
                <a:close/>
                <a:moveTo>
                  <a:pt x="33" y="104"/>
                </a:moveTo>
                <a:cubicBezTo>
                  <a:pt x="33" y="43"/>
                  <a:pt x="33" y="43"/>
                  <a:pt x="33" y="43"/>
                </a:cubicBezTo>
                <a:cubicBezTo>
                  <a:pt x="33" y="39"/>
                  <a:pt x="37" y="36"/>
                  <a:pt x="41" y="36"/>
                </a:cubicBezTo>
                <a:cubicBezTo>
                  <a:pt x="307" y="36"/>
                  <a:pt x="307" y="36"/>
                  <a:pt x="307" y="36"/>
                </a:cubicBezTo>
                <a:cubicBezTo>
                  <a:pt x="311" y="36"/>
                  <a:pt x="315" y="39"/>
                  <a:pt x="315" y="43"/>
                </a:cubicBezTo>
                <a:cubicBezTo>
                  <a:pt x="315" y="104"/>
                  <a:pt x="315" y="104"/>
                  <a:pt x="315" y="104"/>
                </a:cubicBezTo>
                <a:cubicBezTo>
                  <a:pt x="315" y="108"/>
                  <a:pt x="311" y="111"/>
                  <a:pt x="307" y="111"/>
                </a:cubicBezTo>
                <a:cubicBezTo>
                  <a:pt x="41" y="111"/>
                  <a:pt x="41" y="111"/>
                  <a:pt x="41" y="111"/>
                </a:cubicBezTo>
                <a:cubicBezTo>
                  <a:pt x="37" y="111"/>
                  <a:pt x="33" y="108"/>
                  <a:pt x="33" y="104"/>
                </a:cubicBezTo>
                <a:close/>
                <a:moveTo>
                  <a:pt x="108" y="141"/>
                </a:moveTo>
                <a:cubicBezTo>
                  <a:pt x="123" y="141"/>
                  <a:pt x="123" y="141"/>
                  <a:pt x="123" y="141"/>
                </a:cubicBezTo>
                <a:cubicBezTo>
                  <a:pt x="123" y="203"/>
                  <a:pt x="123" y="203"/>
                  <a:pt x="123" y="203"/>
                </a:cubicBezTo>
                <a:cubicBezTo>
                  <a:pt x="123" y="207"/>
                  <a:pt x="119" y="210"/>
                  <a:pt x="115" y="210"/>
                </a:cubicBezTo>
                <a:cubicBezTo>
                  <a:pt x="53" y="210"/>
                  <a:pt x="53" y="210"/>
                  <a:pt x="53" y="210"/>
                </a:cubicBezTo>
                <a:cubicBezTo>
                  <a:pt x="53" y="195"/>
                  <a:pt x="53" y="195"/>
                  <a:pt x="53" y="195"/>
                </a:cubicBezTo>
                <a:cubicBezTo>
                  <a:pt x="108" y="195"/>
                  <a:pt x="108" y="195"/>
                  <a:pt x="108" y="195"/>
                </a:cubicBezTo>
                <a:lnTo>
                  <a:pt x="108" y="141"/>
                </a:lnTo>
                <a:close/>
                <a:moveTo>
                  <a:pt x="198" y="141"/>
                </a:moveTo>
                <a:cubicBezTo>
                  <a:pt x="212" y="141"/>
                  <a:pt x="212" y="141"/>
                  <a:pt x="212" y="141"/>
                </a:cubicBezTo>
                <a:cubicBezTo>
                  <a:pt x="212" y="203"/>
                  <a:pt x="212" y="203"/>
                  <a:pt x="212" y="203"/>
                </a:cubicBezTo>
                <a:cubicBezTo>
                  <a:pt x="212" y="207"/>
                  <a:pt x="209" y="210"/>
                  <a:pt x="205" y="210"/>
                </a:cubicBezTo>
                <a:cubicBezTo>
                  <a:pt x="143" y="210"/>
                  <a:pt x="143" y="210"/>
                  <a:pt x="143" y="210"/>
                </a:cubicBezTo>
                <a:cubicBezTo>
                  <a:pt x="143" y="195"/>
                  <a:pt x="143" y="195"/>
                  <a:pt x="143" y="195"/>
                </a:cubicBezTo>
                <a:cubicBezTo>
                  <a:pt x="198" y="195"/>
                  <a:pt x="198" y="195"/>
                  <a:pt x="198" y="195"/>
                </a:cubicBezTo>
                <a:lnTo>
                  <a:pt x="198" y="141"/>
                </a:lnTo>
                <a:close/>
                <a:moveTo>
                  <a:pt x="287" y="141"/>
                </a:moveTo>
                <a:cubicBezTo>
                  <a:pt x="302" y="141"/>
                  <a:pt x="302" y="141"/>
                  <a:pt x="302" y="141"/>
                </a:cubicBezTo>
                <a:cubicBezTo>
                  <a:pt x="302" y="203"/>
                  <a:pt x="302" y="203"/>
                  <a:pt x="302" y="203"/>
                </a:cubicBezTo>
                <a:cubicBezTo>
                  <a:pt x="302" y="207"/>
                  <a:pt x="299" y="210"/>
                  <a:pt x="295" y="210"/>
                </a:cubicBezTo>
                <a:cubicBezTo>
                  <a:pt x="233" y="210"/>
                  <a:pt x="233" y="210"/>
                  <a:pt x="233" y="210"/>
                </a:cubicBezTo>
                <a:cubicBezTo>
                  <a:pt x="233" y="195"/>
                  <a:pt x="233" y="195"/>
                  <a:pt x="233" y="195"/>
                </a:cubicBezTo>
                <a:cubicBezTo>
                  <a:pt x="287" y="195"/>
                  <a:pt x="287" y="195"/>
                  <a:pt x="287" y="195"/>
                </a:cubicBezTo>
                <a:lnTo>
                  <a:pt x="287" y="141"/>
                </a:lnTo>
                <a:close/>
                <a:moveTo>
                  <a:pt x="108" y="314"/>
                </a:moveTo>
                <a:cubicBezTo>
                  <a:pt x="123" y="314"/>
                  <a:pt x="123" y="314"/>
                  <a:pt x="123" y="314"/>
                </a:cubicBezTo>
                <a:cubicBezTo>
                  <a:pt x="123" y="376"/>
                  <a:pt x="123" y="376"/>
                  <a:pt x="123" y="376"/>
                </a:cubicBezTo>
                <a:cubicBezTo>
                  <a:pt x="123" y="380"/>
                  <a:pt x="119" y="384"/>
                  <a:pt x="115" y="384"/>
                </a:cubicBezTo>
                <a:cubicBezTo>
                  <a:pt x="53" y="384"/>
                  <a:pt x="53" y="384"/>
                  <a:pt x="53" y="384"/>
                </a:cubicBezTo>
                <a:cubicBezTo>
                  <a:pt x="53" y="369"/>
                  <a:pt x="53" y="369"/>
                  <a:pt x="53" y="369"/>
                </a:cubicBezTo>
                <a:cubicBezTo>
                  <a:pt x="108" y="369"/>
                  <a:pt x="108" y="369"/>
                  <a:pt x="108" y="369"/>
                </a:cubicBezTo>
                <a:lnTo>
                  <a:pt x="108" y="314"/>
                </a:lnTo>
                <a:close/>
                <a:moveTo>
                  <a:pt x="198" y="314"/>
                </a:moveTo>
                <a:cubicBezTo>
                  <a:pt x="212" y="314"/>
                  <a:pt x="212" y="314"/>
                  <a:pt x="212" y="314"/>
                </a:cubicBezTo>
                <a:cubicBezTo>
                  <a:pt x="212" y="376"/>
                  <a:pt x="212" y="376"/>
                  <a:pt x="212" y="376"/>
                </a:cubicBezTo>
                <a:cubicBezTo>
                  <a:pt x="212" y="380"/>
                  <a:pt x="209" y="384"/>
                  <a:pt x="205" y="384"/>
                </a:cubicBezTo>
                <a:cubicBezTo>
                  <a:pt x="143" y="384"/>
                  <a:pt x="143" y="384"/>
                  <a:pt x="143" y="384"/>
                </a:cubicBezTo>
                <a:cubicBezTo>
                  <a:pt x="143" y="369"/>
                  <a:pt x="143" y="369"/>
                  <a:pt x="143" y="369"/>
                </a:cubicBezTo>
                <a:cubicBezTo>
                  <a:pt x="198" y="369"/>
                  <a:pt x="198" y="369"/>
                  <a:pt x="198" y="369"/>
                </a:cubicBezTo>
                <a:lnTo>
                  <a:pt x="198" y="314"/>
                </a:lnTo>
                <a:close/>
                <a:moveTo>
                  <a:pt x="287" y="314"/>
                </a:moveTo>
                <a:cubicBezTo>
                  <a:pt x="302" y="314"/>
                  <a:pt x="302" y="314"/>
                  <a:pt x="302" y="314"/>
                </a:cubicBezTo>
                <a:cubicBezTo>
                  <a:pt x="302" y="376"/>
                  <a:pt x="302" y="376"/>
                  <a:pt x="302" y="376"/>
                </a:cubicBezTo>
                <a:cubicBezTo>
                  <a:pt x="302" y="380"/>
                  <a:pt x="299" y="384"/>
                  <a:pt x="295" y="384"/>
                </a:cubicBezTo>
                <a:cubicBezTo>
                  <a:pt x="233" y="384"/>
                  <a:pt x="233" y="384"/>
                  <a:pt x="233" y="384"/>
                </a:cubicBezTo>
                <a:cubicBezTo>
                  <a:pt x="233" y="369"/>
                  <a:pt x="233" y="369"/>
                  <a:pt x="233" y="369"/>
                </a:cubicBezTo>
                <a:cubicBezTo>
                  <a:pt x="287" y="369"/>
                  <a:pt x="287" y="369"/>
                  <a:pt x="287" y="369"/>
                </a:cubicBezTo>
                <a:lnTo>
                  <a:pt x="287" y="314"/>
                </a:lnTo>
                <a:close/>
                <a:moveTo>
                  <a:pt x="108" y="227"/>
                </a:moveTo>
                <a:cubicBezTo>
                  <a:pt x="123" y="227"/>
                  <a:pt x="123" y="227"/>
                  <a:pt x="123" y="227"/>
                </a:cubicBezTo>
                <a:cubicBezTo>
                  <a:pt x="123" y="289"/>
                  <a:pt x="123" y="289"/>
                  <a:pt x="123" y="289"/>
                </a:cubicBezTo>
                <a:cubicBezTo>
                  <a:pt x="123" y="293"/>
                  <a:pt x="119" y="297"/>
                  <a:pt x="115" y="297"/>
                </a:cubicBezTo>
                <a:cubicBezTo>
                  <a:pt x="53" y="297"/>
                  <a:pt x="53" y="297"/>
                  <a:pt x="53" y="297"/>
                </a:cubicBezTo>
                <a:cubicBezTo>
                  <a:pt x="53" y="282"/>
                  <a:pt x="53" y="282"/>
                  <a:pt x="53" y="282"/>
                </a:cubicBezTo>
                <a:cubicBezTo>
                  <a:pt x="108" y="282"/>
                  <a:pt x="108" y="282"/>
                  <a:pt x="108" y="282"/>
                </a:cubicBezTo>
                <a:lnTo>
                  <a:pt x="108" y="227"/>
                </a:lnTo>
                <a:close/>
                <a:moveTo>
                  <a:pt x="198" y="227"/>
                </a:moveTo>
                <a:cubicBezTo>
                  <a:pt x="212" y="227"/>
                  <a:pt x="212" y="227"/>
                  <a:pt x="212" y="227"/>
                </a:cubicBezTo>
                <a:cubicBezTo>
                  <a:pt x="212" y="289"/>
                  <a:pt x="212" y="289"/>
                  <a:pt x="212" y="289"/>
                </a:cubicBezTo>
                <a:cubicBezTo>
                  <a:pt x="212" y="293"/>
                  <a:pt x="209" y="297"/>
                  <a:pt x="205" y="297"/>
                </a:cubicBezTo>
                <a:cubicBezTo>
                  <a:pt x="143" y="297"/>
                  <a:pt x="143" y="297"/>
                  <a:pt x="143" y="297"/>
                </a:cubicBezTo>
                <a:cubicBezTo>
                  <a:pt x="143" y="282"/>
                  <a:pt x="143" y="282"/>
                  <a:pt x="143" y="282"/>
                </a:cubicBezTo>
                <a:cubicBezTo>
                  <a:pt x="198" y="282"/>
                  <a:pt x="198" y="282"/>
                  <a:pt x="198" y="282"/>
                </a:cubicBezTo>
                <a:lnTo>
                  <a:pt x="198" y="227"/>
                </a:lnTo>
                <a:close/>
                <a:moveTo>
                  <a:pt x="287" y="227"/>
                </a:moveTo>
                <a:cubicBezTo>
                  <a:pt x="302" y="227"/>
                  <a:pt x="302" y="227"/>
                  <a:pt x="302" y="227"/>
                </a:cubicBezTo>
                <a:cubicBezTo>
                  <a:pt x="302" y="289"/>
                  <a:pt x="302" y="289"/>
                  <a:pt x="302" y="289"/>
                </a:cubicBezTo>
                <a:cubicBezTo>
                  <a:pt x="302" y="293"/>
                  <a:pt x="299" y="297"/>
                  <a:pt x="295" y="297"/>
                </a:cubicBezTo>
                <a:cubicBezTo>
                  <a:pt x="233" y="297"/>
                  <a:pt x="233" y="297"/>
                  <a:pt x="233" y="297"/>
                </a:cubicBezTo>
                <a:cubicBezTo>
                  <a:pt x="233" y="282"/>
                  <a:pt x="233" y="282"/>
                  <a:pt x="233" y="282"/>
                </a:cubicBezTo>
                <a:cubicBezTo>
                  <a:pt x="287" y="282"/>
                  <a:pt x="287" y="282"/>
                  <a:pt x="287" y="282"/>
                </a:cubicBezTo>
                <a:lnTo>
                  <a:pt x="287" y="227"/>
                </a:lnTo>
                <a:close/>
              </a:path>
            </a:pathLst>
          </a:custGeom>
          <a:solidFill>
            <a:schemeClr val="bg1"/>
          </a:solidFill>
          <a:ln>
            <a:noFill/>
          </a:ln>
        </p:spPr>
        <p:txBody>
          <a:bodyPr vert="horz" wrap="square" lIns="68571" tIns="34286" rIns="68571" bIns="34286" numCol="1" anchor="t" anchorCtr="0" compatLnSpc="1"/>
          <a:lstStyle/>
          <a:p>
            <a:endParaRPr lang="en-US"/>
          </a:p>
        </p:txBody>
      </p:sp>
      <p:sp>
        <p:nvSpPr>
          <p:cNvPr id="33" name="Freeform 80"/>
          <p:cNvSpPr>
            <a:spLocks noEditPoints="1"/>
          </p:cNvSpPr>
          <p:nvPr/>
        </p:nvSpPr>
        <p:spPr bwMode="auto">
          <a:xfrm>
            <a:off x="8327454" y="3697848"/>
            <a:ext cx="293174" cy="416743"/>
          </a:xfrm>
          <a:custGeom>
            <a:avLst/>
            <a:gdLst>
              <a:gd name="T0" fmla="*/ 273 w 280"/>
              <a:gd name="T1" fmla="*/ 0 h 413"/>
              <a:gd name="T2" fmla="*/ 7 w 280"/>
              <a:gd name="T3" fmla="*/ 0 h 413"/>
              <a:gd name="T4" fmla="*/ 0 w 280"/>
              <a:gd name="T5" fmla="*/ 7 h 413"/>
              <a:gd name="T6" fmla="*/ 0 w 280"/>
              <a:gd name="T7" fmla="*/ 406 h 413"/>
              <a:gd name="T8" fmla="*/ 7 w 280"/>
              <a:gd name="T9" fmla="*/ 413 h 413"/>
              <a:gd name="T10" fmla="*/ 273 w 280"/>
              <a:gd name="T11" fmla="*/ 413 h 413"/>
              <a:gd name="T12" fmla="*/ 280 w 280"/>
              <a:gd name="T13" fmla="*/ 406 h 413"/>
              <a:gd name="T14" fmla="*/ 280 w 280"/>
              <a:gd name="T15" fmla="*/ 7 h 413"/>
              <a:gd name="T16" fmla="*/ 273 w 280"/>
              <a:gd name="T17" fmla="*/ 0 h 413"/>
              <a:gd name="T18" fmla="*/ 266 w 280"/>
              <a:gd name="T19" fmla="*/ 398 h 413"/>
              <a:gd name="T20" fmla="*/ 14 w 280"/>
              <a:gd name="T21" fmla="*/ 398 h 413"/>
              <a:gd name="T22" fmla="*/ 14 w 280"/>
              <a:gd name="T23" fmla="*/ 14 h 413"/>
              <a:gd name="T24" fmla="*/ 266 w 280"/>
              <a:gd name="T25" fmla="*/ 14 h 413"/>
              <a:gd name="T26" fmla="*/ 266 w 280"/>
              <a:gd name="T27" fmla="*/ 398 h 413"/>
              <a:gd name="T28" fmla="*/ 108 w 280"/>
              <a:gd name="T29" fmla="*/ 81 h 413"/>
              <a:gd name="T30" fmla="*/ 174 w 280"/>
              <a:gd name="T31" fmla="*/ 81 h 413"/>
              <a:gd name="T32" fmla="*/ 198 w 280"/>
              <a:gd name="T33" fmla="*/ 57 h 413"/>
              <a:gd name="T34" fmla="*/ 174 w 280"/>
              <a:gd name="T35" fmla="*/ 33 h 413"/>
              <a:gd name="T36" fmla="*/ 108 w 280"/>
              <a:gd name="T37" fmla="*/ 33 h 413"/>
              <a:gd name="T38" fmla="*/ 84 w 280"/>
              <a:gd name="T39" fmla="*/ 57 h 413"/>
              <a:gd name="T40" fmla="*/ 108 w 280"/>
              <a:gd name="T41" fmla="*/ 81 h 413"/>
              <a:gd name="T42" fmla="*/ 108 w 280"/>
              <a:gd name="T43" fmla="*/ 48 h 413"/>
              <a:gd name="T44" fmla="*/ 174 w 280"/>
              <a:gd name="T45" fmla="*/ 48 h 413"/>
              <a:gd name="T46" fmla="*/ 184 w 280"/>
              <a:gd name="T47" fmla="*/ 57 h 413"/>
              <a:gd name="T48" fmla="*/ 174 w 280"/>
              <a:gd name="T49" fmla="*/ 66 h 413"/>
              <a:gd name="T50" fmla="*/ 108 w 280"/>
              <a:gd name="T51" fmla="*/ 66 h 413"/>
              <a:gd name="T52" fmla="*/ 99 w 280"/>
              <a:gd name="T53" fmla="*/ 57 h 413"/>
              <a:gd name="T54" fmla="*/ 108 w 280"/>
              <a:gd name="T55" fmla="*/ 48 h 413"/>
              <a:gd name="T56" fmla="*/ 140 w 280"/>
              <a:gd name="T57" fmla="*/ 207 h 413"/>
              <a:gd name="T58" fmla="*/ 73 w 280"/>
              <a:gd name="T59" fmla="*/ 207 h 413"/>
              <a:gd name="T60" fmla="*/ 73 w 280"/>
              <a:gd name="T61" fmla="*/ 140 h 413"/>
              <a:gd name="T62" fmla="*/ 140 w 280"/>
              <a:gd name="T63" fmla="*/ 140 h 413"/>
              <a:gd name="T64" fmla="*/ 140 w 280"/>
              <a:gd name="T65" fmla="*/ 207 h 413"/>
              <a:gd name="T66" fmla="*/ 206 w 280"/>
              <a:gd name="T67" fmla="*/ 280 h 413"/>
              <a:gd name="T68" fmla="*/ 74 w 280"/>
              <a:gd name="T69" fmla="*/ 280 h 413"/>
              <a:gd name="T70" fmla="*/ 74 w 280"/>
              <a:gd name="T71" fmla="*/ 266 h 413"/>
              <a:gd name="T72" fmla="*/ 206 w 280"/>
              <a:gd name="T73" fmla="*/ 266 h 413"/>
              <a:gd name="T74" fmla="*/ 206 w 280"/>
              <a:gd name="T75" fmla="*/ 280 h 413"/>
              <a:gd name="T76" fmla="*/ 75 w 280"/>
              <a:gd name="T77" fmla="*/ 232 h 413"/>
              <a:gd name="T78" fmla="*/ 207 w 280"/>
              <a:gd name="T79" fmla="*/ 232 h 413"/>
              <a:gd name="T80" fmla="*/ 207 w 280"/>
              <a:gd name="T81" fmla="*/ 247 h 413"/>
              <a:gd name="T82" fmla="*/ 75 w 280"/>
              <a:gd name="T83" fmla="*/ 247 h 413"/>
              <a:gd name="T84" fmla="*/ 75 w 280"/>
              <a:gd name="T85" fmla="*/ 232 h 413"/>
              <a:gd name="T86" fmla="*/ 74 w 280"/>
              <a:gd name="T87" fmla="*/ 313 h 413"/>
              <a:gd name="T88" fmla="*/ 74 w 280"/>
              <a:gd name="T89" fmla="*/ 299 h 413"/>
              <a:gd name="T90" fmla="*/ 206 w 280"/>
              <a:gd name="T91" fmla="*/ 299 h 413"/>
              <a:gd name="T92" fmla="*/ 206 w 280"/>
              <a:gd name="T93" fmla="*/ 313 h 413"/>
              <a:gd name="T94" fmla="*/ 74 w 280"/>
              <a:gd name="T95" fmla="*/ 313 h 413"/>
              <a:gd name="T96" fmla="*/ 206 w 280"/>
              <a:gd name="T97" fmla="*/ 347 h 413"/>
              <a:gd name="T98" fmla="*/ 73 w 280"/>
              <a:gd name="T99" fmla="*/ 347 h 413"/>
              <a:gd name="T100" fmla="*/ 73 w 280"/>
              <a:gd name="T101" fmla="*/ 332 h 413"/>
              <a:gd name="T102" fmla="*/ 206 w 280"/>
              <a:gd name="T103" fmla="*/ 332 h 413"/>
              <a:gd name="T104" fmla="*/ 206 w 280"/>
              <a:gd name="T105" fmla="*/ 347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80" h="413">
                <a:moveTo>
                  <a:pt x="273" y="0"/>
                </a:moveTo>
                <a:cubicBezTo>
                  <a:pt x="7" y="0"/>
                  <a:pt x="7" y="0"/>
                  <a:pt x="7" y="0"/>
                </a:cubicBezTo>
                <a:cubicBezTo>
                  <a:pt x="3" y="0"/>
                  <a:pt x="0" y="3"/>
                  <a:pt x="0" y="7"/>
                </a:cubicBezTo>
                <a:cubicBezTo>
                  <a:pt x="0" y="406"/>
                  <a:pt x="0" y="406"/>
                  <a:pt x="0" y="406"/>
                </a:cubicBezTo>
                <a:cubicBezTo>
                  <a:pt x="0" y="410"/>
                  <a:pt x="3" y="413"/>
                  <a:pt x="7" y="413"/>
                </a:cubicBezTo>
                <a:cubicBezTo>
                  <a:pt x="273" y="413"/>
                  <a:pt x="273" y="413"/>
                  <a:pt x="273" y="413"/>
                </a:cubicBezTo>
                <a:cubicBezTo>
                  <a:pt x="277" y="413"/>
                  <a:pt x="280" y="410"/>
                  <a:pt x="280" y="406"/>
                </a:cubicBezTo>
                <a:cubicBezTo>
                  <a:pt x="280" y="7"/>
                  <a:pt x="280" y="7"/>
                  <a:pt x="280" y="7"/>
                </a:cubicBezTo>
                <a:cubicBezTo>
                  <a:pt x="280" y="3"/>
                  <a:pt x="277" y="0"/>
                  <a:pt x="273" y="0"/>
                </a:cubicBezTo>
                <a:close/>
                <a:moveTo>
                  <a:pt x="266" y="398"/>
                </a:moveTo>
                <a:cubicBezTo>
                  <a:pt x="14" y="398"/>
                  <a:pt x="14" y="398"/>
                  <a:pt x="14" y="398"/>
                </a:cubicBezTo>
                <a:cubicBezTo>
                  <a:pt x="14" y="14"/>
                  <a:pt x="14" y="14"/>
                  <a:pt x="14" y="14"/>
                </a:cubicBezTo>
                <a:cubicBezTo>
                  <a:pt x="266" y="14"/>
                  <a:pt x="266" y="14"/>
                  <a:pt x="266" y="14"/>
                </a:cubicBezTo>
                <a:lnTo>
                  <a:pt x="266" y="398"/>
                </a:lnTo>
                <a:close/>
                <a:moveTo>
                  <a:pt x="108" y="81"/>
                </a:moveTo>
                <a:cubicBezTo>
                  <a:pt x="174" y="81"/>
                  <a:pt x="174" y="81"/>
                  <a:pt x="174" y="81"/>
                </a:cubicBezTo>
                <a:cubicBezTo>
                  <a:pt x="187" y="81"/>
                  <a:pt x="198" y="70"/>
                  <a:pt x="198" y="57"/>
                </a:cubicBezTo>
                <a:cubicBezTo>
                  <a:pt x="198" y="44"/>
                  <a:pt x="187" y="33"/>
                  <a:pt x="174" y="33"/>
                </a:cubicBezTo>
                <a:cubicBezTo>
                  <a:pt x="108" y="33"/>
                  <a:pt x="108" y="33"/>
                  <a:pt x="108" y="33"/>
                </a:cubicBezTo>
                <a:cubicBezTo>
                  <a:pt x="95" y="33"/>
                  <a:pt x="84" y="44"/>
                  <a:pt x="84" y="57"/>
                </a:cubicBezTo>
                <a:cubicBezTo>
                  <a:pt x="84" y="70"/>
                  <a:pt x="95" y="81"/>
                  <a:pt x="108" y="81"/>
                </a:cubicBezTo>
                <a:close/>
                <a:moveTo>
                  <a:pt x="108" y="48"/>
                </a:moveTo>
                <a:cubicBezTo>
                  <a:pt x="174" y="48"/>
                  <a:pt x="174" y="48"/>
                  <a:pt x="174" y="48"/>
                </a:cubicBezTo>
                <a:cubicBezTo>
                  <a:pt x="179" y="48"/>
                  <a:pt x="184" y="52"/>
                  <a:pt x="184" y="57"/>
                </a:cubicBezTo>
                <a:cubicBezTo>
                  <a:pt x="184" y="62"/>
                  <a:pt x="179" y="66"/>
                  <a:pt x="174" y="66"/>
                </a:cubicBezTo>
                <a:cubicBezTo>
                  <a:pt x="108" y="66"/>
                  <a:pt x="108" y="66"/>
                  <a:pt x="108" y="66"/>
                </a:cubicBezTo>
                <a:cubicBezTo>
                  <a:pt x="103" y="66"/>
                  <a:pt x="99" y="62"/>
                  <a:pt x="99" y="57"/>
                </a:cubicBezTo>
                <a:cubicBezTo>
                  <a:pt x="99" y="52"/>
                  <a:pt x="103" y="48"/>
                  <a:pt x="108" y="48"/>
                </a:cubicBezTo>
                <a:close/>
                <a:moveTo>
                  <a:pt x="140" y="207"/>
                </a:moveTo>
                <a:cubicBezTo>
                  <a:pt x="73" y="207"/>
                  <a:pt x="73" y="207"/>
                  <a:pt x="73" y="207"/>
                </a:cubicBezTo>
                <a:cubicBezTo>
                  <a:pt x="73" y="140"/>
                  <a:pt x="73" y="140"/>
                  <a:pt x="73" y="140"/>
                </a:cubicBezTo>
                <a:cubicBezTo>
                  <a:pt x="140" y="140"/>
                  <a:pt x="140" y="140"/>
                  <a:pt x="140" y="140"/>
                </a:cubicBezTo>
                <a:lnTo>
                  <a:pt x="140" y="207"/>
                </a:lnTo>
                <a:close/>
                <a:moveTo>
                  <a:pt x="206" y="280"/>
                </a:moveTo>
                <a:cubicBezTo>
                  <a:pt x="74" y="280"/>
                  <a:pt x="74" y="280"/>
                  <a:pt x="74" y="280"/>
                </a:cubicBezTo>
                <a:cubicBezTo>
                  <a:pt x="74" y="266"/>
                  <a:pt x="74" y="266"/>
                  <a:pt x="74" y="266"/>
                </a:cubicBezTo>
                <a:cubicBezTo>
                  <a:pt x="206" y="266"/>
                  <a:pt x="206" y="266"/>
                  <a:pt x="206" y="266"/>
                </a:cubicBezTo>
                <a:lnTo>
                  <a:pt x="206" y="280"/>
                </a:lnTo>
                <a:close/>
                <a:moveTo>
                  <a:pt x="75" y="232"/>
                </a:moveTo>
                <a:cubicBezTo>
                  <a:pt x="207" y="232"/>
                  <a:pt x="207" y="232"/>
                  <a:pt x="207" y="232"/>
                </a:cubicBezTo>
                <a:cubicBezTo>
                  <a:pt x="207" y="247"/>
                  <a:pt x="207" y="247"/>
                  <a:pt x="207" y="247"/>
                </a:cubicBezTo>
                <a:cubicBezTo>
                  <a:pt x="75" y="247"/>
                  <a:pt x="75" y="247"/>
                  <a:pt x="75" y="247"/>
                </a:cubicBezTo>
                <a:lnTo>
                  <a:pt x="75" y="232"/>
                </a:lnTo>
                <a:close/>
                <a:moveTo>
                  <a:pt x="74" y="313"/>
                </a:moveTo>
                <a:cubicBezTo>
                  <a:pt x="74" y="299"/>
                  <a:pt x="74" y="299"/>
                  <a:pt x="74" y="299"/>
                </a:cubicBezTo>
                <a:cubicBezTo>
                  <a:pt x="206" y="299"/>
                  <a:pt x="206" y="299"/>
                  <a:pt x="206" y="299"/>
                </a:cubicBezTo>
                <a:cubicBezTo>
                  <a:pt x="206" y="313"/>
                  <a:pt x="206" y="313"/>
                  <a:pt x="206" y="313"/>
                </a:cubicBezTo>
                <a:lnTo>
                  <a:pt x="74" y="313"/>
                </a:lnTo>
                <a:close/>
                <a:moveTo>
                  <a:pt x="206" y="347"/>
                </a:moveTo>
                <a:cubicBezTo>
                  <a:pt x="73" y="347"/>
                  <a:pt x="73" y="347"/>
                  <a:pt x="73" y="347"/>
                </a:cubicBezTo>
                <a:cubicBezTo>
                  <a:pt x="73" y="332"/>
                  <a:pt x="73" y="332"/>
                  <a:pt x="73" y="332"/>
                </a:cubicBezTo>
                <a:cubicBezTo>
                  <a:pt x="206" y="332"/>
                  <a:pt x="206" y="332"/>
                  <a:pt x="206" y="332"/>
                </a:cubicBezTo>
                <a:lnTo>
                  <a:pt x="206" y="347"/>
                </a:lnTo>
                <a:close/>
              </a:path>
            </a:pathLst>
          </a:custGeom>
          <a:solidFill>
            <a:schemeClr val="bg1"/>
          </a:solidFill>
          <a:ln>
            <a:noFill/>
          </a:ln>
        </p:spPr>
        <p:txBody>
          <a:bodyPr vert="horz" wrap="square" lIns="68571" tIns="34286" rIns="68571" bIns="34286" numCol="1" anchor="t" anchorCtr="0" compatLnSpc="1"/>
          <a:lstStyle/>
          <a:p>
            <a:endParaRPr lang="en-US"/>
          </a:p>
        </p:txBody>
      </p:sp>
      <p:sp>
        <p:nvSpPr>
          <p:cNvPr id="36" name="TextBox 35"/>
          <p:cNvSpPr txBox="1"/>
          <p:nvPr/>
        </p:nvSpPr>
        <p:spPr>
          <a:xfrm>
            <a:off x="8764643" y="2172591"/>
            <a:ext cx="1565596" cy="338554"/>
          </a:xfrm>
          <a:prstGeom prst="rect">
            <a:avLst/>
          </a:prstGeom>
          <a:noFill/>
        </p:spPr>
        <p:txBody>
          <a:bodyPr wrap="square" rtlCol="0">
            <a:spAutoFit/>
          </a:bodyPr>
          <a:lstStyle/>
          <a:p>
            <a:r>
              <a:rPr lang="zh-CN" altLang="en-US" sz="1600" smtClean="0">
                <a:solidFill>
                  <a:schemeClr val="bg1"/>
                </a:solidFill>
                <a:latin typeface="华文黑体" pitchFamily="2" charset="-122"/>
                <a:ea typeface="华文黑体" pitchFamily="2" charset="-122"/>
                <a:cs typeface="华文黑体" pitchFamily="2" charset="-122"/>
              </a:rPr>
              <a:t>单击添加标题</a:t>
            </a:r>
            <a:endParaRPr lang="zh-CN" altLang="en-US" sz="1600">
              <a:solidFill>
                <a:schemeClr val="bg1"/>
              </a:solidFill>
              <a:latin typeface="华文细黑" panose="02010600040101010101" pitchFamily="2" charset="-122"/>
              <a:ea typeface="华文细黑" panose="02010600040101010101" pitchFamily="2" charset="-122"/>
              <a:cs typeface="华文黑体" pitchFamily="2" charset="-122"/>
            </a:endParaRPr>
          </a:p>
        </p:txBody>
      </p:sp>
      <p:sp>
        <p:nvSpPr>
          <p:cNvPr id="37" name="TextBox 36"/>
          <p:cNvSpPr txBox="1"/>
          <p:nvPr/>
        </p:nvSpPr>
        <p:spPr>
          <a:xfrm>
            <a:off x="8255446" y="2616820"/>
            <a:ext cx="2885461" cy="738664"/>
          </a:xfrm>
          <a:prstGeom prst="rect">
            <a:avLst/>
          </a:prstGeom>
          <a:noFill/>
        </p:spPr>
        <p:txBody>
          <a:bodyPr wrap="square" rtlCol="0">
            <a:spAutoFit/>
          </a:bodyPr>
          <a:lstStyle/>
          <a:p>
            <a:r>
              <a:rPr lang="zh-CN" altLang="en-US" sz="1400" smtClean="0">
                <a:solidFill>
                  <a:schemeClr val="bg1"/>
                </a:solidFill>
                <a:latin typeface="华文细黑" panose="02010600040101010101" pitchFamily="2" charset="-122"/>
                <a:ea typeface="华文细黑" panose="02010600040101010101" pitchFamily="2" charset="-122"/>
                <a:cs typeface="华文黑体" pitchFamily="2" charset="-122"/>
              </a:rPr>
              <a:t>单击添加文本单击添加文本单击添加文本单击添加文本单击</a:t>
            </a:r>
            <a:r>
              <a:rPr lang="zh-CN" altLang="en-US" sz="1400">
                <a:solidFill>
                  <a:schemeClr val="bg1"/>
                </a:solidFill>
                <a:latin typeface="华文细黑" panose="02010600040101010101" pitchFamily="2" charset="-122"/>
                <a:ea typeface="华文细黑" panose="02010600040101010101" pitchFamily="2" charset="-122"/>
                <a:cs typeface="华文黑体" pitchFamily="2" charset="-122"/>
              </a:rPr>
              <a:t>添加</a:t>
            </a:r>
            <a:r>
              <a:rPr lang="zh-CN" altLang="en-US" sz="1400" smtClean="0">
                <a:solidFill>
                  <a:schemeClr val="bg1"/>
                </a:solidFill>
                <a:latin typeface="华文细黑" panose="02010600040101010101" pitchFamily="2" charset="-122"/>
                <a:ea typeface="华文细黑" panose="02010600040101010101" pitchFamily="2" charset="-122"/>
                <a:cs typeface="华文黑体" pitchFamily="2" charset="-122"/>
              </a:rPr>
              <a:t>文本单击添加</a:t>
            </a:r>
            <a:r>
              <a:rPr lang="zh-CN" altLang="en-US" sz="1400">
                <a:solidFill>
                  <a:schemeClr val="bg1"/>
                </a:solidFill>
                <a:latin typeface="华文细黑" panose="02010600040101010101" pitchFamily="2" charset="-122"/>
                <a:ea typeface="华文细黑" panose="02010600040101010101" pitchFamily="2" charset="-122"/>
                <a:cs typeface="华文黑体" pitchFamily="2" charset="-122"/>
              </a:rPr>
              <a:t>文本单击添加</a:t>
            </a:r>
            <a:r>
              <a:rPr lang="zh-CN" altLang="en-US" sz="1400" smtClean="0">
                <a:solidFill>
                  <a:schemeClr val="bg1"/>
                </a:solidFill>
                <a:latin typeface="华文细黑" panose="02010600040101010101" pitchFamily="2" charset="-122"/>
                <a:ea typeface="华文细黑" panose="02010600040101010101" pitchFamily="2" charset="-122"/>
                <a:cs typeface="华文黑体" pitchFamily="2" charset="-122"/>
              </a:rPr>
              <a:t>文本</a:t>
            </a:r>
            <a:endParaRPr lang="zh-CN" altLang="en-US" sz="1400">
              <a:solidFill>
                <a:schemeClr val="bg1"/>
              </a:solidFill>
              <a:latin typeface="华文细黑" panose="02010600040101010101" pitchFamily="2" charset="-122"/>
              <a:ea typeface="华文细黑" panose="02010600040101010101" pitchFamily="2" charset="-122"/>
              <a:cs typeface="华文黑体" pitchFamily="2" charset="-122"/>
            </a:endParaRPr>
          </a:p>
        </p:txBody>
      </p:sp>
      <p:sp>
        <p:nvSpPr>
          <p:cNvPr id="38" name="TextBox 37"/>
          <p:cNvSpPr txBox="1"/>
          <p:nvPr/>
        </p:nvSpPr>
        <p:spPr>
          <a:xfrm>
            <a:off x="8764643" y="3743967"/>
            <a:ext cx="1565596" cy="338554"/>
          </a:xfrm>
          <a:prstGeom prst="rect">
            <a:avLst/>
          </a:prstGeom>
          <a:noFill/>
        </p:spPr>
        <p:txBody>
          <a:bodyPr wrap="square" rtlCol="0">
            <a:spAutoFit/>
          </a:bodyPr>
          <a:lstStyle/>
          <a:p>
            <a:r>
              <a:rPr lang="zh-CN" altLang="en-US" sz="1600" smtClean="0">
                <a:solidFill>
                  <a:schemeClr val="bg1"/>
                </a:solidFill>
                <a:latin typeface="华文黑体" pitchFamily="2" charset="-122"/>
                <a:ea typeface="华文黑体" pitchFamily="2" charset="-122"/>
                <a:cs typeface="华文黑体" pitchFamily="2" charset="-122"/>
              </a:rPr>
              <a:t>单击添加标题</a:t>
            </a:r>
            <a:endParaRPr lang="zh-CN" altLang="en-US" sz="1600">
              <a:solidFill>
                <a:schemeClr val="bg1"/>
              </a:solidFill>
              <a:latin typeface="华文细黑" panose="02010600040101010101" pitchFamily="2" charset="-122"/>
              <a:ea typeface="华文细黑" panose="02010600040101010101" pitchFamily="2" charset="-122"/>
              <a:cs typeface="华文黑体" pitchFamily="2" charset="-122"/>
            </a:endParaRPr>
          </a:p>
        </p:txBody>
      </p:sp>
      <p:sp>
        <p:nvSpPr>
          <p:cNvPr id="39" name="TextBox 38"/>
          <p:cNvSpPr txBox="1"/>
          <p:nvPr/>
        </p:nvSpPr>
        <p:spPr>
          <a:xfrm>
            <a:off x="8255446" y="4188196"/>
            <a:ext cx="2885461" cy="738664"/>
          </a:xfrm>
          <a:prstGeom prst="rect">
            <a:avLst/>
          </a:prstGeom>
          <a:noFill/>
        </p:spPr>
        <p:txBody>
          <a:bodyPr wrap="square" rtlCol="0">
            <a:spAutoFit/>
          </a:bodyPr>
          <a:lstStyle/>
          <a:p>
            <a:r>
              <a:rPr lang="zh-CN" altLang="en-US" sz="1400" dirty="0" smtClean="0">
                <a:solidFill>
                  <a:schemeClr val="bg1"/>
                </a:solidFill>
                <a:latin typeface="华文细黑" panose="02010600040101010101" pitchFamily="2" charset="-122"/>
                <a:ea typeface="华文细黑" panose="02010600040101010101" pitchFamily="2" charset="-122"/>
                <a:cs typeface="华文黑体" pitchFamily="2" charset="-122"/>
              </a:rPr>
              <a:t>单击添加文本单击添加文本单击添加文本单击添加文本单击</a:t>
            </a:r>
            <a:r>
              <a:rPr lang="zh-CN" altLang="en-US" sz="1400" dirty="0">
                <a:solidFill>
                  <a:schemeClr val="bg1"/>
                </a:solidFill>
                <a:latin typeface="华文细黑" panose="02010600040101010101" pitchFamily="2" charset="-122"/>
                <a:ea typeface="华文细黑" panose="02010600040101010101" pitchFamily="2" charset="-122"/>
                <a:cs typeface="华文黑体" pitchFamily="2" charset="-122"/>
              </a:rPr>
              <a:t>添加</a:t>
            </a:r>
            <a:r>
              <a:rPr lang="zh-CN" altLang="en-US" sz="1400" dirty="0" smtClean="0">
                <a:solidFill>
                  <a:schemeClr val="bg1"/>
                </a:solidFill>
                <a:latin typeface="华文细黑" panose="02010600040101010101" pitchFamily="2" charset="-122"/>
                <a:ea typeface="华文细黑" panose="02010600040101010101" pitchFamily="2" charset="-122"/>
                <a:cs typeface="华文黑体" pitchFamily="2" charset="-122"/>
              </a:rPr>
              <a:t>文本单击添加</a:t>
            </a:r>
            <a:r>
              <a:rPr lang="zh-CN" altLang="en-US" sz="1400" dirty="0">
                <a:solidFill>
                  <a:schemeClr val="bg1"/>
                </a:solidFill>
                <a:latin typeface="华文细黑" panose="02010600040101010101" pitchFamily="2" charset="-122"/>
                <a:ea typeface="华文细黑" panose="02010600040101010101" pitchFamily="2" charset="-122"/>
                <a:cs typeface="华文黑体" pitchFamily="2" charset="-122"/>
              </a:rPr>
              <a:t>文本单击添加</a:t>
            </a:r>
            <a:r>
              <a:rPr lang="zh-CN" altLang="en-US" sz="1400" dirty="0" smtClean="0">
                <a:solidFill>
                  <a:schemeClr val="bg1"/>
                </a:solidFill>
                <a:latin typeface="华文细黑" panose="02010600040101010101" pitchFamily="2" charset="-122"/>
                <a:ea typeface="华文细黑" panose="02010600040101010101" pitchFamily="2" charset="-122"/>
                <a:cs typeface="华文黑体" pitchFamily="2" charset="-122"/>
              </a:rPr>
              <a:t>文本</a:t>
            </a:r>
            <a:endParaRPr lang="zh-CN" altLang="en-US" sz="1400" dirty="0">
              <a:solidFill>
                <a:schemeClr val="bg1"/>
              </a:solidFill>
              <a:latin typeface="华文细黑" panose="02010600040101010101" pitchFamily="2" charset="-122"/>
              <a:ea typeface="华文细黑" panose="02010600040101010101" pitchFamily="2" charset="-122"/>
              <a:cs typeface="华文黑体" pitchFamily="2" charset="-122"/>
            </a:endParaRPr>
          </a:p>
        </p:txBody>
      </p:sp>
      <p:sp>
        <p:nvSpPr>
          <p:cNvPr id="31" name="圆角矩形 30"/>
          <p:cNvSpPr/>
          <p:nvPr/>
        </p:nvSpPr>
        <p:spPr>
          <a:xfrm>
            <a:off x="8894702" y="260648"/>
            <a:ext cx="2673112" cy="600163"/>
          </a:xfrm>
          <a:prstGeom prst="roundRect">
            <a:avLst/>
          </a:prstGeom>
          <a:solidFill>
            <a:srgbClr val="FFFFFF"/>
          </a:solidFill>
          <a:ln>
            <a:noFill/>
          </a:ln>
          <a:effectLst>
            <a:reflection blurRad="6350" stA="25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0" name="TextBox 39"/>
          <p:cNvSpPr txBox="1"/>
          <p:nvPr/>
        </p:nvSpPr>
        <p:spPr>
          <a:xfrm>
            <a:off x="9061707" y="260648"/>
            <a:ext cx="2339102" cy="523220"/>
          </a:xfrm>
          <a:prstGeom prst="rect">
            <a:avLst/>
          </a:prstGeom>
          <a:noFill/>
        </p:spPr>
        <p:txBody>
          <a:bodyPr wrap="none" rtlCol="0" anchor="ctr">
            <a:spAutoFit/>
          </a:bodyPr>
          <a:lstStyle>
            <a:defPPr>
              <a:defRPr lang="zh-CN"/>
            </a:defPPr>
            <a:lvl1pPr algn="ctr">
              <a:defRPr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anose="02010600040101010101" pitchFamily="2" charset="-122"/>
                <a:cs typeface="华文黑体" pitchFamily="2" charset="-122"/>
              </a:defRPr>
            </a:lvl1pPr>
          </a:lstStyle>
          <a:p>
            <a:r>
              <a:rPr lang="zh-CN" altLang="en-US" sz="2800"/>
              <a:t>点击添加标题</a:t>
            </a:r>
            <a:endParaRPr lang="zh-CN" altLang="en-US" sz="280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1"/>
                                        </p:tgtEl>
                                        <p:attrNameLst>
                                          <p:attrName>style.visibility</p:attrName>
                                        </p:attrNameLst>
                                      </p:cBhvr>
                                      <p:to>
                                        <p:strVal val="visible"/>
                                      </p:to>
                                    </p:set>
                                    <p:animEffect transition="in" filter="fade">
                                      <p:cBhvr>
                                        <p:cTn id="7" dur="300"/>
                                        <p:tgtEl>
                                          <p:spTgt spid="31"/>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0"/>
                                        </p:tgtEl>
                                        <p:attrNameLst>
                                          <p:attrName>style.visibility</p:attrName>
                                        </p:attrNameLst>
                                      </p:cBhvr>
                                      <p:to>
                                        <p:strVal val="visible"/>
                                      </p:to>
                                    </p:set>
                                    <p:animEffect transition="in" filter="fade">
                                      <p:cBhvr>
                                        <p:cTn id="10" dur="300"/>
                                        <p:tgtEl>
                                          <p:spTgt spid="40"/>
                                        </p:tgtEl>
                                      </p:cBhvr>
                                    </p:animEffect>
                                  </p:childTnLst>
                                </p:cTn>
                              </p:par>
                            </p:childTnLst>
                          </p:cTn>
                        </p:par>
                        <p:par>
                          <p:cTn id="11" fill="hold">
                            <p:stCondLst>
                              <p:cond delay="500"/>
                            </p:stCondLst>
                            <p:childTnLst>
                              <p:par>
                                <p:cTn id="12" presetID="55" presetClass="entr" presetSubtype="0" fill="hold" grpId="0" nodeType="afterEffect">
                                  <p:stCondLst>
                                    <p:cond delay="0"/>
                                  </p:stCondLst>
                                  <p:childTnLst>
                                    <p:set>
                                      <p:cBhvr>
                                        <p:cTn id="13" dur="1" fill="hold">
                                          <p:stCondLst>
                                            <p:cond delay="0"/>
                                          </p:stCondLst>
                                        </p:cTn>
                                        <p:tgtEl>
                                          <p:spTgt spid="2"/>
                                        </p:tgtEl>
                                        <p:attrNameLst>
                                          <p:attrName>style.visibility</p:attrName>
                                        </p:attrNameLst>
                                      </p:cBhvr>
                                      <p:to>
                                        <p:strVal val="visible"/>
                                      </p:to>
                                    </p:set>
                                    <p:anim calcmode="lin" valueType="num">
                                      <p:cBhvr>
                                        <p:cTn id="14" dur="300" fill="hold"/>
                                        <p:tgtEl>
                                          <p:spTgt spid="2"/>
                                        </p:tgtEl>
                                        <p:attrNameLst>
                                          <p:attrName>ppt_w</p:attrName>
                                        </p:attrNameLst>
                                      </p:cBhvr>
                                      <p:tavLst>
                                        <p:tav tm="0">
                                          <p:val>
                                            <p:strVal val="#ppt_w*0.70"/>
                                          </p:val>
                                        </p:tav>
                                        <p:tav tm="100000">
                                          <p:val>
                                            <p:strVal val="#ppt_w"/>
                                          </p:val>
                                        </p:tav>
                                      </p:tavLst>
                                    </p:anim>
                                    <p:anim calcmode="lin" valueType="num">
                                      <p:cBhvr>
                                        <p:cTn id="15" dur="300" fill="hold"/>
                                        <p:tgtEl>
                                          <p:spTgt spid="2"/>
                                        </p:tgtEl>
                                        <p:attrNameLst>
                                          <p:attrName>ppt_h</p:attrName>
                                        </p:attrNameLst>
                                      </p:cBhvr>
                                      <p:tavLst>
                                        <p:tav tm="0">
                                          <p:val>
                                            <p:strVal val="#ppt_h"/>
                                          </p:val>
                                        </p:tav>
                                        <p:tav tm="100000">
                                          <p:val>
                                            <p:strVal val="#ppt_h"/>
                                          </p:val>
                                        </p:tav>
                                      </p:tavLst>
                                    </p:anim>
                                    <p:animEffect transition="in" filter="fade">
                                      <p:cBhvr>
                                        <p:cTn id="16" dur="300"/>
                                        <p:tgtEl>
                                          <p:spTgt spid="2"/>
                                        </p:tgtEl>
                                      </p:cBhvr>
                                    </p:animEffect>
                                  </p:childTnLst>
                                </p:cTn>
                              </p:par>
                              <p:par>
                                <p:cTn id="17" presetID="55" presetClass="entr" presetSubtype="0" fill="hold" grpId="0" nodeType="withEffect">
                                  <p:stCondLst>
                                    <p:cond delay="300"/>
                                  </p:stCondLst>
                                  <p:childTnLst>
                                    <p:set>
                                      <p:cBhvr>
                                        <p:cTn id="18" dur="1" fill="hold">
                                          <p:stCondLst>
                                            <p:cond delay="0"/>
                                          </p:stCondLst>
                                        </p:cTn>
                                        <p:tgtEl>
                                          <p:spTgt spid="9"/>
                                        </p:tgtEl>
                                        <p:attrNameLst>
                                          <p:attrName>style.visibility</p:attrName>
                                        </p:attrNameLst>
                                      </p:cBhvr>
                                      <p:to>
                                        <p:strVal val="visible"/>
                                      </p:to>
                                    </p:set>
                                    <p:anim calcmode="lin" valueType="num">
                                      <p:cBhvr>
                                        <p:cTn id="19" dur="300" fill="hold"/>
                                        <p:tgtEl>
                                          <p:spTgt spid="9"/>
                                        </p:tgtEl>
                                        <p:attrNameLst>
                                          <p:attrName>ppt_w</p:attrName>
                                        </p:attrNameLst>
                                      </p:cBhvr>
                                      <p:tavLst>
                                        <p:tav tm="0">
                                          <p:val>
                                            <p:strVal val="#ppt_w*0.70"/>
                                          </p:val>
                                        </p:tav>
                                        <p:tav tm="100000">
                                          <p:val>
                                            <p:strVal val="#ppt_w"/>
                                          </p:val>
                                        </p:tav>
                                      </p:tavLst>
                                    </p:anim>
                                    <p:anim calcmode="lin" valueType="num">
                                      <p:cBhvr>
                                        <p:cTn id="20" dur="300" fill="hold"/>
                                        <p:tgtEl>
                                          <p:spTgt spid="9"/>
                                        </p:tgtEl>
                                        <p:attrNameLst>
                                          <p:attrName>ppt_h</p:attrName>
                                        </p:attrNameLst>
                                      </p:cBhvr>
                                      <p:tavLst>
                                        <p:tav tm="0">
                                          <p:val>
                                            <p:strVal val="#ppt_h"/>
                                          </p:val>
                                        </p:tav>
                                        <p:tav tm="100000">
                                          <p:val>
                                            <p:strVal val="#ppt_h"/>
                                          </p:val>
                                        </p:tav>
                                      </p:tavLst>
                                    </p:anim>
                                    <p:animEffect transition="in" filter="fade">
                                      <p:cBhvr>
                                        <p:cTn id="21" dur="300"/>
                                        <p:tgtEl>
                                          <p:spTgt spid="9"/>
                                        </p:tgtEl>
                                      </p:cBhvr>
                                    </p:animEffect>
                                  </p:childTnLst>
                                </p:cTn>
                              </p:par>
                              <p:par>
                                <p:cTn id="22" presetID="55" presetClass="entr" presetSubtype="0" fill="hold" grpId="0" nodeType="withEffect">
                                  <p:stCondLst>
                                    <p:cond delay="600"/>
                                  </p:stCondLst>
                                  <p:childTnLst>
                                    <p:set>
                                      <p:cBhvr>
                                        <p:cTn id="23" dur="1" fill="hold">
                                          <p:stCondLst>
                                            <p:cond delay="0"/>
                                          </p:stCondLst>
                                        </p:cTn>
                                        <p:tgtEl>
                                          <p:spTgt spid="10"/>
                                        </p:tgtEl>
                                        <p:attrNameLst>
                                          <p:attrName>style.visibility</p:attrName>
                                        </p:attrNameLst>
                                      </p:cBhvr>
                                      <p:to>
                                        <p:strVal val="visible"/>
                                      </p:to>
                                    </p:set>
                                    <p:anim calcmode="lin" valueType="num">
                                      <p:cBhvr>
                                        <p:cTn id="24" dur="300" fill="hold"/>
                                        <p:tgtEl>
                                          <p:spTgt spid="10"/>
                                        </p:tgtEl>
                                        <p:attrNameLst>
                                          <p:attrName>ppt_w</p:attrName>
                                        </p:attrNameLst>
                                      </p:cBhvr>
                                      <p:tavLst>
                                        <p:tav tm="0">
                                          <p:val>
                                            <p:strVal val="#ppt_w*0.70"/>
                                          </p:val>
                                        </p:tav>
                                        <p:tav tm="100000">
                                          <p:val>
                                            <p:strVal val="#ppt_w"/>
                                          </p:val>
                                        </p:tav>
                                      </p:tavLst>
                                    </p:anim>
                                    <p:anim calcmode="lin" valueType="num">
                                      <p:cBhvr>
                                        <p:cTn id="25" dur="300" fill="hold"/>
                                        <p:tgtEl>
                                          <p:spTgt spid="10"/>
                                        </p:tgtEl>
                                        <p:attrNameLst>
                                          <p:attrName>ppt_h</p:attrName>
                                        </p:attrNameLst>
                                      </p:cBhvr>
                                      <p:tavLst>
                                        <p:tav tm="0">
                                          <p:val>
                                            <p:strVal val="#ppt_h"/>
                                          </p:val>
                                        </p:tav>
                                        <p:tav tm="100000">
                                          <p:val>
                                            <p:strVal val="#ppt_h"/>
                                          </p:val>
                                        </p:tav>
                                      </p:tavLst>
                                    </p:anim>
                                    <p:animEffect transition="in" filter="fade">
                                      <p:cBhvr>
                                        <p:cTn id="26" dur="300"/>
                                        <p:tgtEl>
                                          <p:spTgt spid="10"/>
                                        </p:tgtEl>
                                      </p:cBhvr>
                                    </p:animEffect>
                                  </p:childTnLst>
                                </p:cTn>
                              </p:par>
                              <p:par>
                                <p:cTn id="27" presetID="55" presetClass="entr" presetSubtype="0" fill="hold" grpId="0" nodeType="withEffect">
                                  <p:stCondLst>
                                    <p:cond delay="900"/>
                                  </p:stCondLst>
                                  <p:childTnLst>
                                    <p:set>
                                      <p:cBhvr>
                                        <p:cTn id="28" dur="1" fill="hold">
                                          <p:stCondLst>
                                            <p:cond delay="0"/>
                                          </p:stCondLst>
                                        </p:cTn>
                                        <p:tgtEl>
                                          <p:spTgt spid="11"/>
                                        </p:tgtEl>
                                        <p:attrNameLst>
                                          <p:attrName>style.visibility</p:attrName>
                                        </p:attrNameLst>
                                      </p:cBhvr>
                                      <p:to>
                                        <p:strVal val="visible"/>
                                      </p:to>
                                    </p:set>
                                    <p:anim calcmode="lin" valueType="num">
                                      <p:cBhvr>
                                        <p:cTn id="29" dur="300" fill="hold"/>
                                        <p:tgtEl>
                                          <p:spTgt spid="11"/>
                                        </p:tgtEl>
                                        <p:attrNameLst>
                                          <p:attrName>ppt_w</p:attrName>
                                        </p:attrNameLst>
                                      </p:cBhvr>
                                      <p:tavLst>
                                        <p:tav tm="0">
                                          <p:val>
                                            <p:strVal val="#ppt_w*0.70"/>
                                          </p:val>
                                        </p:tav>
                                        <p:tav tm="100000">
                                          <p:val>
                                            <p:strVal val="#ppt_w"/>
                                          </p:val>
                                        </p:tav>
                                      </p:tavLst>
                                    </p:anim>
                                    <p:anim calcmode="lin" valueType="num">
                                      <p:cBhvr>
                                        <p:cTn id="30" dur="300" fill="hold"/>
                                        <p:tgtEl>
                                          <p:spTgt spid="11"/>
                                        </p:tgtEl>
                                        <p:attrNameLst>
                                          <p:attrName>ppt_h</p:attrName>
                                        </p:attrNameLst>
                                      </p:cBhvr>
                                      <p:tavLst>
                                        <p:tav tm="0">
                                          <p:val>
                                            <p:strVal val="#ppt_h"/>
                                          </p:val>
                                        </p:tav>
                                        <p:tav tm="100000">
                                          <p:val>
                                            <p:strVal val="#ppt_h"/>
                                          </p:val>
                                        </p:tav>
                                      </p:tavLst>
                                    </p:anim>
                                    <p:animEffect transition="in" filter="fade">
                                      <p:cBhvr>
                                        <p:cTn id="31" dur="300"/>
                                        <p:tgtEl>
                                          <p:spTgt spid="11"/>
                                        </p:tgtEl>
                                      </p:cBhvr>
                                    </p:animEffect>
                                  </p:childTnLst>
                                </p:cTn>
                              </p:par>
                              <p:par>
                                <p:cTn id="32" presetID="55" presetClass="entr" presetSubtype="0" fill="hold" grpId="0" nodeType="withEffect">
                                  <p:stCondLst>
                                    <p:cond delay="1200"/>
                                  </p:stCondLst>
                                  <p:childTnLst>
                                    <p:set>
                                      <p:cBhvr>
                                        <p:cTn id="33" dur="1" fill="hold">
                                          <p:stCondLst>
                                            <p:cond delay="0"/>
                                          </p:stCondLst>
                                        </p:cTn>
                                        <p:tgtEl>
                                          <p:spTgt spid="13"/>
                                        </p:tgtEl>
                                        <p:attrNameLst>
                                          <p:attrName>style.visibility</p:attrName>
                                        </p:attrNameLst>
                                      </p:cBhvr>
                                      <p:to>
                                        <p:strVal val="visible"/>
                                      </p:to>
                                    </p:set>
                                    <p:anim calcmode="lin" valueType="num">
                                      <p:cBhvr>
                                        <p:cTn id="34" dur="300" fill="hold"/>
                                        <p:tgtEl>
                                          <p:spTgt spid="13"/>
                                        </p:tgtEl>
                                        <p:attrNameLst>
                                          <p:attrName>ppt_w</p:attrName>
                                        </p:attrNameLst>
                                      </p:cBhvr>
                                      <p:tavLst>
                                        <p:tav tm="0">
                                          <p:val>
                                            <p:strVal val="#ppt_w*0.70"/>
                                          </p:val>
                                        </p:tav>
                                        <p:tav tm="100000">
                                          <p:val>
                                            <p:strVal val="#ppt_w"/>
                                          </p:val>
                                        </p:tav>
                                      </p:tavLst>
                                    </p:anim>
                                    <p:anim calcmode="lin" valueType="num">
                                      <p:cBhvr>
                                        <p:cTn id="35" dur="300" fill="hold"/>
                                        <p:tgtEl>
                                          <p:spTgt spid="13"/>
                                        </p:tgtEl>
                                        <p:attrNameLst>
                                          <p:attrName>ppt_h</p:attrName>
                                        </p:attrNameLst>
                                      </p:cBhvr>
                                      <p:tavLst>
                                        <p:tav tm="0">
                                          <p:val>
                                            <p:strVal val="#ppt_h"/>
                                          </p:val>
                                        </p:tav>
                                        <p:tav tm="100000">
                                          <p:val>
                                            <p:strVal val="#ppt_h"/>
                                          </p:val>
                                        </p:tav>
                                      </p:tavLst>
                                    </p:anim>
                                    <p:animEffect transition="in" filter="fade">
                                      <p:cBhvr>
                                        <p:cTn id="36" dur="300"/>
                                        <p:tgtEl>
                                          <p:spTgt spid="13"/>
                                        </p:tgtEl>
                                      </p:cBhvr>
                                    </p:animEffect>
                                  </p:childTnLst>
                                </p:cTn>
                              </p:par>
                              <p:par>
                                <p:cTn id="37" presetID="10" presetClass="entr" presetSubtype="0" fill="hold" grpId="0" nodeType="withEffect">
                                  <p:stCondLst>
                                    <p:cond delay="500"/>
                                  </p:stCondLst>
                                  <p:childTnLst>
                                    <p:set>
                                      <p:cBhvr>
                                        <p:cTn id="38" dur="1" fill="hold">
                                          <p:stCondLst>
                                            <p:cond delay="0"/>
                                          </p:stCondLst>
                                        </p:cTn>
                                        <p:tgtEl>
                                          <p:spTgt spid="20"/>
                                        </p:tgtEl>
                                        <p:attrNameLst>
                                          <p:attrName>style.visibility</p:attrName>
                                        </p:attrNameLst>
                                      </p:cBhvr>
                                      <p:to>
                                        <p:strVal val="visible"/>
                                      </p:to>
                                    </p:set>
                                    <p:animEffect transition="in" filter="fade">
                                      <p:cBhvr>
                                        <p:cTn id="39" dur="500"/>
                                        <p:tgtEl>
                                          <p:spTgt spid="20"/>
                                        </p:tgtEl>
                                      </p:cBhvr>
                                    </p:animEffect>
                                  </p:childTnLst>
                                </p:cTn>
                              </p:par>
                              <p:par>
                                <p:cTn id="40" presetID="10" presetClass="entr" presetSubtype="0" fill="hold" grpId="0" nodeType="withEffect">
                                  <p:stCondLst>
                                    <p:cond delay="700"/>
                                  </p:stCondLst>
                                  <p:childTnLst>
                                    <p:set>
                                      <p:cBhvr>
                                        <p:cTn id="41" dur="1" fill="hold">
                                          <p:stCondLst>
                                            <p:cond delay="0"/>
                                          </p:stCondLst>
                                        </p:cTn>
                                        <p:tgtEl>
                                          <p:spTgt spid="21"/>
                                        </p:tgtEl>
                                        <p:attrNameLst>
                                          <p:attrName>style.visibility</p:attrName>
                                        </p:attrNameLst>
                                      </p:cBhvr>
                                      <p:to>
                                        <p:strVal val="visible"/>
                                      </p:to>
                                    </p:set>
                                    <p:animEffect transition="in" filter="fade">
                                      <p:cBhvr>
                                        <p:cTn id="42" dur="500"/>
                                        <p:tgtEl>
                                          <p:spTgt spid="21"/>
                                        </p:tgtEl>
                                      </p:cBhvr>
                                    </p:animEffect>
                                  </p:childTnLst>
                                </p:cTn>
                              </p:par>
                              <p:par>
                                <p:cTn id="43" presetID="10" presetClass="entr" presetSubtype="0" fill="hold" grpId="0" nodeType="withEffect">
                                  <p:stCondLst>
                                    <p:cond delay="900"/>
                                  </p:stCondLst>
                                  <p:childTnLst>
                                    <p:set>
                                      <p:cBhvr>
                                        <p:cTn id="44" dur="1" fill="hold">
                                          <p:stCondLst>
                                            <p:cond delay="0"/>
                                          </p:stCondLst>
                                        </p:cTn>
                                        <p:tgtEl>
                                          <p:spTgt spid="23"/>
                                        </p:tgtEl>
                                        <p:attrNameLst>
                                          <p:attrName>style.visibility</p:attrName>
                                        </p:attrNameLst>
                                      </p:cBhvr>
                                      <p:to>
                                        <p:strVal val="visible"/>
                                      </p:to>
                                    </p:set>
                                    <p:animEffect transition="in" filter="fade">
                                      <p:cBhvr>
                                        <p:cTn id="45" dur="500"/>
                                        <p:tgtEl>
                                          <p:spTgt spid="23"/>
                                        </p:tgtEl>
                                      </p:cBhvr>
                                    </p:animEffect>
                                  </p:childTnLst>
                                </p:cTn>
                              </p:par>
                              <p:par>
                                <p:cTn id="46" presetID="10" presetClass="entr" presetSubtype="0" fill="hold" grpId="0" nodeType="withEffect">
                                  <p:stCondLst>
                                    <p:cond delay="1100"/>
                                  </p:stCondLst>
                                  <p:childTnLst>
                                    <p:set>
                                      <p:cBhvr>
                                        <p:cTn id="47" dur="1" fill="hold">
                                          <p:stCondLst>
                                            <p:cond delay="0"/>
                                          </p:stCondLst>
                                        </p:cTn>
                                        <p:tgtEl>
                                          <p:spTgt spid="24"/>
                                        </p:tgtEl>
                                        <p:attrNameLst>
                                          <p:attrName>style.visibility</p:attrName>
                                        </p:attrNameLst>
                                      </p:cBhvr>
                                      <p:to>
                                        <p:strVal val="visible"/>
                                      </p:to>
                                    </p:set>
                                    <p:animEffect transition="in" filter="fade">
                                      <p:cBhvr>
                                        <p:cTn id="48" dur="500"/>
                                        <p:tgtEl>
                                          <p:spTgt spid="24"/>
                                        </p:tgtEl>
                                      </p:cBhvr>
                                    </p:animEffect>
                                  </p:childTnLst>
                                </p:cTn>
                              </p:par>
                              <p:par>
                                <p:cTn id="49" presetID="10" presetClass="entr" presetSubtype="0" fill="hold" grpId="0" nodeType="withEffect">
                                  <p:stCondLst>
                                    <p:cond delay="1300"/>
                                  </p:stCondLst>
                                  <p:childTnLst>
                                    <p:set>
                                      <p:cBhvr>
                                        <p:cTn id="50" dur="1" fill="hold">
                                          <p:stCondLst>
                                            <p:cond delay="0"/>
                                          </p:stCondLst>
                                        </p:cTn>
                                        <p:tgtEl>
                                          <p:spTgt spid="25"/>
                                        </p:tgtEl>
                                        <p:attrNameLst>
                                          <p:attrName>style.visibility</p:attrName>
                                        </p:attrNameLst>
                                      </p:cBhvr>
                                      <p:to>
                                        <p:strVal val="visible"/>
                                      </p:to>
                                    </p:set>
                                    <p:animEffect transition="in" filter="fade">
                                      <p:cBhvr>
                                        <p:cTn id="51" dur="500"/>
                                        <p:tgtEl>
                                          <p:spTgt spid="25"/>
                                        </p:tgtEl>
                                      </p:cBhvr>
                                    </p:animEffect>
                                  </p:childTnLst>
                                </p:cTn>
                              </p:par>
                              <p:par>
                                <p:cTn id="52" presetID="47" presetClass="entr" presetSubtype="0" fill="hold" grpId="0" nodeType="withEffect">
                                  <p:stCondLst>
                                    <p:cond delay="500"/>
                                  </p:stCondLst>
                                  <p:childTnLst>
                                    <p:set>
                                      <p:cBhvr>
                                        <p:cTn id="53" dur="1" fill="hold">
                                          <p:stCondLst>
                                            <p:cond delay="0"/>
                                          </p:stCondLst>
                                        </p:cTn>
                                        <p:tgtEl>
                                          <p:spTgt spid="26"/>
                                        </p:tgtEl>
                                        <p:attrNameLst>
                                          <p:attrName>style.visibility</p:attrName>
                                        </p:attrNameLst>
                                      </p:cBhvr>
                                      <p:to>
                                        <p:strVal val="visible"/>
                                      </p:to>
                                    </p:set>
                                    <p:animEffect transition="in" filter="fade">
                                      <p:cBhvr>
                                        <p:cTn id="54" dur="1000"/>
                                        <p:tgtEl>
                                          <p:spTgt spid="26"/>
                                        </p:tgtEl>
                                      </p:cBhvr>
                                    </p:animEffect>
                                    <p:anim calcmode="lin" valueType="num">
                                      <p:cBhvr>
                                        <p:cTn id="55" dur="1000" fill="hold"/>
                                        <p:tgtEl>
                                          <p:spTgt spid="26"/>
                                        </p:tgtEl>
                                        <p:attrNameLst>
                                          <p:attrName>ppt_x</p:attrName>
                                        </p:attrNameLst>
                                      </p:cBhvr>
                                      <p:tavLst>
                                        <p:tav tm="0">
                                          <p:val>
                                            <p:strVal val="#ppt_x"/>
                                          </p:val>
                                        </p:tav>
                                        <p:tav tm="100000">
                                          <p:val>
                                            <p:strVal val="#ppt_x"/>
                                          </p:val>
                                        </p:tav>
                                      </p:tavLst>
                                    </p:anim>
                                    <p:anim calcmode="lin" valueType="num">
                                      <p:cBhvr>
                                        <p:cTn id="56" dur="1000" fill="hold"/>
                                        <p:tgtEl>
                                          <p:spTgt spid="26"/>
                                        </p:tgtEl>
                                        <p:attrNameLst>
                                          <p:attrName>ppt_y</p:attrName>
                                        </p:attrNameLst>
                                      </p:cBhvr>
                                      <p:tavLst>
                                        <p:tav tm="0">
                                          <p:val>
                                            <p:strVal val="#ppt_y-.1"/>
                                          </p:val>
                                        </p:tav>
                                        <p:tav tm="100000">
                                          <p:val>
                                            <p:strVal val="#ppt_y"/>
                                          </p:val>
                                        </p:tav>
                                      </p:tavLst>
                                    </p:anim>
                                  </p:childTnLst>
                                </p:cTn>
                              </p:par>
                              <p:par>
                                <p:cTn id="57" presetID="47" presetClass="entr" presetSubtype="0" fill="hold" grpId="0" nodeType="withEffect">
                                  <p:stCondLst>
                                    <p:cond delay="700"/>
                                  </p:stCondLst>
                                  <p:childTnLst>
                                    <p:set>
                                      <p:cBhvr>
                                        <p:cTn id="58" dur="1" fill="hold">
                                          <p:stCondLst>
                                            <p:cond delay="0"/>
                                          </p:stCondLst>
                                        </p:cTn>
                                        <p:tgtEl>
                                          <p:spTgt spid="27"/>
                                        </p:tgtEl>
                                        <p:attrNameLst>
                                          <p:attrName>style.visibility</p:attrName>
                                        </p:attrNameLst>
                                      </p:cBhvr>
                                      <p:to>
                                        <p:strVal val="visible"/>
                                      </p:to>
                                    </p:set>
                                    <p:animEffect transition="in" filter="fade">
                                      <p:cBhvr>
                                        <p:cTn id="59" dur="1000"/>
                                        <p:tgtEl>
                                          <p:spTgt spid="27"/>
                                        </p:tgtEl>
                                      </p:cBhvr>
                                    </p:animEffect>
                                    <p:anim calcmode="lin" valueType="num">
                                      <p:cBhvr>
                                        <p:cTn id="60" dur="1000" fill="hold"/>
                                        <p:tgtEl>
                                          <p:spTgt spid="27"/>
                                        </p:tgtEl>
                                        <p:attrNameLst>
                                          <p:attrName>ppt_x</p:attrName>
                                        </p:attrNameLst>
                                      </p:cBhvr>
                                      <p:tavLst>
                                        <p:tav tm="0">
                                          <p:val>
                                            <p:strVal val="#ppt_x"/>
                                          </p:val>
                                        </p:tav>
                                        <p:tav tm="100000">
                                          <p:val>
                                            <p:strVal val="#ppt_x"/>
                                          </p:val>
                                        </p:tav>
                                      </p:tavLst>
                                    </p:anim>
                                    <p:anim calcmode="lin" valueType="num">
                                      <p:cBhvr>
                                        <p:cTn id="61" dur="1000" fill="hold"/>
                                        <p:tgtEl>
                                          <p:spTgt spid="27"/>
                                        </p:tgtEl>
                                        <p:attrNameLst>
                                          <p:attrName>ppt_y</p:attrName>
                                        </p:attrNameLst>
                                      </p:cBhvr>
                                      <p:tavLst>
                                        <p:tav tm="0">
                                          <p:val>
                                            <p:strVal val="#ppt_y-.1"/>
                                          </p:val>
                                        </p:tav>
                                        <p:tav tm="100000">
                                          <p:val>
                                            <p:strVal val="#ppt_y"/>
                                          </p:val>
                                        </p:tav>
                                      </p:tavLst>
                                    </p:anim>
                                  </p:childTnLst>
                                </p:cTn>
                              </p:par>
                              <p:par>
                                <p:cTn id="62" presetID="47" presetClass="entr" presetSubtype="0" fill="hold" grpId="0" nodeType="withEffect">
                                  <p:stCondLst>
                                    <p:cond delay="900"/>
                                  </p:stCondLst>
                                  <p:childTnLst>
                                    <p:set>
                                      <p:cBhvr>
                                        <p:cTn id="63" dur="1" fill="hold">
                                          <p:stCondLst>
                                            <p:cond delay="0"/>
                                          </p:stCondLst>
                                        </p:cTn>
                                        <p:tgtEl>
                                          <p:spTgt spid="28"/>
                                        </p:tgtEl>
                                        <p:attrNameLst>
                                          <p:attrName>style.visibility</p:attrName>
                                        </p:attrNameLst>
                                      </p:cBhvr>
                                      <p:to>
                                        <p:strVal val="visible"/>
                                      </p:to>
                                    </p:set>
                                    <p:animEffect transition="in" filter="fade">
                                      <p:cBhvr>
                                        <p:cTn id="64" dur="1000"/>
                                        <p:tgtEl>
                                          <p:spTgt spid="28"/>
                                        </p:tgtEl>
                                      </p:cBhvr>
                                    </p:animEffect>
                                    <p:anim calcmode="lin" valueType="num">
                                      <p:cBhvr>
                                        <p:cTn id="65" dur="1000" fill="hold"/>
                                        <p:tgtEl>
                                          <p:spTgt spid="28"/>
                                        </p:tgtEl>
                                        <p:attrNameLst>
                                          <p:attrName>ppt_x</p:attrName>
                                        </p:attrNameLst>
                                      </p:cBhvr>
                                      <p:tavLst>
                                        <p:tav tm="0">
                                          <p:val>
                                            <p:strVal val="#ppt_x"/>
                                          </p:val>
                                        </p:tav>
                                        <p:tav tm="100000">
                                          <p:val>
                                            <p:strVal val="#ppt_x"/>
                                          </p:val>
                                        </p:tav>
                                      </p:tavLst>
                                    </p:anim>
                                    <p:anim calcmode="lin" valueType="num">
                                      <p:cBhvr>
                                        <p:cTn id="66" dur="1000" fill="hold"/>
                                        <p:tgtEl>
                                          <p:spTgt spid="28"/>
                                        </p:tgtEl>
                                        <p:attrNameLst>
                                          <p:attrName>ppt_y</p:attrName>
                                        </p:attrNameLst>
                                      </p:cBhvr>
                                      <p:tavLst>
                                        <p:tav tm="0">
                                          <p:val>
                                            <p:strVal val="#ppt_y-.1"/>
                                          </p:val>
                                        </p:tav>
                                        <p:tav tm="100000">
                                          <p:val>
                                            <p:strVal val="#ppt_y"/>
                                          </p:val>
                                        </p:tav>
                                      </p:tavLst>
                                    </p:anim>
                                  </p:childTnLst>
                                </p:cTn>
                              </p:par>
                              <p:par>
                                <p:cTn id="67" presetID="47" presetClass="entr" presetSubtype="0" fill="hold" grpId="0" nodeType="withEffect">
                                  <p:stCondLst>
                                    <p:cond delay="1100"/>
                                  </p:stCondLst>
                                  <p:childTnLst>
                                    <p:set>
                                      <p:cBhvr>
                                        <p:cTn id="68" dur="1" fill="hold">
                                          <p:stCondLst>
                                            <p:cond delay="0"/>
                                          </p:stCondLst>
                                        </p:cTn>
                                        <p:tgtEl>
                                          <p:spTgt spid="29"/>
                                        </p:tgtEl>
                                        <p:attrNameLst>
                                          <p:attrName>style.visibility</p:attrName>
                                        </p:attrNameLst>
                                      </p:cBhvr>
                                      <p:to>
                                        <p:strVal val="visible"/>
                                      </p:to>
                                    </p:set>
                                    <p:animEffect transition="in" filter="fade">
                                      <p:cBhvr>
                                        <p:cTn id="69" dur="1000"/>
                                        <p:tgtEl>
                                          <p:spTgt spid="29"/>
                                        </p:tgtEl>
                                      </p:cBhvr>
                                    </p:animEffect>
                                    <p:anim calcmode="lin" valueType="num">
                                      <p:cBhvr>
                                        <p:cTn id="70" dur="1000" fill="hold"/>
                                        <p:tgtEl>
                                          <p:spTgt spid="29"/>
                                        </p:tgtEl>
                                        <p:attrNameLst>
                                          <p:attrName>ppt_x</p:attrName>
                                        </p:attrNameLst>
                                      </p:cBhvr>
                                      <p:tavLst>
                                        <p:tav tm="0">
                                          <p:val>
                                            <p:strVal val="#ppt_x"/>
                                          </p:val>
                                        </p:tav>
                                        <p:tav tm="100000">
                                          <p:val>
                                            <p:strVal val="#ppt_x"/>
                                          </p:val>
                                        </p:tav>
                                      </p:tavLst>
                                    </p:anim>
                                    <p:anim calcmode="lin" valueType="num">
                                      <p:cBhvr>
                                        <p:cTn id="71" dur="1000" fill="hold"/>
                                        <p:tgtEl>
                                          <p:spTgt spid="29"/>
                                        </p:tgtEl>
                                        <p:attrNameLst>
                                          <p:attrName>ppt_y</p:attrName>
                                        </p:attrNameLst>
                                      </p:cBhvr>
                                      <p:tavLst>
                                        <p:tav tm="0">
                                          <p:val>
                                            <p:strVal val="#ppt_y-.1"/>
                                          </p:val>
                                        </p:tav>
                                        <p:tav tm="100000">
                                          <p:val>
                                            <p:strVal val="#ppt_y"/>
                                          </p:val>
                                        </p:tav>
                                      </p:tavLst>
                                    </p:anim>
                                  </p:childTnLst>
                                </p:cTn>
                              </p:par>
                              <p:par>
                                <p:cTn id="72" presetID="47" presetClass="entr" presetSubtype="0" fill="hold" grpId="0" nodeType="withEffect">
                                  <p:stCondLst>
                                    <p:cond delay="1300"/>
                                  </p:stCondLst>
                                  <p:childTnLst>
                                    <p:set>
                                      <p:cBhvr>
                                        <p:cTn id="73" dur="1" fill="hold">
                                          <p:stCondLst>
                                            <p:cond delay="0"/>
                                          </p:stCondLst>
                                        </p:cTn>
                                        <p:tgtEl>
                                          <p:spTgt spid="30"/>
                                        </p:tgtEl>
                                        <p:attrNameLst>
                                          <p:attrName>style.visibility</p:attrName>
                                        </p:attrNameLst>
                                      </p:cBhvr>
                                      <p:to>
                                        <p:strVal val="visible"/>
                                      </p:to>
                                    </p:set>
                                    <p:animEffect transition="in" filter="fade">
                                      <p:cBhvr>
                                        <p:cTn id="74" dur="1000"/>
                                        <p:tgtEl>
                                          <p:spTgt spid="30"/>
                                        </p:tgtEl>
                                      </p:cBhvr>
                                    </p:animEffect>
                                    <p:anim calcmode="lin" valueType="num">
                                      <p:cBhvr>
                                        <p:cTn id="75" dur="1000" fill="hold"/>
                                        <p:tgtEl>
                                          <p:spTgt spid="30"/>
                                        </p:tgtEl>
                                        <p:attrNameLst>
                                          <p:attrName>ppt_x</p:attrName>
                                        </p:attrNameLst>
                                      </p:cBhvr>
                                      <p:tavLst>
                                        <p:tav tm="0">
                                          <p:val>
                                            <p:strVal val="#ppt_x"/>
                                          </p:val>
                                        </p:tav>
                                        <p:tav tm="100000">
                                          <p:val>
                                            <p:strVal val="#ppt_x"/>
                                          </p:val>
                                        </p:tav>
                                      </p:tavLst>
                                    </p:anim>
                                    <p:anim calcmode="lin" valueType="num">
                                      <p:cBhvr>
                                        <p:cTn id="76" dur="1000" fill="hold"/>
                                        <p:tgtEl>
                                          <p:spTgt spid="30"/>
                                        </p:tgtEl>
                                        <p:attrNameLst>
                                          <p:attrName>ppt_y</p:attrName>
                                        </p:attrNameLst>
                                      </p:cBhvr>
                                      <p:tavLst>
                                        <p:tav tm="0">
                                          <p:val>
                                            <p:strVal val="#ppt_y-.1"/>
                                          </p:val>
                                        </p:tav>
                                        <p:tav tm="100000">
                                          <p:val>
                                            <p:strVal val="#ppt_y"/>
                                          </p:val>
                                        </p:tav>
                                      </p:tavLst>
                                    </p:anim>
                                  </p:childTnLst>
                                </p:cTn>
                              </p:par>
                            </p:childTnLst>
                          </p:cTn>
                        </p:par>
                        <p:par>
                          <p:cTn id="77" fill="hold">
                            <p:stCondLst>
                              <p:cond delay="1000"/>
                            </p:stCondLst>
                            <p:childTnLst>
                              <p:par>
                                <p:cTn id="78" presetID="14" presetClass="entr" presetSubtype="10" fill="hold" grpId="0" nodeType="afterEffect">
                                  <p:stCondLst>
                                    <p:cond delay="0"/>
                                  </p:stCondLst>
                                  <p:childTnLst>
                                    <p:set>
                                      <p:cBhvr>
                                        <p:cTn id="79" dur="1" fill="hold">
                                          <p:stCondLst>
                                            <p:cond delay="0"/>
                                          </p:stCondLst>
                                        </p:cTn>
                                        <p:tgtEl>
                                          <p:spTgt spid="32"/>
                                        </p:tgtEl>
                                        <p:attrNameLst>
                                          <p:attrName>style.visibility</p:attrName>
                                        </p:attrNameLst>
                                      </p:cBhvr>
                                      <p:to>
                                        <p:strVal val="visible"/>
                                      </p:to>
                                    </p:set>
                                    <p:animEffect transition="in" filter="randombar(horizontal)">
                                      <p:cBhvr>
                                        <p:cTn id="80" dur="500"/>
                                        <p:tgtEl>
                                          <p:spTgt spid="32"/>
                                        </p:tgtEl>
                                      </p:cBhvr>
                                    </p:animEffect>
                                  </p:childTnLst>
                                </p:cTn>
                              </p:par>
                              <p:par>
                                <p:cTn id="81" presetID="14" presetClass="entr" presetSubtype="10" fill="hold" grpId="0" nodeType="withEffect">
                                  <p:stCondLst>
                                    <p:cond delay="0"/>
                                  </p:stCondLst>
                                  <p:childTnLst>
                                    <p:set>
                                      <p:cBhvr>
                                        <p:cTn id="82" dur="1" fill="hold">
                                          <p:stCondLst>
                                            <p:cond delay="0"/>
                                          </p:stCondLst>
                                        </p:cTn>
                                        <p:tgtEl>
                                          <p:spTgt spid="36"/>
                                        </p:tgtEl>
                                        <p:attrNameLst>
                                          <p:attrName>style.visibility</p:attrName>
                                        </p:attrNameLst>
                                      </p:cBhvr>
                                      <p:to>
                                        <p:strVal val="visible"/>
                                      </p:to>
                                    </p:set>
                                    <p:animEffect transition="in" filter="randombar(horizontal)">
                                      <p:cBhvr>
                                        <p:cTn id="83" dur="500"/>
                                        <p:tgtEl>
                                          <p:spTgt spid="36"/>
                                        </p:tgtEl>
                                      </p:cBhvr>
                                    </p:animEffect>
                                  </p:childTnLst>
                                </p:cTn>
                              </p:par>
                              <p:par>
                                <p:cTn id="84" presetID="14" presetClass="entr" presetSubtype="10" fill="hold" grpId="0" nodeType="withEffect">
                                  <p:stCondLst>
                                    <p:cond delay="0"/>
                                  </p:stCondLst>
                                  <p:childTnLst>
                                    <p:set>
                                      <p:cBhvr>
                                        <p:cTn id="85" dur="1" fill="hold">
                                          <p:stCondLst>
                                            <p:cond delay="0"/>
                                          </p:stCondLst>
                                        </p:cTn>
                                        <p:tgtEl>
                                          <p:spTgt spid="33"/>
                                        </p:tgtEl>
                                        <p:attrNameLst>
                                          <p:attrName>style.visibility</p:attrName>
                                        </p:attrNameLst>
                                      </p:cBhvr>
                                      <p:to>
                                        <p:strVal val="visible"/>
                                      </p:to>
                                    </p:set>
                                    <p:animEffect transition="in" filter="randombar(horizontal)">
                                      <p:cBhvr>
                                        <p:cTn id="86" dur="500"/>
                                        <p:tgtEl>
                                          <p:spTgt spid="33"/>
                                        </p:tgtEl>
                                      </p:cBhvr>
                                    </p:animEffect>
                                  </p:childTnLst>
                                </p:cTn>
                              </p:par>
                              <p:par>
                                <p:cTn id="87" presetID="14" presetClass="entr" presetSubtype="10" fill="hold" grpId="0" nodeType="withEffect">
                                  <p:stCondLst>
                                    <p:cond delay="0"/>
                                  </p:stCondLst>
                                  <p:childTnLst>
                                    <p:set>
                                      <p:cBhvr>
                                        <p:cTn id="88" dur="1" fill="hold">
                                          <p:stCondLst>
                                            <p:cond delay="0"/>
                                          </p:stCondLst>
                                        </p:cTn>
                                        <p:tgtEl>
                                          <p:spTgt spid="38"/>
                                        </p:tgtEl>
                                        <p:attrNameLst>
                                          <p:attrName>style.visibility</p:attrName>
                                        </p:attrNameLst>
                                      </p:cBhvr>
                                      <p:to>
                                        <p:strVal val="visible"/>
                                      </p:to>
                                    </p:set>
                                    <p:animEffect transition="in" filter="randombar(horizontal)">
                                      <p:cBhvr>
                                        <p:cTn id="89" dur="500"/>
                                        <p:tgtEl>
                                          <p:spTgt spid="38"/>
                                        </p:tgtEl>
                                      </p:cBhvr>
                                    </p:animEffect>
                                  </p:childTnLst>
                                </p:cTn>
                              </p:par>
                              <p:par>
                                <p:cTn id="90" presetID="14" presetClass="entr" presetSubtype="10" fill="hold" grpId="0" nodeType="withEffect">
                                  <p:stCondLst>
                                    <p:cond delay="1000"/>
                                  </p:stCondLst>
                                  <p:childTnLst>
                                    <p:set>
                                      <p:cBhvr>
                                        <p:cTn id="91" dur="1" fill="hold">
                                          <p:stCondLst>
                                            <p:cond delay="0"/>
                                          </p:stCondLst>
                                        </p:cTn>
                                        <p:tgtEl>
                                          <p:spTgt spid="37"/>
                                        </p:tgtEl>
                                        <p:attrNameLst>
                                          <p:attrName>style.visibility</p:attrName>
                                        </p:attrNameLst>
                                      </p:cBhvr>
                                      <p:to>
                                        <p:strVal val="visible"/>
                                      </p:to>
                                    </p:set>
                                    <p:animEffect transition="in" filter="randombar(horizontal)">
                                      <p:cBhvr>
                                        <p:cTn id="92" dur="500"/>
                                        <p:tgtEl>
                                          <p:spTgt spid="37"/>
                                        </p:tgtEl>
                                      </p:cBhvr>
                                    </p:animEffect>
                                  </p:childTnLst>
                                </p:cTn>
                              </p:par>
                              <p:par>
                                <p:cTn id="93" presetID="14" presetClass="entr" presetSubtype="10" fill="hold" grpId="0" nodeType="withEffect">
                                  <p:stCondLst>
                                    <p:cond delay="1000"/>
                                  </p:stCondLst>
                                  <p:childTnLst>
                                    <p:set>
                                      <p:cBhvr>
                                        <p:cTn id="94" dur="1" fill="hold">
                                          <p:stCondLst>
                                            <p:cond delay="0"/>
                                          </p:stCondLst>
                                        </p:cTn>
                                        <p:tgtEl>
                                          <p:spTgt spid="39"/>
                                        </p:tgtEl>
                                        <p:attrNameLst>
                                          <p:attrName>style.visibility</p:attrName>
                                        </p:attrNameLst>
                                      </p:cBhvr>
                                      <p:to>
                                        <p:strVal val="visible"/>
                                      </p:to>
                                    </p:set>
                                    <p:animEffect transition="in" filter="randombar(horizontal)">
                                      <p:cBhvr>
                                        <p:cTn id="95" dur="500"/>
                                        <p:tgtEl>
                                          <p:spTgt spid="3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9" grpId="0" animBg="1"/>
      <p:bldP spid="10" grpId="0" animBg="1"/>
      <p:bldP spid="11" grpId="0" animBg="1"/>
      <p:bldP spid="13" grpId="0" animBg="1"/>
      <p:bldP spid="20" grpId="0"/>
      <p:bldP spid="21" grpId="0"/>
      <p:bldP spid="23" grpId="0"/>
      <p:bldP spid="24" grpId="0"/>
      <p:bldP spid="25" grpId="0"/>
      <p:bldP spid="26" grpId="0"/>
      <p:bldP spid="27" grpId="0"/>
      <p:bldP spid="28" grpId="0"/>
      <p:bldP spid="29" grpId="0"/>
      <p:bldP spid="30" grpId="0"/>
      <p:bldP spid="32" grpId="0" animBg="1"/>
      <p:bldP spid="33" grpId="0" animBg="1"/>
      <p:bldP spid="36" grpId="0"/>
      <p:bldP spid="37" grpId="0"/>
      <p:bldP spid="38" grpId="0"/>
      <p:bldP spid="39" grpId="0"/>
      <p:bldP spid="31" grpId="0" animBg="1"/>
      <p:bldP spid="40"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矩形 33" hidden="1"/>
          <p:cNvSpPr/>
          <p:nvPr/>
        </p:nvSpPr>
        <p:spPr>
          <a:xfrm>
            <a:off x="2584817" y="2133288"/>
            <a:ext cx="936104" cy="6551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smtClean="0">
                <a:solidFill>
                  <a:srgbClr val="B0F533"/>
                </a:solidFill>
                <a:latin typeface="Gill Sans MT Pro Light" pitchFamily="34" charset="0"/>
              </a:rPr>
              <a:t>1</a:t>
            </a:r>
            <a:endParaRPr lang="zh-CN" altLang="en-US" sz="3600">
              <a:solidFill>
                <a:srgbClr val="B0F533"/>
              </a:solidFill>
              <a:latin typeface="Gill Sans MT Pro Light" pitchFamily="34" charset="0"/>
            </a:endParaRPr>
          </a:p>
        </p:txBody>
      </p:sp>
      <p:sp>
        <p:nvSpPr>
          <p:cNvPr id="35" name="矩形 34" hidden="1"/>
          <p:cNvSpPr/>
          <p:nvPr/>
        </p:nvSpPr>
        <p:spPr>
          <a:xfrm>
            <a:off x="3621305" y="2133288"/>
            <a:ext cx="5984291" cy="655104"/>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smtClean="0">
                <a:latin typeface="华文黑体" pitchFamily="2" charset="-122"/>
                <a:ea typeface="华文黑体" pitchFamily="2" charset="-122"/>
                <a:cs typeface="华文黑体" pitchFamily="2" charset="-122"/>
              </a:rPr>
              <a:t>                     点击添加标题</a:t>
            </a:r>
            <a:endParaRPr lang="zh-CN" altLang="en-US" sz="2800">
              <a:latin typeface="华文黑体" pitchFamily="2" charset="-122"/>
              <a:ea typeface="华文黑体" pitchFamily="2" charset="-122"/>
              <a:cs typeface="华文黑体" pitchFamily="2" charset="-122"/>
            </a:endParaRPr>
          </a:p>
        </p:txBody>
      </p:sp>
      <p:pic>
        <p:nvPicPr>
          <p:cNvPr id="3079" name="Picture 7" descr="D:\360data\重要数据\桌面\世界品牌LOGO\car\ford1.jpg"/>
          <p:cNvPicPr>
            <a:picLocks noChangeAspect="1" noChangeArrowheads="1"/>
          </p:cNvPicPr>
          <p:nvPr/>
        </p:nvPicPr>
        <p:blipFill>
          <a:blip r:embed="rId1">
            <a:extLst>
              <a:ext uri="{28A0092B-C50C-407E-A947-70E740481C1C}">
                <a14:useLocalDpi xmlns:a14="http://schemas.microsoft.com/office/drawing/2010/main" val="0"/>
              </a:ext>
            </a:extLst>
          </a:blip>
          <a:srcRect/>
          <a:stretch>
            <a:fillRect/>
          </a:stretch>
        </p:blipFill>
        <p:spPr bwMode="auto">
          <a:xfrm>
            <a:off x="1290396" y="3222674"/>
            <a:ext cx="1915158" cy="866609"/>
          </a:xfrm>
          <a:prstGeom prst="rect">
            <a:avLst/>
          </a:prstGeom>
          <a:noFill/>
          <a:extLst>
            <a:ext uri="{909E8E84-426E-40DD-AFC4-6F175D3DCCD1}">
              <a14:hiddenFill xmlns:a14="http://schemas.microsoft.com/office/drawing/2010/main">
                <a:solidFill>
                  <a:srgbClr val="FFFFFF"/>
                </a:solidFill>
              </a14:hiddenFill>
            </a:ext>
          </a:extLst>
        </p:spPr>
      </p:pic>
      <p:pic>
        <p:nvPicPr>
          <p:cNvPr id="3087" name="Picture 15" descr="D:\360data\重要数据\桌面\世界品牌LOGO\car\Peugeot.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778997" y="2700182"/>
            <a:ext cx="1477764" cy="1389099"/>
          </a:xfrm>
          <a:prstGeom prst="rect">
            <a:avLst/>
          </a:prstGeom>
          <a:noFill/>
          <a:extLst>
            <a:ext uri="{909E8E84-426E-40DD-AFC4-6F175D3DCCD1}">
              <a14:hiddenFill xmlns:a14="http://schemas.microsoft.com/office/drawing/2010/main">
                <a:solidFill>
                  <a:srgbClr val="FFFFFF"/>
                </a:solidFill>
              </a14:hiddenFill>
            </a:ext>
          </a:extLst>
        </p:spPr>
      </p:pic>
      <p:pic>
        <p:nvPicPr>
          <p:cNvPr id="3088" name="Picture 16" descr="D:\360data\重要数据\桌面\世界品牌LOGO\car\reanult.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350126" y="2700183"/>
            <a:ext cx="1780894" cy="1389098"/>
          </a:xfrm>
          <a:prstGeom prst="rect">
            <a:avLst/>
          </a:prstGeom>
          <a:noFill/>
          <a:extLst>
            <a:ext uri="{909E8E84-426E-40DD-AFC4-6F175D3DCCD1}">
              <a14:hiddenFill xmlns:a14="http://schemas.microsoft.com/office/drawing/2010/main">
                <a:solidFill>
                  <a:srgbClr val="FFFFFF"/>
                </a:solidFill>
              </a14:hiddenFill>
            </a:ext>
          </a:extLst>
        </p:spPr>
      </p:pic>
      <p:pic>
        <p:nvPicPr>
          <p:cNvPr id="3092" name="Picture 20" descr="D:\360data\重要数据\桌面\世界品牌LOGO\Electronics\Toshiba.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224384" y="2695353"/>
            <a:ext cx="2675630" cy="603928"/>
          </a:xfrm>
          <a:prstGeom prst="rect">
            <a:avLst/>
          </a:prstGeom>
          <a:noFill/>
          <a:extLst>
            <a:ext uri="{909E8E84-426E-40DD-AFC4-6F175D3DCCD1}">
              <a14:hiddenFill xmlns:a14="http://schemas.microsoft.com/office/drawing/2010/main">
                <a:solidFill>
                  <a:srgbClr val="FFFFFF"/>
                </a:solidFill>
              </a14:hiddenFill>
            </a:ext>
          </a:extLst>
        </p:spPr>
      </p:pic>
      <p:pic>
        <p:nvPicPr>
          <p:cNvPr id="3096" name="Picture 24" descr="D:\360data\重要数据\桌面\世界品牌LOGO\Electronics\JBL.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296533" y="2700183"/>
            <a:ext cx="1389099" cy="1389099"/>
          </a:xfrm>
          <a:prstGeom prst="rect">
            <a:avLst/>
          </a:prstGeom>
          <a:noFill/>
          <a:extLst>
            <a:ext uri="{909E8E84-426E-40DD-AFC4-6F175D3DCCD1}">
              <a14:hiddenFill xmlns:a14="http://schemas.microsoft.com/office/drawing/2010/main">
                <a:solidFill>
                  <a:srgbClr val="FFFFFF"/>
                </a:solidFill>
              </a14:hiddenFill>
            </a:ext>
          </a:extLst>
        </p:spPr>
      </p:pic>
      <p:pic>
        <p:nvPicPr>
          <p:cNvPr id="3098" name="Picture 26" descr="D:\360data\重要数据\桌面\世界品牌LOGO\Electronics\Panasonic.gif"/>
          <p:cNvPicPr>
            <a:picLocks noChangeAspect="1" noChangeArrowheads="1"/>
          </p:cNvPicPr>
          <p:nvPr/>
        </p:nvPicPr>
        <p:blipFill>
          <a:blip r:embed="rId6" cstate="screen"/>
          <a:srcRect/>
          <a:stretch>
            <a:fillRect/>
          </a:stretch>
        </p:blipFill>
        <p:spPr bwMode="auto">
          <a:xfrm>
            <a:off x="8224385" y="3408418"/>
            <a:ext cx="2675630" cy="680865"/>
          </a:xfrm>
          <a:prstGeom prst="rect">
            <a:avLst/>
          </a:prstGeom>
          <a:noFill/>
          <a:extLst>
            <a:ext uri="{909E8E84-426E-40DD-AFC4-6F175D3DCCD1}">
              <a14:hiddenFill xmlns:a14="http://schemas.microsoft.com/office/drawing/2010/main">
                <a:solidFill>
                  <a:srgbClr val="FFFFFF"/>
                </a:solidFill>
              </a14:hiddenFill>
            </a:ext>
          </a:extLst>
        </p:spPr>
      </p:pic>
      <p:pic>
        <p:nvPicPr>
          <p:cNvPr id="3103" name="Picture 31" descr="D:\360data\重要数据\桌面\世界品牌LOGO\MISC\dove-shampoo.gif"/>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833306" y="1524989"/>
            <a:ext cx="1691075" cy="1078060"/>
          </a:xfrm>
          <a:prstGeom prst="rect">
            <a:avLst/>
          </a:prstGeom>
          <a:noFill/>
          <a:extLst>
            <a:ext uri="{909E8E84-426E-40DD-AFC4-6F175D3DCCD1}">
              <a14:hiddenFill xmlns:a14="http://schemas.microsoft.com/office/drawing/2010/main">
                <a:solidFill>
                  <a:srgbClr val="FFFFFF"/>
                </a:solidFill>
              </a14:hiddenFill>
            </a:ext>
          </a:extLst>
        </p:spPr>
      </p:pic>
      <p:pic>
        <p:nvPicPr>
          <p:cNvPr id="3104" name="Picture 32" descr="D:\360data\重要数据\桌面\世界品牌LOGO\MISC\coca-cola.gif"/>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638350" y="1524989"/>
            <a:ext cx="2261665" cy="1078060"/>
          </a:xfrm>
          <a:prstGeom prst="rect">
            <a:avLst/>
          </a:prstGeom>
          <a:noFill/>
          <a:extLst>
            <a:ext uri="{909E8E84-426E-40DD-AFC4-6F175D3DCCD1}">
              <a14:hiddenFill xmlns:a14="http://schemas.microsoft.com/office/drawing/2010/main">
                <a:solidFill>
                  <a:srgbClr val="FFFFFF"/>
                </a:solidFill>
              </a14:hiddenFill>
            </a:ext>
          </a:extLst>
        </p:spPr>
      </p:pic>
      <p:pic>
        <p:nvPicPr>
          <p:cNvPr id="3105" name="Picture 33" descr="D:\360data\重要数据\桌面\世界品牌LOGO\MISC\Federal_Express.png"/>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346249" y="1524989"/>
            <a:ext cx="2373089" cy="1078060"/>
          </a:xfrm>
          <a:prstGeom prst="rect">
            <a:avLst/>
          </a:prstGeom>
          <a:noFill/>
          <a:extLst>
            <a:ext uri="{909E8E84-426E-40DD-AFC4-6F175D3DCCD1}">
              <a14:hiddenFill xmlns:a14="http://schemas.microsoft.com/office/drawing/2010/main">
                <a:solidFill>
                  <a:srgbClr val="FFFFFF"/>
                </a:solidFill>
              </a14:hiddenFill>
            </a:ext>
          </a:extLst>
        </p:spPr>
      </p:pic>
      <p:pic>
        <p:nvPicPr>
          <p:cNvPr id="3106" name="Picture 34" descr="D:\360data\重要数据\桌面\世界品牌LOGO\MISC\Unilever.pn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3319522" y="1524988"/>
            <a:ext cx="912759" cy="1078061"/>
          </a:xfrm>
          <a:prstGeom prst="rect">
            <a:avLst/>
          </a:prstGeom>
          <a:noFill/>
          <a:extLst>
            <a:ext uri="{909E8E84-426E-40DD-AFC4-6F175D3DCCD1}">
              <a14:hiddenFill xmlns:a14="http://schemas.microsoft.com/office/drawing/2010/main">
                <a:solidFill>
                  <a:srgbClr val="FFFFFF"/>
                </a:solidFill>
              </a14:hiddenFill>
            </a:ext>
          </a:extLst>
        </p:spPr>
      </p:pic>
      <p:pic>
        <p:nvPicPr>
          <p:cNvPr id="3108" name="Picture 36" descr="D:\360data\重要数据\桌面\世界品牌LOGO\Computer\ylse3bbovqjfys9xtzp.jpg"/>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290396" y="1524988"/>
            <a:ext cx="1915158" cy="1532126"/>
          </a:xfrm>
          <a:prstGeom prst="rect">
            <a:avLst/>
          </a:prstGeom>
          <a:noFill/>
          <a:extLst>
            <a:ext uri="{909E8E84-426E-40DD-AFC4-6F175D3DCCD1}">
              <a14:hiddenFill xmlns:a14="http://schemas.microsoft.com/office/drawing/2010/main">
                <a:solidFill>
                  <a:srgbClr val="FFFFFF"/>
                </a:solidFill>
              </a14:hiddenFill>
            </a:ext>
          </a:extLst>
        </p:spPr>
      </p:pic>
      <p:pic>
        <p:nvPicPr>
          <p:cNvPr id="3077" name="Picture 5" descr="D:\360data\重要数据\桌面\世界品牌LOGO\car\Ferrari.png"/>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7128217" y="4895003"/>
            <a:ext cx="1553933" cy="902497"/>
          </a:xfrm>
          <a:prstGeom prst="rect">
            <a:avLst/>
          </a:prstGeom>
          <a:noFill/>
          <a:extLst>
            <a:ext uri="{909E8E84-426E-40DD-AFC4-6F175D3DCCD1}">
              <a14:hiddenFill xmlns:a14="http://schemas.microsoft.com/office/drawing/2010/main">
                <a:solidFill>
                  <a:srgbClr val="FFFFFF"/>
                </a:solidFill>
              </a14:hiddenFill>
            </a:ext>
          </a:extLst>
        </p:spPr>
      </p:pic>
      <p:pic>
        <p:nvPicPr>
          <p:cNvPr id="3085" name="Picture 13" descr="D:\360data\重要数据\桌面\世界品牌LOGO\car\Kawasaki.png"/>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290396" y="4190656"/>
            <a:ext cx="2448791" cy="586005"/>
          </a:xfrm>
          <a:prstGeom prst="rect">
            <a:avLst/>
          </a:prstGeom>
          <a:noFill/>
          <a:extLst>
            <a:ext uri="{909E8E84-426E-40DD-AFC4-6F175D3DCCD1}">
              <a14:hiddenFill xmlns:a14="http://schemas.microsoft.com/office/drawing/2010/main">
                <a:solidFill>
                  <a:srgbClr val="FFFFFF"/>
                </a:solidFill>
              </a14:hiddenFill>
            </a:ext>
          </a:extLst>
        </p:spPr>
      </p:pic>
      <p:pic>
        <p:nvPicPr>
          <p:cNvPr id="3097" name="Picture 25" descr="D:\360data\重要数据\桌面\世界品牌LOGO\Electronics\Nikon.png"/>
          <p:cNvPicPr>
            <a:picLocks noChangeAspect="1" noChangeArrowheads="1"/>
          </p:cNvPicPr>
          <p:nvPr/>
        </p:nvPicPr>
        <p:blipFill rotWithShape="1">
          <a:blip r:embed="rId14">
            <a:extLst>
              <a:ext uri="{28A0092B-C50C-407E-A947-70E740481C1C}">
                <a14:useLocalDpi xmlns:a14="http://schemas.microsoft.com/office/drawing/2010/main" val="0"/>
              </a:ext>
            </a:extLst>
          </a:blip>
          <a:srcRect l="9778" t="10270" r="8444" b="12588"/>
          <a:stretch>
            <a:fillRect/>
          </a:stretch>
        </p:blipFill>
        <p:spPr bwMode="auto">
          <a:xfrm>
            <a:off x="3837562" y="4190656"/>
            <a:ext cx="1599893" cy="1623162"/>
          </a:xfrm>
          <a:prstGeom prst="rect">
            <a:avLst/>
          </a:prstGeom>
          <a:noFill/>
          <a:extLst>
            <a:ext uri="{909E8E84-426E-40DD-AFC4-6F175D3DCCD1}">
              <a14:hiddenFill xmlns:a14="http://schemas.microsoft.com/office/drawing/2010/main">
                <a:solidFill>
                  <a:srgbClr val="FFFFFF"/>
                </a:solidFill>
              </a14:hiddenFill>
            </a:ext>
          </a:extLst>
        </p:spPr>
      </p:pic>
      <p:pic>
        <p:nvPicPr>
          <p:cNvPr id="3099" name="Picture 27" descr="D:\360data\重要数据\桌面\世界品牌LOGO\Electronics\Samsung.png"/>
          <p:cNvPicPr>
            <a:picLocks noChangeAspect="1" noChangeArrowheads="1"/>
          </p:cNvPicPr>
          <p:nvPr/>
        </p:nvPicPr>
        <p:blipFill rotWithShape="1">
          <a:blip r:embed="rId15">
            <a:extLst>
              <a:ext uri="{28A0092B-C50C-407E-A947-70E740481C1C}">
                <a14:useLocalDpi xmlns:a14="http://schemas.microsoft.com/office/drawing/2010/main" val="0"/>
              </a:ext>
            </a:extLst>
          </a:blip>
          <a:srcRect b="37761"/>
          <a:stretch>
            <a:fillRect/>
          </a:stretch>
        </p:blipFill>
        <p:spPr bwMode="auto">
          <a:xfrm>
            <a:off x="7128217" y="4190656"/>
            <a:ext cx="1553933" cy="677611"/>
          </a:xfrm>
          <a:prstGeom prst="rect">
            <a:avLst/>
          </a:prstGeom>
          <a:noFill/>
          <a:extLst>
            <a:ext uri="{909E8E84-426E-40DD-AFC4-6F175D3DCCD1}">
              <a14:hiddenFill xmlns:a14="http://schemas.microsoft.com/office/drawing/2010/main">
                <a:solidFill>
                  <a:srgbClr val="FFFFFF"/>
                </a:solidFill>
              </a14:hiddenFill>
            </a:ext>
          </a:extLst>
        </p:spPr>
      </p:pic>
      <p:pic>
        <p:nvPicPr>
          <p:cNvPr id="3110" name="Picture 38" descr="D:\360data\重要数据\桌面\世界品牌LOGO\Computer\LakeView_Technology.png"/>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290397" y="4884475"/>
            <a:ext cx="2448790" cy="913026"/>
          </a:xfrm>
          <a:prstGeom prst="rect">
            <a:avLst/>
          </a:prstGeom>
          <a:noFill/>
          <a:extLst>
            <a:ext uri="{909E8E84-426E-40DD-AFC4-6F175D3DCCD1}">
              <a14:hiddenFill xmlns:a14="http://schemas.microsoft.com/office/drawing/2010/main">
                <a:solidFill>
                  <a:srgbClr val="FFFFFF"/>
                </a:solidFill>
              </a14:hiddenFill>
            </a:ext>
          </a:extLst>
        </p:spPr>
      </p:pic>
      <p:pic>
        <p:nvPicPr>
          <p:cNvPr id="3111" name="Picture 39" descr="D:\360data\重要数据\桌面\世界品牌LOGO\MISC\total.gif"/>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5535830" y="4190656"/>
            <a:ext cx="1494012" cy="1606845"/>
          </a:xfrm>
          <a:prstGeom prst="rect">
            <a:avLst/>
          </a:prstGeom>
          <a:noFill/>
          <a:extLst>
            <a:ext uri="{909E8E84-426E-40DD-AFC4-6F175D3DCCD1}">
              <a14:hiddenFill xmlns:a14="http://schemas.microsoft.com/office/drawing/2010/main">
                <a:solidFill>
                  <a:srgbClr val="FFFFFF"/>
                </a:solidFill>
              </a14:hiddenFill>
            </a:ext>
          </a:extLst>
        </p:spPr>
      </p:pic>
      <p:pic>
        <p:nvPicPr>
          <p:cNvPr id="3112" name="Picture 40" descr="D:\360data\重要数据\桌面\世界品牌LOGO\News and Media\cnn2.gif"/>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8780524" y="4199888"/>
            <a:ext cx="2119492" cy="1613931"/>
          </a:xfrm>
          <a:prstGeom prst="rect">
            <a:avLst/>
          </a:prstGeom>
          <a:noFill/>
          <a:extLst>
            <a:ext uri="{909E8E84-426E-40DD-AFC4-6F175D3DCCD1}">
              <a14:hiddenFill xmlns:a14="http://schemas.microsoft.com/office/drawing/2010/main">
                <a:solidFill>
                  <a:srgbClr val="FFFFFF"/>
                </a:solidFill>
              </a14:hiddenFill>
            </a:ext>
          </a:extLst>
        </p:spPr>
      </p:pic>
      <p:sp>
        <p:nvSpPr>
          <p:cNvPr id="26" name="圆角矩形 25"/>
          <p:cNvSpPr/>
          <p:nvPr/>
        </p:nvSpPr>
        <p:spPr>
          <a:xfrm>
            <a:off x="8894702" y="260648"/>
            <a:ext cx="2673112" cy="600163"/>
          </a:xfrm>
          <a:prstGeom prst="roundRect">
            <a:avLst/>
          </a:prstGeom>
          <a:solidFill>
            <a:srgbClr val="FFFFFF"/>
          </a:solidFill>
          <a:ln>
            <a:noFill/>
          </a:ln>
          <a:effectLst>
            <a:reflection blurRad="6350" stA="25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7" name="TextBox 26"/>
          <p:cNvSpPr txBox="1"/>
          <p:nvPr/>
        </p:nvSpPr>
        <p:spPr>
          <a:xfrm>
            <a:off x="9061707" y="260648"/>
            <a:ext cx="2339102" cy="523220"/>
          </a:xfrm>
          <a:prstGeom prst="rect">
            <a:avLst/>
          </a:prstGeom>
          <a:noFill/>
        </p:spPr>
        <p:txBody>
          <a:bodyPr wrap="none" rtlCol="0" anchor="ctr">
            <a:spAutoFit/>
          </a:bodyPr>
          <a:lstStyle>
            <a:defPPr>
              <a:defRPr lang="zh-CN"/>
            </a:defPPr>
            <a:lvl1pPr algn="ctr">
              <a:defRPr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anose="02010600040101010101" pitchFamily="2" charset="-122"/>
                <a:cs typeface="华文黑体" pitchFamily="2" charset="-122"/>
              </a:defRPr>
            </a:lvl1pPr>
          </a:lstStyle>
          <a:p>
            <a:r>
              <a:rPr lang="zh-CN" altLang="en-US" sz="2800"/>
              <a:t>点击添加标题</a:t>
            </a:r>
            <a:endParaRPr lang="zh-CN" altLang="en-US" sz="280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6"/>
                                        </p:tgtEl>
                                        <p:attrNameLst>
                                          <p:attrName>style.visibility</p:attrName>
                                        </p:attrNameLst>
                                      </p:cBhvr>
                                      <p:to>
                                        <p:strVal val="visible"/>
                                      </p:to>
                                    </p:set>
                                    <p:animEffect transition="in" filter="fade">
                                      <p:cBhvr>
                                        <p:cTn id="7" dur="300"/>
                                        <p:tgtEl>
                                          <p:spTgt spid="2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7"/>
                                        </p:tgtEl>
                                        <p:attrNameLst>
                                          <p:attrName>style.visibility</p:attrName>
                                        </p:attrNameLst>
                                      </p:cBhvr>
                                      <p:to>
                                        <p:strVal val="visible"/>
                                      </p:to>
                                    </p:set>
                                    <p:animEffect transition="in" filter="fade">
                                      <p:cBhvr>
                                        <p:cTn id="10" dur="300"/>
                                        <p:tgtEl>
                                          <p:spTgt spid="27"/>
                                        </p:tgtEl>
                                      </p:cBhvr>
                                    </p:animEffect>
                                  </p:childTnLst>
                                </p:cTn>
                              </p:par>
                              <p:par>
                                <p:cTn id="11" presetID="23" presetClass="entr" presetSubtype="528" fill="hold" nodeType="withEffect">
                                  <p:stCondLst>
                                    <p:cond delay="0"/>
                                  </p:stCondLst>
                                  <p:childTnLst>
                                    <p:set>
                                      <p:cBhvr>
                                        <p:cTn id="12" dur="1" fill="hold">
                                          <p:stCondLst>
                                            <p:cond delay="0"/>
                                          </p:stCondLst>
                                        </p:cTn>
                                        <p:tgtEl>
                                          <p:spTgt spid="3108"/>
                                        </p:tgtEl>
                                        <p:attrNameLst>
                                          <p:attrName>style.visibility</p:attrName>
                                        </p:attrNameLst>
                                      </p:cBhvr>
                                      <p:to>
                                        <p:strVal val="visible"/>
                                      </p:to>
                                    </p:set>
                                    <p:anim calcmode="lin" valueType="num">
                                      <p:cBhvr>
                                        <p:cTn id="13" dur="300" fill="hold"/>
                                        <p:tgtEl>
                                          <p:spTgt spid="3108"/>
                                        </p:tgtEl>
                                        <p:attrNameLst>
                                          <p:attrName>ppt_w</p:attrName>
                                        </p:attrNameLst>
                                      </p:cBhvr>
                                      <p:tavLst>
                                        <p:tav tm="0">
                                          <p:val>
                                            <p:fltVal val="0"/>
                                          </p:val>
                                        </p:tav>
                                        <p:tav tm="100000">
                                          <p:val>
                                            <p:strVal val="#ppt_w"/>
                                          </p:val>
                                        </p:tav>
                                      </p:tavLst>
                                    </p:anim>
                                    <p:anim calcmode="lin" valueType="num">
                                      <p:cBhvr>
                                        <p:cTn id="14" dur="300" fill="hold"/>
                                        <p:tgtEl>
                                          <p:spTgt spid="3108"/>
                                        </p:tgtEl>
                                        <p:attrNameLst>
                                          <p:attrName>ppt_h</p:attrName>
                                        </p:attrNameLst>
                                      </p:cBhvr>
                                      <p:tavLst>
                                        <p:tav tm="0">
                                          <p:val>
                                            <p:fltVal val="0"/>
                                          </p:val>
                                        </p:tav>
                                        <p:tav tm="100000">
                                          <p:val>
                                            <p:strVal val="#ppt_h"/>
                                          </p:val>
                                        </p:tav>
                                      </p:tavLst>
                                    </p:anim>
                                    <p:anim calcmode="lin" valueType="num">
                                      <p:cBhvr>
                                        <p:cTn id="15" dur="300" fill="hold"/>
                                        <p:tgtEl>
                                          <p:spTgt spid="3108"/>
                                        </p:tgtEl>
                                        <p:attrNameLst>
                                          <p:attrName>ppt_x</p:attrName>
                                        </p:attrNameLst>
                                      </p:cBhvr>
                                      <p:tavLst>
                                        <p:tav tm="0">
                                          <p:val>
                                            <p:fltVal val="0.5"/>
                                          </p:val>
                                        </p:tav>
                                        <p:tav tm="100000">
                                          <p:val>
                                            <p:strVal val="#ppt_x"/>
                                          </p:val>
                                        </p:tav>
                                      </p:tavLst>
                                    </p:anim>
                                    <p:anim calcmode="lin" valueType="num">
                                      <p:cBhvr>
                                        <p:cTn id="16" dur="300" fill="hold"/>
                                        <p:tgtEl>
                                          <p:spTgt spid="3108"/>
                                        </p:tgtEl>
                                        <p:attrNameLst>
                                          <p:attrName>ppt_y</p:attrName>
                                        </p:attrNameLst>
                                      </p:cBhvr>
                                      <p:tavLst>
                                        <p:tav tm="0">
                                          <p:val>
                                            <p:fltVal val="0.5"/>
                                          </p:val>
                                        </p:tav>
                                        <p:tav tm="100000">
                                          <p:val>
                                            <p:strVal val="#ppt_y"/>
                                          </p:val>
                                        </p:tav>
                                      </p:tavLst>
                                    </p:anim>
                                  </p:childTnLst>
                                </p:cTn>
                              </p:par>
                              <p:par>
                                <p:cTn id="17" presetID="26" presetClass="emph" presetSubtype="0" fill="hold" nodeType="withEffect">
                                  <p:stCondLst>
                                    <p:cond delay="300"/>
                                  </p:stCondLst>
                                  <p:childTnLst>
                                    <p:animEffect transition="out" filter="fade">
                                      <p:cBhvr>
                                        <p:cTn id="18" dur="300" tmFilter="0, 0; .2, .5; .8, .5; 1, 0"/>
                                        <p:tgtEl>
                                          <p:spTgt spid="3108"/>
                                        </p:tgtEl>
                                      </p:cBhvr>
                                    </p:animEffect>
                                    <p:animScale>
                                      <p:cBhvr>
                                        <p:cTn id="19" dur="150" autoRev="1" fill="hold"/>
                                        <p:tgtEl>
                                          <p:spTgt spid="3108"/>
                                        </p:tgtEl>
                                      </p:cBhvr>
                                      <p:by x="105000" y="105000"/>
                                    </p:animScale>
                                  </p:childTnLst>
                                </p:cTn>
                              </p:par>
                              <p:par>
                                <p:cTn id="20" presetID="23" presetClass="entr" presetSubtype="528" fill="hold" nodeType="withEffect">
                                  <p:stCondLst>
                                    <p:cond delay="100"/>
                                  </p:stCondLst>
                                  <p:childTnLst>
                                    <p:set>
                                      <p:cBhvr>
                                        <p:cTn id="21" dur="1" fill="hold">
                                          <p:stCondLst>
                                            <p:cond delay="0"/>
                                          </p:stCondLst>
                                        </p:cTn>
                                        <p:tgtEl>
                                          <p:spTgt spid="3106"/>
                                        </p:tgtEl>
                                        <p:attrNameLst>
                                          <p:attrName>style.visibility</p:attrName>
                                        </p:attrNameLst>
                                      </p:cBhvr>
                                      <p:to>
                                        <p:strVal val="visible"/>
                                      </p:to>
                                    </p:set>
                                    <p:anim calcmode="lin" valueType="num">
                                      <p:cBhvr>
                                        <p:cTn id="22" dur="300" fill="hold"/>
                                        <p:tgtEl>
                                          <p:spTgt spid="3106"/>
                                        </p:tgtEl>
                                        <p:attrNameLst>
                                          <p:attrName>ppt_w</p:attrName>
                                        </p:attrNameLst>
                                      </p:cBhvr>
                                      <p:tavLst>
                                        <p:tav tm="0">
                                          <p:val>
                                            <p:fltVal val="0"/>
                                          </p:val>
                                        </p:tav>
                                        <p:tav tm="100000">
                                          <p:val>
                                            <p:strVal val="#ppt_w"/>
                                          </p:val>
                                        </p:tav>
                                      </p:tavLst>
                                    </p:anim>
                                    <p:anim calcmode="lin" valueType="num">
                                      <p:cBhvr>
                                        <p:cTn id="23" dur="300" fill="hold"/>
                                        <p:tgtEl>
                                          <p:spTgt spid="3106"/>
                                        </p:tgtEl>
                                        <p:attrNameLst>
                                          <p:attrName>ppt_h</p:attrName>
                                        </p:attrNameLst>
                                      </p:cBhvr>
                                      <p:tavLst>
                                        <p:tav tm="0">
                                          <p:val>
                                            <p:fltVal val="0"/>
                                          </p:val>
                                        </p:tav>
                                        <p:tav tm="100000">
                                          <p:val>
                                            <p:strVal val="#ppt_h"/>
                                          </p:val>
                                        </p:tav>
                                      </p:tavLst>
                                    </p:anim>
                                    <p:anim calcmode="lin" valueType="num">
                                      <p:cBhvr>
                                        <p:cTn id="24" dur="300" fill="hold"/>
                                        <p:tgtEl>
                                          <p:spTgt spid="3106"/>
                                        </p:tgtEl>
                                        <p:attrNameLst>
                                          <p:attrName>ppt_x</p:attrName>
                                        </p:attrNameLst>
                                      </p:cBhvr>
                                      <p:tavLst>
                                        <p:tav tm="0">
                                          <p:val>
                                            <p:fltVal val="0.5"/>
                                          </p:val>
                                        </p:tav>
                                        <p:tav tm="100000">
                                          <p:val>
                                            <p:strVal val="#ppt_x"/>
                                          </p:val>
                                        </p:tav>
                                      </p:tavLst>
                                    </p:anim>
                                    <p:anim calcmode="lin" valueType="num">
                                      <p:cBhvr>
                                        <p:cTn id="25" dur="300" fill="hold"/>
                                        <p:tgtEl>
                                          <p:spTgt spid="3106"/>
                                        </p:tgtEl>
                                        <p:attrNameLst>
                                          <p:attrName>ppt_y</p:attrName>
                                        </p:attrNameLst>
                                      </p:cBhvr>
                                      <p:tavLst>
                                        <p:tav tm="0">
                                          <p:val>
                                            <p:fltVal val="0.5"/>
                                          </p:val>
                                        </p:tav>
                                        <p:tav tm="100000">
                                          <p:val>
                                            <p:strVal val="#ppt_y"/>
                                          </p:val>
                                        </p:tav>
                                      </p:tavLst>
                                    </p:anim>
                                  </p:childTnLst>
                                </p:cTn>
                              </p:par>
                              <p:par>
                                <p:cTn id="26" presetID="26" presetClass="emph" presetSubtype="0" fill="hold" nodeType="withEffect">
                                  <p:stCondLst>
                                    <p:cond delay="400"/>
                                  </p:stCondLst>
                                  <p:childTnLst>
                                    <p:animEffect transition="out" filter="fade">
                                      <p:cBhvr>
                                        <p:cTn id="27" dur="300" tmFilter="0, 0; .2, .5; .8, .5; 1, 0"/>
                                        <p:tgtEl>
                                          <p:spTgt spid="3106"/>
                                        </p:tgtEl>
                                      </p:cBhvr>
                                    </p:animEffect>
                                    <p:animScale>
                                      <p:cBhvr>
                                        <p:cTn id="28" dur="150" autoRev="1" fill="hold"/>
                                        <p:tgtEl>
                                          <p:spTgt spid="3106"/>
                                        </p:tgtEl>
                                      </p:cBhvr>
                                      <p:by x="105000" y="105000"/>
                                    </p:animScale>
                                  </p:childTnLst>
                                </p:cTn>
                              </p:par>
                              <p:par>
                                <p:cTn id="29" presetID="23" presetClass="entr" presetSubtype="528" fill="hold" nodeType="withEffect">
                                  <p:stCondLst>
                                    <p:cond delay="200"/>
                                  </p:stCondLst>
                                  <p:childTnLst>
                                    <p:set>
                                      <p:cBhvr>
                                        <p:cTn id="30" dur="1" fill="hold">
                                          <p:stCondLst>
                                            <p:cond delay="0"/>
                                          </p:stCondLst>
                                        </p:cTn>
                                        <p:tgtEl>
                                          <p:spTgt spid="3105"/>
                                        </p:tgtEl>
                                        <p:attrNameLst>
                                          <p:attrName>style.visibility</p:attrName>
                                        </p:attrNameLst>
                                      </p:cBhvr>
                                      <p:to>
                                        <p:strVal val="visible"/>
                                      </p:to>
                                    </p:set>
                                    <p:anim calcmode="lin" valueType="num">
                                      <p:cBhvr>
                                        <p:cTn id="31" dur="300" fill="hold"/>
                                        <p:tgtEl>
                                          <p:spTgt spid="3105"/>
                                        </p:tgtEl>
                                        <p:attrNameLst>
                                          <p:attrName>ppt_w</p:attrName>
                                        </p:attrNameLst>
                                      </p:cBhvr>
                                      <p:tavLst>
                                        <p:tav tm="0">
                                          <p:val>
                                            <p:fltVal val="0"/>
                                          </p:val>
                                        </p:tav>
                                        <p:tav tm="100000">
                                          <p:val>
                                            <p:strVal val="#ppt_w"/>
                                          </p:val>
                                        </p:tav>
                                      </p:tavLst>
                                    </p:anim>
                                    <p:anim calcmode="lin" valueType="num">
                                      <p:cBhvr>
                                        <p:cTn id="32" dur="300" fill="hold"/>
                                        <p:tgtEl>
                                          <p:spTgt spid="3105"/>
                                        </p:tgtEl>
                                        <p:attrNameLst>
                                          <p:attrName>ppt_h</p:attrName>
                                        </p:attrNameLst>
                                      </p:cBhvr>
                                      <p:tavLst>
                                        <p:tav tm="0">
                                          <p:val>
                                            <p:fltVal val="0"/>
                                          </p:val>
                                        </p:tav>
                                        <p:tav tm="100000">
                                          <p:val>
                                            <p:strVal val="#ppt_h"/>
                                          </p:val>
                                        </p:tav>
                                      </p:tavLst>
                                    </p:anim>
                                    <p:anim calcmode="lin" valueType="num">
                                      <p:cBhvr>
                                        <p:cTn id="33" dur="300" fill="hold"/>
                                        <p:tgtEl>
                                          <p:spTgt spid="3105"/>
                                        </p:tgtEl>
                                        <p:attrNameLst>
                                          <p:attrName>ppt_x</p:attrName>
                                        </p:attrNameLst>
                                      </p:cBhvr>
                                      <p:tavLst>
                                        <p:tav tm="0">
                                          <p:val>
                                            <p:fltVal val="0.5"/>
                                          </p:val>
                                        </p:tav>
                                        <p:tav tm="100000">
                                          <p:val>
                                            <p:strVal val="#ppt_x"/>
                                          </p:val>
                                        </p:tav>
                                      </p:tavLst>
                                    </p:anim>
                                    <p:anim calcmode="lin" valueType="num">
                                      <p:cBhvr>
                                        <p:cTn id="34" dur="300" fill="hold"/>
                                        <p:tgtEl>
                                          <p:spTgt spid="3105"/>
                                        </p:tgtEl>
                                        <p:attrNameLst>
                                          <p:attrName>ppt_y</p:attrName>
                                        </p:attrNameLst>
                                      </p:cBhvr>
                                      <p:tavLst>
                                        <p:tav tm="0">
                                          <p:val>
                                            <p:fltVal val="0.5"/>
                                          </p:val>
                                        </p:tav>
                                        <p:tav tm="100000">
                                          <p:val>
                                            <p:strVal val="#ppt_y"/>
                                          </p:val>
                                        </p:tav>
                                      </p:tavLst>
                                    </p:anim>
                                  </p:childTnLst>
                                </p:cTn>
                              </p:par>
                              <p:par>
                                <p:cTn id="35" presetID="26" presetClass="emph" presetSubtype="0" fill="hold" nodeType="withEffect">
                                  <p:stCondLst>
                                    <p:cond delay="500"/>
                                  </p:stCondLst>
                                  <p:childTnLst>
                                    <p:animEffect transition="out" filter="fade">
                                      <p:cBhvr>
                                        <p:cTn id="36" dur="300" tmFilter="0, 0; .2, .5; .8, .5; 1, 0"/>
                                        <p:tgtEl>
                                          <p:spTgt spid="3105"/>
                                        </p:tgtEl>
                                      </p:cBhvr>
                                    </p:animEffect>
                                    <p:animScale>
                                      <p:cBhvr>
                                        <p:cTn id="37" dur="150" autoRev="1" fill="hold"/>
                                        <p:tgtEl>
                                          <p:spTgt spid="3105"/>
                                        </p:tgtEl>
                                      </p:cBhvr>
                                      <p:by x="105000" y="105000"/>
                                    </p:animScale>
                                  </p:childTnLst>
                                </p:cTn>
                              </p:par>
                              <p:par>
                                <p:cTn id="38" presetID="23" presetClass="entr" presetSubtype="528" fill="hold" nodeType="withEffect">
                                  <p:stCondLst>
                                    <p:cond delay="300"/>
                                  </p:stCondLst>
                                  <p:childTnLst>
                                    <p:set>
                                      <p:cBhvr>
                                        <p:cTn id="39" dur="1" fill="hold">
                                          <p:stCondLst>
                                            <p:cond delay="0"/>
                                          </p:stCondLst>
                                        </p:cTn>
                                        <p:tgtEl>
                                          <p:spTgt spid="3103"/>
                                        </p:tgtEl>
                                        <p:attrNameLst>
                                          <p:attrName>style.visibility</p:attrName>
                                        </p:attrNameLst>
                                      </p:cBhvr>
                                      <p:to>
                                        <p:strVal val="visible"/>
                                      </p:to>
                                    </p:set>
                                    <p:anim calcmode="lin" valueType="num">
                                      <p:cBhvr>
                                        <p:cTn id="40" dur="300" fill="hold"/>
                                        <p:tgtEl>
                                          <p:spTgt spid="3103"/>
                                        </p:tgtEl>
                                        <p:attrNameLst>
                                          <p:attrName>ppt_w</p:attrName>
                                        </p:attrNameLst>
                                      </p:cBhvr>
                                      <p:tavLst>
                                        <p:tav tm="0">
                                          <p:val>
                                            <p:fltVal val="0"/>
                                          </p:val>
                                        </p:tav>
                                        <p:tav tm="100000">
                                          <p:val>
                                            <p:strVal val="#ppt_w"/>
                                          </p:val>
                                        </p:tav>
                                      </p:tavLst>
                                    </p:anim>
                                    <p:anim calcmode="lin" valueType="num">
                                      <p:cBhvr>
                                        <p:cTn id="41" dur="300" fill="hold"/>
                                        <p:tgtEl>
                                          <p:spTgt spid="3103"/>
                                        </p:tgtEl>
                                        <p:attrNameLst>
                                          <p:attrName>ppt_h</p:attrName>
                                        </p:attrNameLst>
                                      </p:cBhvr>
                                      <p:tavLst>
                                        <p:tav tm="0">
                                          <p:val>
                                            <p:fltVal val="0"/>
                                          </p:val>
                                        </p:tav>
                                        <p:tav tm="100000">
                                          <p:val>
                                            <p:strVal val="#ppt_h"/>
                                          </p:val>
                                        </p:tav>
                                      </p:tavLst>
                                    </p:anim>
                                    <p:anim calcmode="lin" valueType="num">
                                      <p:cBhvr>
                                        <p:cTn id="42" dur="300" fill="hold"/>
                                        <p:tgtEl>
                                          <p:spTgt spid="3103"/>
                                        </p:tgtEl>
                                        <p:attrNameLst>
                                          <p:attrName>ppt_x</p:attrName>
                                        </p:attrNameLst>
                                      </p:cBhvr>
                                      <p:tavLst>
                                        <p:tav tm="0">
                                          <p:val>
                                            <p:fltVal val="0.5"/>
                                          </p:val>
                                        </p:tav>
                                        <p:tav tm="100000">
                                          <p:val>
                                            <p:strVal val="#ppt_x"/>
                                          </p:val>
                                        </p:tav>
                                      </p:tavLst>
                                    </p:anim>
                                    <p:anim calcmode="lin" valueType="num">
                                      <p:cBhvr>
                                        <p:cTn id="43" dur="300" fill="hold"/>
                                        <p:tgtEl>
                                          <p:spTgt spid="3103"/>
                                        </p:tgtEl>
                                        <p:attrNameLst>
                                          <p:attrName>ppt_y</p:attrName>
                                        </p:attrNameLst>
                                      </p:cBhvr>
                                      <p:tavLst>
                                        <p:tav tm="0">
                                          <p:val>
                                            <p:fltVal val="0.5"/>
                                          </p:val>
                                        </p:tav>
                                        <p:tav tm="100000">
                                          <p:val>
                                            <p:strVal val="#ppt_y"/>
                                          </p:val>
                                        </p:tav>
                                      </p:tavLst>
                                    </p:anim>
                                  </p:childTnLst>
                                </p:cTn>
                              </p:par>
                              <p:par>
                                <p:cTn id="44" presetID="26" presetClass="emph" presetSubtype="0" fill="hold" nodeType="withEffect">
                                  <p:stCondLst>
                                    <p:cond delay="600"/>
                                  </p:stCondLst>
                                  <p:childTnLst>
                                    <p:animEffect transition="out" filter="fade">
                                      <p:cBhvr>
                                        <p:cTn id="45" dur="300" tmFilter="0, 0; .2, .5; .8, .5; 1, 0"/>
                                        <p:tgtEl>
                                          <p:spTgt spid="3103"/>
                                        </p:tgtEl>
                                      </p:cBhvr>
                                    </p:animEffect>
                                    <p:animScale>
                                      <p:cBhvr>
                                        <p:cTn id="46" dur="150" autoRev="1" fill="hold"/>
                                        <p:tgtEl>
                                          <p:spTgt spid="3103"/>
                                        </p:tgtEl>
                                      </p:cBhvr>
                                      <p:by x="105000" y="105000"/>
                                    </p:animScale>
                                  </p:childTnLst>
                                </p:cTn>
                              </p:par>
                              <p:par>
                                <p:cTn id="47" presetID="23" presetClass="entr" presetSubtype="528" fill="hold" nodeType="withEffect">
                                  <p:stCondLst>
                                    <p:cond delay="400"/>
                                  </p:stCondLst>
                                  <p:childTnLst>
                                    <p:set>
                                      <p:cBhvr>
                                        <p:cTn id="48" dur="1" fill="hold">
                                          <p:stCondLst>
                                            <p:cond delay="0"/>
                                          </p:stCondLst>
                                        </p:cTn>
                                        <p:tgtEl>
                                          <p:spTgt spid="3104"/>
                                        </p:tgtEl>
                                        <p:attrNameLst>
                                          <p:attrName>style.visibility</p:attrName>
                                        </p:attrNameLst>
                                      </p:cBhvr>
                                      <p:to>
                                        <p:strVal val="visible"/>
                                      </p:to>
                                    </p:set>
                                    <p:anim calcmode="lin" valueType="num">
                                      <p:cBhvr>
                                        <p:cTn id="49" dur="300" fill="hold"/>
                                        <p:tgtEl>
                                          <p:spTgt spid="3104"/>
                                        </p:tgtEl>
                                        <p:attrNameLst>
                                          <p:attrName>ppt_w</p:attrName>
                                        </p:attrNameLst>
                                      </p:cBhvr>
                                      <p:tavLst>
                                        <p:tav tm="0">
                                          <p:val>
                                            <p:fltVal val="0"/>
                                          </p:val>
                                        </p:tav>
                                        <p:tav tm="100000">
                                          <p:val>
                                            <p:strVal val="#ppt_w"/>
                                          </p:val>
                                        </p:tav>
                                      </p:tavLst>
                                    </p:anim>
                                    <p:anim calcmode="lin" valueType="num">
                                      <p:cBhvr>
                                        <p:cTn id="50" dur="300" fill="hold"/>
                                        <p:tgtEl>
                                          <p:spTgt spid="3104"/>
                                        </p:tgtEl>
                                        <p:attrNameLst>
                                          <p:attrName>ppt_h</p:attrName>
                                        </p:attrNameLst>
                                      </p:cBhvr>
                                      <p:tavLst>
                                        <p:tav tm="0">
                                          <p:val>
                                            <p:fltVal val="0"/>
                                          </p:val>
                                        </p:tav>
                                        <p:tav tm="100000">
                                          <p:val>
                                            <p:strVal val="#ppt_h"/>
                                          </p:val>
                                        </p:tav>
                                      </p:tavLst>
                                    </p:anim>
                                    <p:anim calcmode="lin" valueType="num">
                                      <p:cBhvr>
                                        <p:cTn id="51" dur="300" fill="hold"/>
                                        <p:tgtEl>
                                          <p:spTgt spid="3104"/>
                                        </p:tgtEl>
                                        <p:attrNameLst>
                                          <p:attrName>ppt_x</p:attrName>
                                        </p:attrNameLst>
                                      </p:cBhvr>
                                      <p:tavLst>
                                        <p:tav tm="0">
                                          <p:val>
                                            <p:fltVal val="0.5"/>
                                          </p:val>
                                        </p:tav>
                                        <p:tav tm="100000">
                                          <p:val>
                                            <p:strVal val="#ppt_x"/>
                                          </p:val>
                                        </p:tav>
                                      </p:tavLst>
                                    </p:anim>
                                    <p:anim calcmode="lin" valueType="num">
                                      <p:cBhvr>
                                        <p:cTn id="52" dur="300" fill="hold"/>
                                        <p:tgtEl>
                                          <p:spTgt spid="3104"/>
                                        </p:tgtEl>
                                        <p:attrNameLst>
                                          <p:attrName>ppt_y</p:attrName>
                                        </p:attrNameLst>
                                      </p:cBhvr>
                                      <p:tavLst>
                                        <p:tav tm="0">
                                          <p:val>
                                            <p:fltVal val="0.5"/>
                                          </p:val>
                                        </p:tav>
                                        <p:tav tm="100000">
                                          <p:val>
                                            <p:strVal val="#ppt_y"/>
                                          </p:val>
                                        </p:tav>
                                      </p:tavLst>
                                    </p:anim>
                                  </p:childTnLst>
                                </p:cTn>
                              </p:par>
                              <p:par>
                                <p:cTn id="53" presetID="26" presetClass="emph" presetSubtype="0" fill="hold" nodeType="withEffect">
                                  <p:stCondLst>
                                    <p:cond delay="700"/>
                                  </p:stCondLst>
                                  <p:childTnLst>
                                    <p:animEffect transition="out" filter="fade">
                                      <p:cBhvr>
                                        <p:cTn id="54" dur="300" tmFilter="0, 0; .2, .5; .8, .5; 1, 0"/>
                                        <p:tgtEl>
                                          <p:spTgt spid="3104"/>
                                        </p:tgtEl>
                                      </p:cBhvr>
                                    </p:animEffect>
                                    <p:animScale>
                                      <p:cBhvr>
                                        <p:cTn id="55" dur="150" autoRev="1" fill="hold"/>
                                        <p:tgtEl>
                                          <p:spTgt spid="3104"/>
                                        </p:tgtEl>
                                      </p:cBhvr>
                                      <p:by x="105000" y="105000"/>
                                    </p:animScale>
                                  </p:childTnLst>
                                </p:cTn>
                              </p:par>
                              <p:par>
                                <p:cTn id="56" presetID="23" presetClass="entr" presetSubtype="528" fill="hold" nodeType="withEffect">
                                  <p:stCondLst>
                                    <p:cond delay="500"/>
                                  </p:stCondLst>
                                  <p:childTnLst>
                                    <p:set>
                                      <p:cBhvr>
                                        <p:cTn id="57" dur="1" fill="hold">
                                          <p:stCondLst>
                                            <p:cond delay="0"/>
                                          </p:stCondLst>
                                        </p:cTn>
                                        <p:tgtEl>
                                          <p:spTgt spid="3079"/>
                                        </p:tgtEl>
                                        <p:attrNameLst>
                                          <p:attrName>style.visibility</p:attrName>
                                        </p:attrNameLst>
                                      </p:cBhvr>
                                      <p:to>
                                        <p:strVal val="visible"/>
                                      </p:to>
                                    </p:set>
                                    <p:anim calcmode="lin" valueType="num">
                                      <p:cBhvr>
                                        <p:cTn id="58" dur="300" fill="hold"/>
                                        <p:tgtEl>
                                          <p:spTgt spid="3079"/>
                                        </p:tgtEl>
                                        <p:attrNameLst>
                                          <p:attrName>ppt_w</p:attrName>
                                        </p:attrNameLst>
                                      </p:cBhvr>
                                      <p:tavLst>
                                        <p:tav tm="0">
                                          <p:val>
                                            <p:fltVal val="0"/>
                                          </p:val>
                                        </p:tav>
                                        <p:tav tm="100000">
                                          <p:val>
                                            <p:strVal val="#ppt_w"/>
                                          </p:val>
                                        </p:tav>
                                      </p:tavLst>
                                    </p:anim>
                                    <p:anim calcmode="lin" valueType="num">
                                      <p:cBhvr>
                                        <p:cTn id="59" dur="300" fill="hold"/>
                                        <p:tgtEl>
                                          <p:spTgt spid="3079"/>
                                        </p:tgtEl>
                                        <p:attrNameLst>
                                          <p:attrName>ppt_h</p:attrName>
                                        </p:attrNameLst>
                                      </p:cBhvr>
                                      <p:tavLst>
                                        <p:tav tm="0">
                                          <p:val>
                                            <p:fltVal val="0"/>
                                          </p:val>
                                        </p:tav>
                                        <p:tav tm="100000">
                                          <p:val>
                                            <p:strVal val="#ppt_h"/>
                                          </p:val>
                                        </p:tav>
                                      </p:tavLst>
                                    </p:anim>
                                    <p:anim calcmode="lin" valueType="num">
                                      <p:cBhvr>
                                        <p:cTn id="60" dur="300" fill="hold"/>
                                        <p:tgtEl>
                                          <p:spTgt spid="3079"/>
                                        </p:tgtEl>
                                        <p:attrNameLst>
                                          <p:attrName>ppt_x</p:attrName>
                                        </p:attrNameLst>
                                      </p:cBhvr>
                                      <p:tavLst>
                                        <p:tav tm="0">
                                          <p:val>
                                            <p:fltVal val="0.5"/>
                                          </p:val>
                                        </p:tav>
                                        <p:tav tm="100000">
                                          <p:val>
                                            <p:strVal val="#ppt_x"/>
                                          </p:val>
                                        </p:tav>
                                      </p:tavLst>
                                    </p:anim>
                                    <p:anim calcmode="lin" valueType="num">
                                      <p:cBhvr>
                                        <p:cTn id="61" dur="300" fill="hold"/>
                                        <p:tgtEl>
                                          <p:spTgt spid="3079"/>
                                        </p:tgtEl>
                                        <p:attrNameLst>
                                          <p:attrName>ppt_y</p:attrName>
                                        </p:attrNameLst>
                                      </p:cBhvr>
                                      <p:tavLst>
                                        <p:tav tm="0">
                                          <p:val>
                                            <p:fltVal val="0.5"/>
                                          </p:val>
                                        </p:tav>
                                        <p:tav tm="100000">
                                          <p:val>
                                            <p:strVal val="#ppt_y"/>
                                          </p:val>
                                        </p:tav>
                                      </p:tavLst>
                                    </p:anim>
                                  </p:childTnLst>
                                </p:cTn>
                              </p:par>
                              <p:par>
                                <p:cTn id="62" presetID="26" presetClass="emph" presetSubtype="0" fill="hold" nodeType="withEffect">
                                  <p:stCondLst>
                                    <p:cond delay="800"/>
                                  </p:stCondLst>
                                  <p:childTnLst>
                                    <p:animEffect transition="out" filter="fade">
                                      <p:cBhvr>
                                        <p:cTn id="63" dur="300" tmFilter="0, 0; .2, .5; .8, .5; 1, 0"/>
                                        <p:tgtEl>
                                          <p:spTgt spid="3079"/>
                                        </p:tgtEl>
                                      </p:cBhvr>
                                    </p:animEffect>
                                    <p:animScale>
                                      <p:cBhvr>
                                        <p:cTn id="64" dur="150" autoRev="1" fill="hold"/>
                                        <p:tgtEl>
                                          <p:spTgt spid="3079"/>
                                        </p:tgtEl>
                                      </p:cBhvr>
                                      <p:by x="105000" y="105000"/>
                                    </p:animScale>
                                  </p:childTnLst>
                                </p:cTn>
                              </p:par>
                              <p:par>
                                <p:cTn id="65" presetID="23" presetClass="entr" presetSubtype="528" fill="hold" nodeType="withEffect">
                                  <p:stCondLst>
                                    <p:cond delay="600"/>
                                  </p:stCondLst>
                                  <p:childTnLst>
                                    <p:set>
                                      <p:cBhvr>
                                        <p:cTn id="66" dur="1" fill="hold">
                                          <p:stCondLst>
                                            <p:cond delay="0"/>
                                          </p:stCondLst>
                                        </p:cTn>
                                        <p:tgtEl>
                                          <p:spTgt spid="3096"/>
                                        </p:tgtEl>
                                        <p:attrNameLst>
                                          <p:attrName>style.visibility</p:attrName>
                                        </p:attrNameLst>
                                      </p:cBhvr>
                                      <p:to>
                                        <p:strVal val="visible"/>
                                      </p:to>
                                    </p:set>
                                    <p:anim calcmode="lin" valueType="num">
                                      <p:cBhvr>
                                        <p:cTn id="67" dur="300" fill="hold"/>
                                        <p:tgtEl>
                                          <p:spTgt spid="3096"/>
                                        </p:tgtEl>
                                        <p:attrNameLst>
                                          <p:attrName>ppt_w</p:attrName>
                                        </p:attrNameLst>
                                      </p:cBhvr>
                                      <p:tavLst>
                                        <p:tav tm="0">
                                          <p:val>
                                            <p:fltVal val="0"/>
                                          </p:val>
                                        </p:tav>
                                        <p:tav tm="100000">
                                          <p:val>
                                            <p:strVal val="#ppt_w"/>
                                          </p:val>
                                        </p:tav>
                                      </p:tavLst>
                                    </p:anim>
                                    <p:anim calcmode="lin" valueType="num">
                                      <p:cBhvr>
                                        <p:cTn id="68" dur="300" fill="hold"/>
                                        <p:tgtEl>
                                          <p:spTgt spid="3096"/>
                                        </p:tgtEl>
                                        <p:attrNameLst>
                                          <p:attrName>ppt_h</p:attrName>
                                        </p:attrNameLst>
                                      </p:cBhvr>
                                      <p:tavLst>
                                        <p:tav tm="0">
                                          <p:val>
                                            <p:fltVal val="0"/>
                                          </p:val>
                                        </p:tav>
                                        <p:tav tm="100000">
                                          <p:val>
                                            <p:strVal val="#ppt_h"/>
                                          </p:val>
                                        </p:tav>
                                      </p:tavLst>
                                    </p:anim>
                                    <p:anim calcmode="lin" valueType="num">
                                      <p:cBhvr>
                                        <p:cTn id="69" dur="300" fill="hold"/>
                                        <p:tgtEl>
                                          <p:spTgt spid="3096"/>
                                        </p:tgtEl>
                                        <p:attrNameLst>
                                          <p:attrName>ppt_x</p:attrName>
                                        </p:attrNameLst>
                                      </p:cBhvr>
                                      <p:tavLst>
                                        <p:tav tm="0">
                                          <p:val>
                                            <p:fltVal val="0.5"/>
                                          </p:val>
                                        </p:tav>
                                        <p:tav tm="100000">
                                          <p:val>
                                            <p:strVal val="#ppt_x"/>
                                          </p:val>
                                        </p:tav>
                                      </p:tavLst>
                                    </p:anim>
                                    <p:anim calcmode="lin" valueType="num">
                                      <p:cBhvr>
                                        <p:cTn id="70" dur="300" fill="hold"/>
                                        <p:tgtEl>
                                          <p:spTgt spid="3096"/>
                                        </p:tgtEl>
                                        <p:attrNameLst>
                                          <p:attrName>ppt_y</p:attrName>
                                        </p:attrNameLst>
                                      </p:cBhvr>
                                      <p:tavLst>
                                        <p:tav tm="0">
                                          <p:val>
                                            <p:fltVal val="0.5"/>
                                          </p:val>
                                        </p:tav>
                                        <p:tav tm="100000">
                                          <p:val>
                                            <p:strVal val="#ppt_y"/>
                                          </p:val>
                                        </p:tav>
                                      </p:tavLst>
                                    </p:anim>
                                  </p:childTnLst>
                                </p:cTn>
                              </p:par>
                              <p:par>
                                <p:cTn id="71" presetID="26" presetClass="emph" presetSubtype="0" fill="hold" nodeType="withEffect">
                                  <p:stCondLst>
                                    <p:cond delay="900"/>
                                  </p:stCondLst>
                                  <p:childTnLst>
                                    <p:animEffect transition="out" filter="fade">
                                      <p:cBhvr>
                                        <p:cTn id="72" dur="300" tmFilter="0, 0; .2, .5; .8, .5; 1, 0"/>
                                        <p:tgtEl>
                                          <p:spTgt spid="3096"/>
                                        </p:tgtEl>
                                      </p:cBhvr>
                                    </p:animEffect>
                                    <p:animScale>
                                      <p:cBhvr>
                                        <p:cTn id="73" dur="150" autoRev="1" fill="hold"/>
                                        <p:tgtEl>
                                          <p:spTgt spid="3096"/>
                                        </p:tgtEl>
                                      </p:cBhvr>
                                      <p:by x="105000" y="105000"/>
                                    </p:animScale>
                                  </p:childTnLst>
                                </p:cTn>
                              </p:par>
                              <p:par>
                                <p:cTn id="74" presetID="23" presetClass="entr" presetSubtype="528" fill="hold" nodeType="withEffect">
                                  <p:stCondLst>
                                    <p:cond delay="700"/>
                                  </p:stCondLst>
                                  <p:childTnLst>
                                    <p:set>
                                      <p:cBhvr>
                                        <p:cTn id="75" dur="1" fill="hold">
                                          <p:stCondLst>
                                            <p:cond delay="0"/>
                                          </p:stCondLst>
                                        </p:cTn>
                                        <p:tgtEl>
                                          <p:spTgt spid="3087"/>
                                        </p:tgtEl>
                                        <p:attrNameLst>
                                          <p:attrName>style.visibility</p:attrName>
                                        </p:attrNameLst>
                                      </p:cBhvr>
                                      <p:to>
                                        <p:strVal val="visible"/>
                                      </p:to>
                                    </p:set>
                                    <p:anim calcmode="lin" valueType="num">
                                      <p:cBhvr>
                                        <p:cTn id="76" dur="300" fill="hold"/>
                                        <p:tgtEl>
                                          <p:spTgt spid="3087"/>
                                        </p:tgtEl>
                                        <p:attrNameLst>
                                          <p:attrName>ppt_w</p:attrName>
                                        </p:attrNameLst>
                                      </p:cBhvr>
                                      <p:tavLst>
                                        <p:tav tm="0">
                                          <p:val>
                                            <p:fltVal val="0"/>
                                          </p:val>
                                        </p:tav>
                                        <p:tav tm="100000">
                                          <p:val>
                                            <p:strVal val="#ppt_w"/>
                                          </p:val>
                                        </p:tav>
                                      </p:tavLst>
                                    </p:anim>
                                    <p:anim calcmode="lin" valueType="num">
                                      <p:cBhvr>
                                        <p:cTn id="77" dur="300" fill="hold"/>
                                        <p:tgtEl>
                                          <p:spTgt spid="3087"/>
                                        </p:tgtEl>
                                        <p:attrNameLst>
                                          <p:attrName>ppt_h</p:attrName>
                                        </p:attrNameLst>
                                      </p:cBhvr>
                                      <p:tavLst>
                                        <p:tav tm="0">
                                          <p:val>
                                            <p:fltVal val="0"/>
                                          </p:val>
                                        </p:tav>
                                        <p:tav tm="100000">
                                          <p:val>
                                            <p:strVal val="#ppt_h"/>
                                          </p:val>
                                        </p:tav>
                                      </p:tavLst>
                                    </p:anim>
                                    <p:anim calcmode="lin" valueType="num">
                                      <p:cBhvr>
                                        <p:cTn id="78" dur="300" fill="hold"/>
                                        <p:tgtEl>
                                          <p:spTgt spid="3087"/>
                                        </p:tgtEl>
                                        <p:attrNameLst>
                                          <p:attrName>ppt_x</p:attrName>
                                        </p:attrNameLst>
                                      </p:cBhvr>
                                      <p:tavLst>
                                        <p:tav tm="0">
                                          <p:val>
                                            <p:fltVal val="0.5"/>
                                          </p:val>
                                        </p:tav>
                                        <p:tav tm="100000">
                                          <p:val>
                                            <p:strVal val="#ppt_x"/>
                                          </p:val>
                                        </p:tav>
                                      </p:tavLst>
                                    </p:anim>
                                    <p:anim calcmode="lin" valueType="num">
                                      <p:cBhvr>
                                        <p:cTn id="79" dur="300" fill="hold"/>
                                        <p:tgtEl>
                                          <p:spTgt spid="3087"/>
                                        </p:tgtEl>
                                        <p:attrNameLst>
                                          <p:attrName>ppt_y</p:attrName>
                                        </p:attrNameLst>
                                      </p:cBhvr>
                                      <p:tavLst>
                                        <p:tav tm="0">
                                          <p:val>
                                            <p:fltVal val="0.5"/>
                                          </p:val>
                                        </p:tav>
                                        <p:tav tm="100000">
                                          <p:val>
                                            <p:strVal val="#ppt_y"/>
                                          </p:val>
                                        </p:tav>
                                      </p:tavLst>
                                    </p:anim>
                                  </p:childTnLst>
                                </p:cTn>
                              </p:par>
                              <p:par>
                                <p:cTn id="80" presetID="26" presetClass="emph" presetSubtype="0" fill="hold" nodeType="withEffect">
                                  <p:stCondLst>
                                    <p:cond delay="1000"/>
                                  </p:stCondLst>
                                  <p:childTnLst>
                                    <p:animEffect transition="out" filter="fade">
                                      <p:cBhvr>
                                        <p:cTn id="81" dur="300" tmFilter="0, 0; .2, .5; .8, .5; 1, 0"/>
                                        <p:tgtEl>
                                          <p:spTgt spid="3087"/>
                                        </p:tgtEl>
                                      </p:cBhvr>
                                    </p:animEffect>
                                    <p:animScale>
                                      <p:cBhvr>
                                        <p:cTn id="82" dur="150" autoRev="1" fill="hold"/>
                                        <p:tgtEl>
                                          <p:spTgt spid="3087"/>
                                        </p:tgtEl>
                                      </p:cBhvr>
                                      <p:by x="105000" y="105000"/>
                                    </p:animScale>
                                  </p:childTnLst>
                                </p:cTn>
                              </p:par>
                              <p:par>
                                <p:cTn id="83" presetID="23" presetClass="entr" presetSubtype="528" fill="hold" nodeType="withEffect">
                                  <p:stCondLst>
                                    <p:cond delay="800"/>
                                  </p:stCondLst>
                                  <p:childTnLst>
                                    <p:set>
                                      <p:cBhvr>
                                        <p:cTn id="84" dur="1" fill="hold">
                                          <p:stCondLst>
                                            <p:cond delay="0"/>
                                          </p:stCondLst>
                                        </p:cTn>
                                        <p:tgtEl>
                                          <p:spTgt spid="3088"/>
                                        </p:tgtEl>
                                        <p:attrNameLst>
                                          <p:attrName>style.visibility</p:attrName>
                                        </p:attrNameLst>
                                      </p:cBhvr>
                                      <p:to>
                                        <p:strVal val="visible"/>
                                      </p:to>
                                    </p:set>
                                    <p:anim calcmode="lin" valueType="num">
                                      <p:cBhvr>
                                        <p:cTn id="85" dur="300" fill="hold"/>
                                        <p:tgtEl>
                                          <p:spTgt spid="3088"/>
                                        </p:tgtEl>
                                        <p:attrNameLst>
                                          <p:attrName>ppt_w</p:attrName>
                                        </p:attrNameLst>
                                      </p:cBhvr>
                                      <p:tavLst>
                                        <p:tav tm="0">
                                          <p:val>
                                            <p:fltVal val="0"/>
                                          </p:val>
                                        </p:tav>
                                        <p:tav tm="100000">
                                          <p:val>
                                            <p:strVal val="#ppt_w"/>
                                          </p:val>
                                        </p:tav>
                                      </p:tavLst>
                                    </p:anim>
                                    <p:anim calcmode="lin" valueType="num">
                                      <p:cBhvr>
                                        <p:cTn id="86" dur="300" fill="hold"/>
                                        <p:tgtEl>
                                          <p:spTgt spid="3088"/>
                                        </p:tgtEl>
                                        <p:attrNameLst>
                                          <p:attrName>ppt_h</p:attrName>
                                        </p:attrNameLst>
                                      </p:cBhvr>
                                      <p:tavLst>
                                        <p:tav tm="0">
                                          <p:val>
                                            <p:fltVal val="0"/>
                                          </p:val>
                                        </p:tav>
                                        <p:tav tm="100000">
                                          <p:val>
                                            <p:strVal val="#ppt_h"/>
                                          </p:val>
                                        </p:tav>
                                      </p:tavLst>
                                    </p:anim>
                                    <p:anim calcmode="lin" valueType="num">
                                      <p:cBhvr>
                                        <p:cTn id="87" dur="300" fill="hold"/>
                                        <p:tgtEl>
                                          <p:spTgt spid="3088"/>
                                        </p:tgtEl>
                                        <p:attrNameLst>
                                          <p:attrName>ppt_x</p:attrName>
                                        </p:attrNameLst>
                                      </p:cBhvr>
                                      <p:tavLst>
                                        <p:tav tm="0">
                                          <p:val>
                                            <p:fltVal val="0.5"/>
                                          </p:val>
                                        </p:tav>
                                        <p:tav tm="100000">
                                          <p:val>
                                            <p:strVal val="#ppt_x"/>
                                          </p:val>
                                        </p:tav>
                                      </p:tavLst>
                                    </p:anim>
                                    <p:anim calcmode="lin" valueType="num">
                                      <p:cBhvr>
                                        <p:cTn id="88" dur="300" fill="hold"/>
                                        <p:tgtEl>
                                          <p:spTgt spid="3088"/>
                                        </p:tgtEl>
                                        <p:attrNameLst>
                                          <p:attrName>ppt_y</p:attrName>
                                        </p:attrNameLst>
                                      </p:cBhvr>
                                      <p:tavLst>
                                        <p:tav tm="0">
                                          <p:val>
                                            <p:fltVal val="0.5"/>
                                          </p:val>
                                        </p:tav>
                                        <p:tav tm="100000">
                                          <p:val>
                                            <p:strVal val="#ppt_y"/>
                                          </p:val>
                                        </p:tav>
                                      </p:tavLst>
                                    </p:anim>
                                  </p:childTnLst>
                                </p:cTn>
                              </p:par>
                              <p:par>
                                <p:cTn id="89" presetID="26" presetClass="emph" presetSubtype="0" fill="hold" nodeType="withEffect">
                                  <p:stCondLst>
                                    <p:cond delay="1100"/>
                                  </p:stCondLst>
                                  <p:childTnLst>
                                    <p:animEffect transition="out" filter="fade">
                                      <p:cBhvr>
                                        <p:cTn id="90" dur="300" tmFilter="0, 0; .2, .5; .8, .5; 1, 0"/>
                                        <p:tgtEl>
                                          <p:spTgt spid="3088"/>
                                        </p:tgtEl>
                                      </p:cBhvr>
                                    </p:animEffect>
                                    <p:animScale>
                                      <p:cBhvr>
                                        <p:cTn id="91" dur="150" autoRev="1" fill="hold"/>
                                        <p:tgtEl>
                                          <p:spTgt spid="3088"/>
                                        </p:tgtEl>
                                      </p:cBhvr>
                                      <p:by x="105000" y="105000"/>
                                    </p:animScale>
                                  </p:childTnLst>
                                </p:cTn>
                              </p:par>
                              <p:par>
                                <p:cTn id="92" presetID="23" presetClass="entr" presetSubtype="528" fill="hold" nodeType="withEffect">
                                  <p:stCondLst>
                                    <p:cond delay="900"/>
                                  </p:stCondLst>
                                  <p:childTnLst>
                                    <p:set>
                                      <p:cBhvr>
                                        <p:cTn id="93" dur="1" fill="hold">
                                          <p:stCondLst>
                                            <p:cond delay="0"/>
                                          </p:stCondLst>
                                        </p:cTn>
                                        <p:tgtEl>
                                          <p:spTgt spid="3092"/>
                                        </p:tgtEl>
                                        <p:attrNameLst>
                                          <p:attrName>style.visibility</p:attrName>
                                        </p:attrNameLst>
                                      </p:cBhvr>
                                      <p:to>
                                        <p:strVal val="visible"/>
                                      </p:to>
                                    </p:set>
                                    <p:anim calcmode="lin" valueType="num">
                                      <p:cBhvr>
                                        <p:cTn id="94" dur="300" fill="hold"/>
                                        <p:tgtEl>
                                          <p:spTgt spid="3092"/>
                                        </p:tgtEl>
                                        <p:attrNameLst>
                                          <p:attrName>ppt_w</p:attrName>
                                        </p:attrNameLst>
                                      </p:cBhvr>
                                      <p:tavLst>
                                        <p:tav tm="0">
                                          <p:val>
                                            <p:fltVal val="0"/>
                                          </p:val>
                                        </p:tav>
                                        <p:tav tm="100000">
                                          <p:val>
                                            <p:strVal val="#ppt_w"/>
                                          </p:val>
                                        </p:tav>
                                      </p:tavLst>
                                    </p:anim>
                                    <p:anim calcmode="lin" valueType="num">
                                      <p:cBhvr>
                                        <p:cTn id="95" dur="300" fill="hold"/>
                                        <p:tgtEl>
                                          <p:spTgt spid="3092"/>
                                        </p:tgtEl>
                                        <p:attrNameLst>
                                          <p:attrName>ppt_h</p:attrName>
                                        </p:attrNameLst>
                                      </p:cBhvr>
                                      <p:tavLst>
                                        <p:tav tm="0">
                                          <p:val>
                                            <p:fltVal val="0"/>
                                          </p:val>
                                        </p:tav>
                                        <p:tav tm="100000">
                                          <p:val>
                                            <p:strVal val="#ppt_h"/>
                                          </p:val>
                                        </p:tav>
                                      </p:tavLst>
                                    </p:anim>
                                    <p:anim calcmode="lin" valueType="num">
                                      <p:cBhvr>
                                        <p:cTn id="96" dur="300" fill="hold"/>
                                        <p:tgtEl>
                                          <p:spTgt spid="3092"/>
                                        </p:tgtEl>
                                        <p:attrNameLst>
                                          <p:attrName>ppt_x</p:attrName>
                                        </p:attrNameLst>
                                      </p:cBhvr>
                                      <p:tavLst>
                                        <p:tav tm="0">
                                          <p:val>
                                            <p:fltVal val="0.5"/>
                                          </p:val>
                                        </p:tav>
                                        <p:tav tm="100000">
                                          <p:val>
                                            <p:strVal val="#ppt_x"/>
                                          </p:val>
                                        </p:tav>
                                      </p:tavLst>
                                    </p:anim>
                                    <p:anim calcmode="lin" valueType="num">
                                      <p:cBhvr>
                                        <p:cTn id="97" dur="300" fill="hold"/>
                                        <p:tgtEl>
                                          <p:spTgt spid="3092"/>
                                        </p:tgtEl>
                                        <p:attrNameLst>
                                          <p:attrName>ppt_y</p:attrName>
                                        </p:attrNameLst>
                                      </p:cBhvr>
                                      <p:tavLst>
                                        <p:tav tm="0">
                                          <p:val>
                                            <p:fltVal val="0.5"/>
                                          </p:val>
                                        </p:tav>
                                        <p:tav tm="100000">
                                          <p:val>
                                            <p:strVal val="#ppt_y"/>
                                          </p:val>
                                        </p:tav>
                                      </p:tavLst>
                                    </p:anim>
                                  </p:childTnLst>
                                </p:cTn>
                              </p:par>
                              <p:par>
                                <p:cTn id="98" presetID="26" presetClass="emph" presetSubtype="0" fill="hold" nodeType="withEffect">
                                  <p:stCondLst>
                                    <p:cond delay="1200"/>
                                  </p:stCondLst>
                                  <p:childTnLst>
                                    <p:animEffect transition="out" filter="fade">
                                      <p:cBhvr>
                                        <p:cTn id="99" dur="300" tmFilter="0, 0; .2, .5; .8, .5; 1, 0"/>
                                        <p:tgtEl>
                                          <p:spTgt spid="3092"/>
                                        </p:tgtEl>
                                      </p:cBhvr>
                                    </p:animEffect>
                                    <p:animScale>
                                      <p:cBhvr>
                                        <p:cTn id="100" dur="150" autoRev="1" fill="hold"/>
                                        <p:tgtEl>
                                          <p:spTgt spid="3092"/>
                                        </p:tgtEl>
                                      </p:cBhvr>
                                      <p:by x="105000" y="105000"/>
                                    </p:animScale>
                                  </p:childTnLst>
                                </p:cTn>
                              </p:par>
                              <p:par>
                                <p:cTn id="101" presetID="23" presetClass="entr" presetSubtype="528" fill="hold" nodeType="withEffect">
                                  <p:stCondLst>
                                    <p:cond delay="1000"/>
                                  </p:stCondLst>
                                  <p:childTnLst>
                                    <p:set>
                                      <p:cBhvr>
                                        <p:cTn id="102" dur="1" fill="hold">
                                          <p:stCondLst>
                                            <p:cond delay="0"/>
                                          </p:stCondLst>
                                        </p:cTn>
                                        <p:tgtEl>
                                          <p:spTgt spid="3098"/>
                                        </p:tgtEl>
                                        <p:attrNameLst>
                                          <p:attrName>style.visibility</p:attrName>
                                        </p:attrNameLst>
                                      </p:cBhvr>
                                      <p:to>
                                        <p:strVal val="visible"/>
                                      </p:to>
                                    </p:set>
                                    <p:anim calcmode="lin" valueType="num">
                                      <p:cBhvr>
                                        <p:cTn id="103" dur="300" fill="hold"/>
                                        <p:tgtEl>
                                          <p:spTgt spid="3098"/>
                                        </p:tgtEl>
                                        <p:attrNameLst>
                                          <p:attrName>ppt_w</p:attrName>
                                        </p:attrNameLst>
                                      </p:cBhvr>
                                      <p:tavLst>
                                        <p:tav tm="0">
                                          <p:val>
                                            <p:fltVal val="0"/>
                                          </p:val>
                                        </p:tav>
                                        <p:tav tm="100000">
                                          <p:val>
                                            <p:strVal val="#ppt_w"/>
                                          </p:val>
                                        </p:tav>
                                      </p:tavLst>
                                    </p:anim>
                                    <p:anim calcmode="lin" valueType="num">
                                      <p:cBhvr>
                                        <p:cTn id="104" dur="300" fill="hold"/>
                                        <p:tgtEl>
                                          <p:spTgt spid="3098"/>
                                        </p:tgtEl>
                                        <p:attrNameLst>
                                          <p:attrName>ppt_h</p:attrName>
                                        </p:attrNameLst>
                                      </p:cBhvr>
                                      <p:tavLst>
                                        <p:tav tm="0">
                                          <p:val>
                                            <p:fltVal val="0"/>
                                          </p:val>
                                        </p:tav>
                                        <p:tav tm="100000">
                                          <p:val>
                                            <p:strVal val="#ppt_h"/>
                                          </p:val>
                                        </p:tav>
                                      </p:tavLst>
                                    </p:anim>
                                    <p:anim calcmode="lin" valueType="num">
                                      <p:cBhvr>
                                        <p:cTn id="105" dur="300" fill="hold"/>
                                        <p:tgtEl>
                                          <p:spTgt spid="3098"/>
                                        </p:tgtEl>
                                        <p:attrNameLst>
                                          <p:attrName>ppt_x</p:attrName>
                                        </p:attrNameLst>
                                      </p:cBhvr>
                                      <p:tavLst>
                                        <p:tav tm="0">
                                          <p:val>
                                            <p:fltVal val="0.5"/>
                                          </p:val>
                                        </p:tav>
                                        <p:tav tm="100000">
                                          <p:val>
                                            <p:strVal val="#ppt_x"/>
                                          </p:val>
                                        </p:tav>
                                      </p:tavLst>
                                    </p:anim>
                                    <p:anim calcmode="lin" valueType="num">
                                      <p:cBhvr>
                                        <p:cTn id="106" dur="300" fill="hold"/>
                                        <p:tgtEl>
                                          <p:spTgt spid="3098"/>
                                        </p:tgtEl>
                                        <p:attrNameLst>
                                          <p:attrName>ppt_y</p:attrName>
                                        </p:attrNameLst>
                                      </p:cBhvr>
                                      <p:tavLst>
                                        <p:tav tm="0">
                                          <p:val>
                                            <p:fltVal val="0.5"/>
                                          </p:val>
                                        </p:tav>
                                        <p:tav tm="100000">
                                          <p:val>
                                            <p:strVal val="#ppt_y"/>
                                          </p:val>
                                        </p:tav>
                                      </p:tavLst>
                                    </p:anim>
                                  </p:childTnLst>
                                </p:cTn>
                              </p:par>
                              <p:par>
                                <p:cTn id="107" presetID="26" presetClass="emph" presetSubtype="0" fill="hold" nodeType="withEffect">
                                  <p:stCondLst>
                                    <p:cond delay="1300"/>
                                  </p:stCondLst>
                                  <p:childTnLst>
                                    <p:animEffect transition="out" filter="fade">
                                      <p:cBhvr>
                                        <p:cTn id="108" dur="300" tmFilter="0, 0; .2, .5; .8, .5; 1, 0"/>
                                        <p:tgtEl>
                                          <p:spTgt spid="3098"/>
                                        </p:tgtEl>
                                      </p:cBhvr>
                                    </p:animEffect>
                                    <p:animScale>
                                      <p:cBhvr>
                                        <p:cTn id="109" dur="150" autoRev="1" fill="hold"/>
                                        <p:tgtEl>
                                          <p:spTgt spid="3098"/>
                                        </p:tgtEl>
                                      </p:cBhvr>
                                      <p:by x="105000" y="105000"/>
                                    </p:animScale>
                                  </p:childTnLst>
                                </p:cTn>
                              </p:par>
                              <p:par>
                                <p:cTn id="110" presetID="23" presetClass="entr" presetSubtype="528" fill="hold" nodeType="withEffect">
                                  <p:stCondLst>
                                    <p:cond delay="1100"/>
                                  </p:stCondLst>
                                  <p:childTnLst>
                                    <p:set>
                                      <p:cBhvr>
                                        <p:cTn id="111" dur="1" fill="hold">
                                          <p:stCondLst>
                                            <p:cond delay="0"/>
                                          </p:stCondLst>
                                        </p:cTn>
                                        <p:tgtEl>
                                          <p:spTgt spid="3085"/>
                                        </p:tgtEl>
                                        <p:attrNameLst>
                                          <p:attrName>style.visibility</p:attrName>
                                        </p:attrNameLst>
                                      </p:cBhvr>
                                      <p:to>
                                        <p:strVal val="visible"/>
                                      </p:to>
                                    </p:set>
                                    <p:anim calcmode="lin" valueType="num">
                                      <p:cBhvr>
                                        <p:cTn id="112" dur="300" fill="hold"/>
                                        <p:tgtEl>
                                          <p:spTgt spid="3085"/>
                                        </p:tgtEl>
                                        <p:attrNameLst>
                                          <p:attrName>ppt_w</p:attrName>
                                        </p:attrNameLst>
                                      </p:cBhvr>
                                      <p:tavLst>
                                        <p:tav tm="0">
                                          <p:val>
                                            <p:fltVal val="0"/>
                                          </p:val>
                                        </p:tav>
                                        <p:tav tm="100000">
                                          <p:val>
                                            <p:strVal val="#ppt_w"/>
                                          </p:val>
                                        </p:tav>
                                      </p:tavLst>
                                    </p:anim>
                                    <p:anim calcmode="lin" valueType="num">
                                      <p:cBhvr>
                                        <p:cTn id="113" dur="300" fill="hold"/>
                                        <p:tgtEl>
                                          <p:spTgt spid="3085"/>
                                        </p:tgtEl>
                                        <p:attrNameLst>
                                          <p:attrName>ppt_h</p:attrName>
                                        </p:attrNameLst>
                                      </p:cBhvr>
                                      <p:tavLst>
                                        <p:tav tm="0">
                                          <p:val>
                                            <p:fltVal val="0"/>
                                          </p:val>
                                        </p:tav>
                                        <p:tav tm="100000">
                                          <p:val>
                                            <p:strVal val="#ppt_h"/>
                                          </p:val>
                                        </p:tav>
                                      </p:tavLst>
                                    </p:anim>
                                    <p:anim calcmode="lin" valueType="num">
                                      <p:cBhvr>
                                        <p:cTn id="114" dur="300" fill="hold"/>
                                        <p:tgtEl>
                                          <p:spTgt spid="3085"/>
                                        </p:tgtEl>
                                        <p:attrNameLst>
                                          <p:attrName>ppt_x</p:attrName>
                                        </p:attrNameLst>
                                      </p:cBhvr>
                                      <p:tavLst>
                                        <p:tav tm="0">
                                          <p:val>
                                            <p:fltVal val="0.5"/>
                                          </p:val>
                                        </p:tav>
                                        <p:tav tm="100000">
                                          <p:val>
                                            <p:strVal val="#ppt_x"/>
                                          </p:val>
                                        </p:tav>
                                      </p:tavLst>
                                    </p:anim>
                                    <p:anim calcmode="lin" valueType="num">
                                      <p:cBhvr>
                                        <p:cTn id="115" dur="300" fill="hold"/>
                                        <p:tgtEl>
                                          <p:spTgt spid="3085"/>
                                        </p:tgtEl>
                                        <p:attrNameLst>
                                          <p:attrName>ppt_y</p:attrName>
                                        </p:attrNameLst>
                                      </p:cBhvr>
                                      <p:tavLst>
                                        <p:tav tm="0">
                                          <p:val>
                                            <p:fltVal val="0.5"/>
                                          </p:val>
                                        </p:tav>
                                        <p:tav tm="100000">
                                          <p:val>
                                            <p:strVal val="#ppt_y"/>
                                          </p:val>
                                        </p:tav>
                                      </p:tavLst>
                                    </p:anim>
                                  </p:childTnLst>
                                </p:cTn>
                              </p:par>
                              <p:par>
                                <p:cTn id="116" presetID="26" presetClass="emph" presetSubtype="0" fill="hold" nodeType="withEffect">
                                  <p:stCondLst>
                                    <p:cond delay="1400"/>
                                  </p:stCondLst>
                                  <p:childTnLst>
                                    <p:animEffect transition="out" filter="fade">
                                      <p:cBhvr>
                                        <p:cTn id="117" dur="300" tmFilter="0, 0; .2, .5; .8, .5; 1, 0"/>
                                        <p:tgtEl>
                                          <p:spTgt spid="3085"/>
                                        </p:tgtEl>
                                      </p:cBhvr>
                                    </p:animEffect>
                                    <p:animScale>
                                      <p:cBhvr>
                                        <p:cTn id="118" dur="150" autoRev="1" fill="hold"/>
                                        <p:tgtEl>
                                          <p:spTgt spid="3085"/>
                                        </p:tgtEl>
                                      </p:cBhvr>
                                      <p:by x="105000" y="105000"/>
                                    </p:animScale>
                                  </p:childTnLst>
                                </p:cTn>
                              </p:par>
                              <p:par>
                                <p:cTn id="119" presetID="23" presetClass="entr" presetSubtype="528" fill="hold" nodeType="withEffect">
                                  <p:stCondLst>
                                    <p:cond delay="1200"/>
                                  </p:stCondLst>
                                  <p:childTnLst>
                                    <p:set>
                                      <p:cBhvr>
                                        <p:cTn id="120" dur="1" fill="hold">
                                          <p:stCondLst>
                                            <p:cond delay="0"/>
                                          </p:stCondLst>
                                        </p:cTn>
                                        <p:tgtEl>
                                          <p:spTgt spid="3110"/>
                                        </p:tgtEl>
                                        <p:attrNameLst>
                                          <p:attrName>style.visibility</p:attrName>
                                        </p:attrNameLst>
                                      </p:cBhvr>
                                      <p:to>
                                        <p:strVal val="visible"/>
                                      </p:to>
                                    </p:set>
                                    <p:anim calcmode="lin" valueType="num">
                                      <p:cBhvr>
                                        <p:cTn id="121" dur="300" fill="hold"/>
                                        <p:tgtEl>
                                          <p:spTgt spid="3110"/>
                                        </p:tgtEl>
                                        <p:attrNameLst>
                                          <p:attrName>ppt_w</p:attrName>
                                        </p:attrNameLst>
                                      </p:cBhvr>
                                      <p:tavLst>
                                        <p:tav tm="0">
                                          <p:val>
                                            <p:fltVal val="0"/>
                                          </p:val>
                                        </p:tav>
                                        <p:tav tm="100000">
                                          <p:val>
                                            <p:strVal val="#ppt_w"/>
                                          </p:val>
                                        </p:tav>
                                      </p:tavLst>
                                    </p:anim>
                                    <p:anim calcmode="lin" valueType="num">
                                      <p:cBhvr>
                                        <p:cTn id="122" dur="300" fill="hold"/>
                                        <p:tgtEl>
                                          <p:spTgt spid="3110"/>
                                        </p:tgtEl>
                                        <p:attrNameLst>
                                          <p:attrName>ppt_h</p:attrName>
                                        </p:attrNameLst>
                                      </p:cBhvr>
                                      <p:tavLst>
                                        <p:tav tm="0">
                                          <p:val>
                                            <p:fltVal val="0"/>
                                          </p:val>
                                        </p:tav>
                                        <p:tav tm="100000">
                                          <p:val>
                                            <p:strVal val="#ppt_h"/>
                                          </p:val>
                                        </p:tav>
                                      </p:tavLst>
                                    </p:anim>
                                    <p:anim calcmode="lin" valueType="num">
                                      <p:cBhvr>
                                        <p:cTn id="123" dur="300" fill="hold"/>
                                        <p:tgtEl>
                                          <p:spTgt spid="3110"/>
                                        </p:tgtEl>
                                        <p:attrNameLst>
                                          <p:attrName>ppt_x</p:attrName>
                                        </p:attrNameLst>
                                      </p:cBhvr>
                                      <p:tavLst>
                                        <p:tav tm="0">
                                          <p:val>
                                            <p:fltVal val="0.5"/>
                                          </p:val>
                                        </p:tav>
                                        <p:tav tm="100000">
                                          <p:val>
                                            <p:strVal val="#ppt_x"/>
                                          </p:val>
                                        </p:tav>
                                      </p:tavLst>
                                    </p:anim>
                                    <p:anim calcmode="lin" valueType="num">
                                      <p:cBhvr>
                                        <p:cTn id="124" dur="300" fill="hold"/>
                                        <p:tgtEl>
                                          <p:spTgt spid="3110"/>
                                        </p:tgtEl>
                                        <p:attrNameLst>
                                          <p:attrName>ppt_y</p:attrName>
                                        </p:attrNameLst>
                                      </p:cBhvr>
                                      <p:tavLst>
                                        <p:tav tm="0">
                                          <p:val>
                                            <p:fltVal val="0.5"/>
                                          </p:val>
                                        </p:tav>
                                        <p:tav tm="100000">
                                          <p:val>
                                            <p:strVal val="#ppt_y"/>
                                          </p:val>
                                        </p:tav>
                                      </p:tavLst>
                                    </p:anim>
                                  </p:childTnLst>
                                </p:cTn>
                              </p:par>
                              <p:par>
                                <p:cTn id="125" presetID="26" presetClass="emph" presetSubtype="0" fill="hold" nodeType="withEffect">
                                  <p:stCondLst>
                                    <p:cond delay="1500"/>
                                  </p:stCondLst>
                                  <p:childTnLst>
                                    <p:animEffect transition="out" filter="fade">
                                      <p:cBhvr>
                                        <p:cTn id="126" dur="300" tmFilter="0, 0; .2, .5; .8, .5; 1, 0"/>
                                        <p:tgtEl>
                                          <p:spTgt spid="3110"/>
                                        </p:tgtEl>
                                      </p:cBhvr>
                                    </p:animEffect>
                                    <p:animScale>
                                      <p:cBhvr>
                                        <p:cTn id="127" dur="150" autoRev="1" fill="hold"/>
                                        <p:tgtEl>
                                          <p:spTgt spid="3110"/>
                                        </p:tgtEl>
                                      </p:cBhvr>
                                      <p:by x="105000" y="105000"/>
                                    </p:animScale>
                                  </p:childTnLst>
                                </p:cTn>
                              </p:par>
                              <p:par>
                                <p:cTn id="128" presetID="23" presetClass="entr" presetSubtype="528" fill="hold" nodeType="withEffect">
                                  <p:stCondLst>
                                    <p:cond delay="1300"/>
                                  </p:stCondLst>
                                  <p:childTnLst>
                                    <p:set>
                                      <p:cBhvr>
                                        <p:cTn id="129" dur="1" fill="hold">
                                          <p:stCondLst>
                                            <p:cond delay="0"/>
                                          </p:stCondLst>
                                        </p:cTn>
                                        <p:tgtEl>
                                          <p:spTgt spid="3097"/>
                                        </p:tgtEl>
                                        <p:attrNameLst>
                                          <p:attrName>style.visibility</p:attrName>
                                        </p:attrNameLst>
                                      </p:cBhvr>
                                      <p:to>
                                        <p:strVal val="visible"/>
                                      </p:to>
                                    </p:set>
                                    <p:anim calcmode="lin" valueType="num">
                                      <p:cBhvr>
                                        <p:cTn id="130" dur="300" fill="hold"/>
                                        <p:tgtEl>
                                          <p:spTgt spid="3097"/>
                                        </p:tgtEl>
                                        <p:attrNameLst>
                                          <p:attrName>ppt_w</p:attrName>
                                        </p:attrNameLst>
                                      </p:cBhvr>
                                      <p:tavLst>
                                        <p:tav tm="0">
                                          <p:val>
                                            <p:fltVal val="0"/>
                                          </p:val>
                                        </p:tav>
                                        <p:tav tm="100000">
                                          <p:val>
                                            <p:strVal val="#ppt_w"/>
                                          </p:val>
                                        </p:tav>
                                      </p:tavLst>
                                    </p:anim>
                                    <p:anim calcmode="lin" valueType="num">
                                      <p:cBhvr>
                                        <p:cTn id="131" dur="300" fill="hold"/>
                                        <p:tgtEl>
                                          <p:spTgt spid="3097"/>
                                        </p:tgtEl>
                                        <p:attrNameLst>
                                          <p:attrName>ppt_h</p:attrName>
                                        </p:attrNameLst>
                                      </p:cBhvr>
                                      <p:tavLst>
                                        <p:tav tm="0">
                                          <p:val>
                                            <p:fltVal val="0"/>
                                          </p:val>
                                        </p:tav>
                                        <p:tav tm="100000">
                                          <p:val>
                                            <p:strVal val="#ppt_h"/>
                                          </p:val>
                                        </p:tav>
                                      </p:tavLst>
                                    </p:anim>
                                    <p:anim calcmode="lin" valueType="num">
                                      <p:cBhvr>
                                        <p:cTn id="132" dur="300" fill="hold"/>
                                        <p:tgtEl>
                                          <p:spTgt spid="3097"/>
                                        </p:tgtEl>
                                        <p:attrNameLst>
                                          <p:attrName>ppt_x</p:attrName>
                                        </p:attrNameLst>
                                      </p:cBhvr>
                                      <p:tavLst>
                                        <p:tav tm="0">
                                          <p:val>
                                            <p:fltVal val="0.5"/>
                                          </p:val>
                                        </p:tav>
                                        <p:tav tm="100000">
                                          <p:val>
                                            <p:strVal val="#ppt_x"/>
                                          </p:val>
                                        </p:tav>
                                      </p:tavLst>
                                    </p:anim>
                                    <p:anim calcmode="lin" valueType="num">
                                      <p:cBhvr>
                                        <p:cTn id="133" dur="300" fill="hold"/>
                                        <p:tgtEl>
                                          <p:spTgt spid="3097"/>
                                        </p:tgtEl>
                                        <p:attrNameLst>
                                          <p:attrName>ppt_y</p:attrName>
                                        </p:attrNameLst>
                                      </p:cBhvr>
                                      <p:tavLst>
                                        <p:tav tm="0">
                                          <p:val>
                                            <p:fltVal val="0.5"/>
                                          </p:val>
                                        </p:tav>
                                        <p:tav tm="100000">
                                          <p:val>
                                            <p:strVal val="#ppt_y"/>
                                          </p:val>
                                        </p:tav>
                                      </p:tavLst>
                                    </p:anim>
                                  </p:childTnLst>
                                </p:cTn>
                              </p:par>
                              <p:par>
                                <p:cTn id="134" presetID="26" presetClass="emph" presetSubtype="0" fill="hold" nodeType="withEffect">
                                  <p:stCondLst>
                                    <p:cond delay="1600"/>
                                  </p:stCondLst>
                                  <p:childTnLst>
                                    <p:animEffect transition="out" filter="fade">
                                      <p:cBhvr>
                                        <p:cTn id="135" dur="300" tmFilter="0, 0; .2, .5; .8, .5; 1, 0"/>
                                        <p:tgtEl>
                                          <p:spTgt spid="3097"/>
                                        </p:tgtEl>
                                      </p:cBhvr>
                                    </p:animEffect>
                                    <p:animScale>
                                      <p:cBhvr>
                                        <p:cTn id="136" dur="150" autoRev="1" fill="hold"/>
                                        <p:tgtEl>
                                          <p:spTgt spid="3097"/>
                                        </p:tgtEl>
                                      </p:cBhvr>
                                      <p:by x="105000" y="105000"/>
                                    </p:animScale>
                                  </p:childTnLst>
                                </p:cTn>
                              </p:par>
                              <p:par>
                                <p:cTn id="137" presetID="23" presetClass="entr" presetSubtype="528" fill="hold" nodeType="withEffect">
                                  <p:stCondLst>
                                    <p:cond delay="1400"/>
                                  </p:stCondLst>
                                  <p:childTnLst>
                                    <p:set>
                                      <p:cBhvr>
                                        <p:cTn id="138" dur="1" fill="hold">
                                          <p:stCondLst>
                                            <p:cond delay="0"/>
                                          </p:stCondLst>
                                        </p:cTn>
                                        <p:tgtEl>
                                          <p:spTgt spid="3111"/>
                                        </p:tgtEl>
                                        <p:attrNameLst>
                                          <p:attrName>style.visibility</p:attrName>
                                        </p:attrNameLst>
                                      </p:cBhvr>
                                      <p:to>
                                        <p:strVal val="visible"/>
                                      </p:to>
                                    </p:set>
                                    <p:anim calcmode="lin" valueType="num">
                                      <p:cBhvr>
                                        <p:cTn id="139" dur="300" fill="hold"/>
                                        <p:tgtEl>
                                          <p:spTgt spid="3111"/>
                                        </p:tgtEl>
                                        <p:attrNameLst>
                                          <p:attrName>ppt_w</p:attrName>
                                        </p:attrNameLst>
                                      </p:cBhvr>
                                      <p:tavLst>
                                        <p:tav tm="0">
                                          <p:val>
                                            <p:fltVal val="0"/>
                                          </p:val>
                                        </p:tav>
                                        <p:tav tm="100000">
                                          <p:val>
                                            <p:strVal val="#ppt_w"/>
                                          </p:val>
                                        </p:tav>
                                      </p:tavLst>
                                    </p:anim>
                                    <p:anim calcmode="lin" valueType="num">
                                      <p:cBhvr>
                                        <p:cTn id="140" dur="300" fill="hold"/>
                                        <p:tgtEl>
                                          <p:spTgt spid="3111"/>
                                        </p:tgtEl>
                                        <p:attrNameLst>
                                          <p:attrName>ppt_h</p:attrName>
                                        </p:attrNameLst>
                                      </p:cBhvr>
                                      <p:tavLst>
                                        <p:tav tm="0">
                                          <p:val>
                                            <p:fltVal val="0"/>
                                          </p:val>
                                        </p:tav>
                                        <p:tav tm="100000">
                                          <p:val>
                                            <p:strVal val="#ppt_h"/>
                                          </p:val>
                                        </p:tav>
                                      </p:tavLst>
                                    </p:anim>
                                    <p:anim calcmode="lin" valueType="num">
                                      <p:cBhvr>
                                        <p:cTn id="141" dur="300" fill="hold"/>
                                        <p:tgtEl>
                                          <p:spTgt spid="3111"/>
                                        </p:tgtEl>
                                        <p:attrNameLst>
                                          <p:attrName>ppt_x</p:attrName>
                                        </p:attrNameLst>
                                      </p:cBhvr>
                                      <p:tavLst>
                                        <p:tav tm="0">
                                          <p:val>
                                            <p:fltVal val="0.5"/>
                                          </p:val>
                                        </p:tav>
                                        <p:tav tm="100000">
                                          <p:val>
                                            <p:strVal val="#ppt_x"/>
                                          </p:val>
                                        </p:tav>
                                      </p:tavLst>
                                    </p:anim>
                                    <p:anim calcmode="lin" valueType="num">
                                      <p:cBhvr>
                                        <p:cTn id="142" dur="300" fill="hold"/>
                                        <p:tgtEl>
                                          <p:spTgt spid="3111"/>
                                        </p:tgtEl>
                                        <p:attrNameLst>
                                          <p:attrName>ppt_y</p:attrName>
                                        </p:attrNameLst>
                                      </p:cBhvr>
                                      <p:tavLst>
                                        <p:tav tm="0">
                                          <p:val>
                                            <p:fltVal val="0.5"/>
                                          </p:val>
                                        </p:tav>
                                        <p:tav tm="100000">
                                          <p:val>
                                            <p:strVal val="#ppt_y"/>
                                          </p:val>
                                        </p:tav>
                                      </p:tavLst>
                                    </p:anim>
                                  </p:childTnLst>
                                </p:cTn>
                              </p:par>
                              <p:par>
                                <p:cTn id="143" presetID="26" presetClass="emph" presetSubtype="0" fill="hold" nodeType="withEffect">
                                  <p:stCondLst>
                                    <p:cond delay="1700"/>
                                  </p:stCondLst>
                                  <p:childTnLst>
                                    <p:animEffect transition="out" filter="fade">
                                      <p:cBhvr>
                                        <p:cTn id="144" dur="300" tmFilter="0, 0; .2, .5; .8, .5; 1, 0"/>
                                        <p:tgtEl>
                                          <p:spTgt spid="3111"/>
                                        </p:tgtEl>
                                      </p:cBhvr>
                                    </p:animEffect>
                                    <p:animScale>
                                      <p:cBhvr>
                                        <p:cTn id="145" dur="150" autoRev="1" fill="hold"/>
                                        <p:tgtEl>
                                          <p:spTgt spid="3111"/>
                                        </p:tgtEl>
                                      </p:cBhvr>
                                      <p:by x="105000" y="105000"/>
                                    </p:animScale>
                                  </p:childTnLst>
                                </p:cTn>
                              </p:par>
                              <p:par>
                                <p:cTn id="146" presetID="23" presetClass="entr" presetSubtype="528" fill="hold" nodeType="withEffect">
                                  <p:stCondLst>
                                    <p:cond delay="1500"/>
                                  </p:stCondLst>
                                  <p:childTnLst>
                                    <p:set>
                                      <p:cBhvr>
                                        <p:cTn id="147" dur="1" fill="hold">
                                          <p:stCondLst>
                                            <p:cond delay="0"/>
                                          </p:stCondLst>
                                        </p:cTn>
                                        <p:tgtEl>
                                          <p:spTgt spid="3099"/>
                                        </p:tgtEl>
                                        <p:attrNameLst>
                                          <p:attrName>style.visibility</p:attrName>
                                        </p:attrNameLst>
                                      </p:cBhvr>
                                      <p:to>
                                        <p:strVal val="visible"/>
                                      </p:to>
                                    </p:set>
                                    <p:anim calcmode="lin" valueType="num">
                                      <p:cBhvr>
                                        <p:cTn id="148" dur="300" fill="hold"/>
                                        <p:tgtEl>
                                          <p:spTgt spid="3099"/>
                                        </p:tgtEl>
                                        <p:attrNameLst>
                                          <p:attrName>ppt_w</p:attrName>
                                        </p:attrNameLst>
                                      </p:cBhvr>
                                      <p:tavLst>
                                        <p:tav tm="0">
                                          <p:val>
                                            <p:fltVal val="0"/>
                                          </p:val>
                                        </p:tav>
                                        <p:tav tm="100000">
                                          <p:val>
                                            <p:strVal val="#ppt_w"/>
                                          </p:val>
                                        </p:tav>
                                      </p:tavLst>
                                    </p:anim>
                                    <p:anim calcmode="lin" valueType="num">
                                      <p:cBhvr>
                                        <p:cTn id="149" dur="300" fill="hold"/>
                                        <p:tgtEl>
                                          <p:spTgt spid="3099"/>
                                        </p:tgtEl>
                                        <p:attrNameLst>
                                          <p:attrName>ppt_h</p:attrName>
                                        </p:attrNameLst>
                                      </p:cBhvr>
                                      <p:tavLst>
                                        <p:tav tm="0">
                                          <p:val>
                                            <p:fltVal val="0"/>
                                          </p:val>
                                        </p:tav>
                                        <p:tav tm="100000">
                                          <p:val>
                                            <p:strVal val="#ppt_h"/>
                                          </p:val>
                                        </p:tav>
                                      </p:tavLst>
                                    </p:anim>
                                    <p:anim calcmode="lin" valueType="num">
                                      <p:cBhvr>
                                        <p:cTn id="150" dur="300" fill="hold"/>
                                        <p:tgtEl>
                                          <p:spTgt spid="3099"/>
                                        </p:tgtEl>
                                        <p:attrNameLst>
                                          <p:attrName>ppt_x</p:attrName>
                                        </p:attrNameLst>
                                      </p:cBhvr>
                                      <p:tavLst>
                                        <p:tav tm="0">
                                          <p:val>
                                            <p:fltVal val="0.5"/>
                                          </p:val>
                                        </p:tav>
                                        <p:tav tm="100000">
                                          <p:val>
                                            <p:strVal val="#ppt_x"/>
                                          </p:val>
                                        </p:tav>
                                      </p:tavLst>
                                    </p:anim>
                                    <p:anim calcmode="lin" valueType="num">
                                      <p:cBhvr>
                                        <p:cTn id="151" dur="300" fill="hold"/>
                                        <p:tgtEl>
                                          <p:spTgt spid="3099"/>
                                        </p:tgtEl>
                                        <p:attrNameLst>
                                          <p:attrName>ppt_y</p:attrName>
                                        </p:attrNameLst>
                                      </p:cBhvr>
                                      <p:tavLst>
                                        <p:tav tm="0">
                                          <p:val>
                                            <p:fltVal val="0.5"/>
                                          </p:val>
                                        </p:tav>
                                        <p:tav tm="100000">
                                          <p:val>
                                            <p:strVal val="#ppt_y"/>
                                          </p:val>
                                        </p:tav>
                                      </p:tavLst>
                                    </p:anim>
                                  </p:childTnLst>
                                </p:cTn>
                              </p:par>
                              <p:par>
                                <p:cTn id="152" presetID="26" presetClass="emph" presetSubtype="0" fill="hold" nodeType="withEffect">
                                  <p:stCondLst>
                                    <p:cond delay="1800"/>
                                  </p:stCondLst>
                                  <p:childTnLst>
                                    <p:animEffect transition="out" filter="fade">
                                      <p:cBhvr>
                                        <p:cTn id="153" dur="300" tmFilter="0, 0; .2, .5; .8, .5; 1, 0"/>
                                        <p:tgtEl>
                                          <p:spTgt spid="3099"/>
                                        </p:tgtEl>
                                      </p:cBhvr>
                                    </p:animEffect>
                                    <p:animScale>
                                      <p:cBhvr>
                                        <p:cTn id="154" dur="150" autoRev="1" fill="hold"/>
                                        <p:tgtEl>
                                          <p:spTgt spid="3099"/>
                                        </p:tgtEl>
                                      </p:cBhvr>
                                      <p:by x="105000" y="105000"/>
                                    </p:animScale>
                                  </p:childTnLst>
                                </p:cTn>
                              </p:par>
                              <p:par>
                                <p:cTn id="155" presetID="23" presetClass="entr" presetSubtype="528" fill="hold" nodeType="withEffect">
                                  <p:stCondLst>
                                    <p:cond delay="1600"/>
                                  </p:stCondLst>
                                  <p:childTnLst>
                                    <p:set>
                                      <p:cBhvr>
                                        <p:cTn id="156" dur="1" fill="hold">
                                          <p:stCondLst>
                                            <p:cond delay="0"/>
                                          </p:stCondLst>
                                        </p:cTn>
                                        <p:tgtEl>
                                          <p:spTgt spid="3077"/>
                                        </p:tgtEl>
                                        <p:attrNameLst>
                                          <p:attrName>style.visibility</p:attrName>
                                        </p:attrNameLst>
                                      </p:cBhvr>
                                      <p:to>
                                        <p:strVal val="visible"/>
                                      </p:to>
                                    </p:set>
                                    <p:anim calcmode="lin" valueType="num">
                                      <p:cBhvr>
                                        <p:cTn id="157" dur="300" fill="hold"/>
                                        <p:tgtEl>
                                          <p:spTgt spid="3077"/>
                                        </p:tgtEl>
                                        <p:attrNameLst>
                                          <p:attrName>ppt_w</p:attrName>
                                        </p:attrNameLst>
                                      </p:cBhvr>
                                      <p:tavLst>
                                        <p:tav tm="0">
                                          <p:val>
                                            <p:fltVal val="0"/>
                                          </p:val>
                                        </p:tav>
                                        <p:tav tm="100000">
                                          <p:val>
                                            <p:strVal val="#ppt_w"/>
                                          </p:val>
                                        </p:tav>
                                      </p:tavLst>
                                    </p:anim>
                                    <p:anim calcmode="lin" valueType="num">
                                      <p:cBhvr>
                                        <p:cTn id="158" dur="300" fill="hold"/>
                                        <p:tgtEl>
                                          <p:spTgt spid="3077"/>
                                        </p:tgtEl>
                                        <p:attrNameLst>
                                          <p:attrName>ppt_h</p:attrName>
                                        </p:attrNameLst>
                                      </p:cBhvr>
                                      <p:tavLst>
                                        <p:tav tm="0">
                                          <p:val>
                                            <p:fltVal val="0"/>
                                          </p:val>
                                        </p:tav>
                                        <p:tav tm="100000">
                                          <p:val>
                                            <p:strVal val="#ppt_h"/>
                                          </p:val>
                                        </p:tav>
                                      </p:tavLst>
                                    </p:anim>
                                    <p:anim calcmode="lin" valueType="num">
                                      <p:cBhvr>
                                        <p:cTn id="159" dur="300" fill="hold"/>
                                        <p:tgtEl>
                                          <p:spTgt spid="3077"/>
                                        </p:tgtEl>
                                        <p:attrNameLst>
                                          <p:attrName>ppt_x</p:attrName>
                                        </p:attrNameLst>
                                      </p:cBhvr>
                                      <p:tavLst>
                                        <p:tav tm="0">
                                          <p:val>
                                            <p:fltVal val="0.5"/>
                                          </p:val>
                                        </p:tav>
                                        <p:tav tm="100000">
                                          <p:val>
                                            <p:strVal val="#ppt_x"/>
                                          </p:val>
                                        </p:tav>
                                      </p:tavLst>
                                    </p:anim>
                                    <p:anim calcmode="lin" valueType="num">
                                      <p:cBhvr>
                                        <p:cTn id="160" dur="300" fill="hold"/>
                                        <p:tgtEl>
                                          <p:spTgt spid="3077"/>
                                        </p:tgtEl>
                                        <p:attrNameLst>
                                          <p:attrName>ppt_y</p:attrName>
                                        </p:attrNameLst>
                                      </p:cBhvr>
                                      <p:tavLst>
                                        <p:tav tm="0">
                                          <p:val>
                                            <p:fltVal val="0.5"/>
                                          </p:val>
                                        </p:tav>
                                        <p:tav tm="100000">
                                          <p:val>
                                            <p:strVal val="#ppt_y"/>
                                          </p:val>
                                        </p:tav>
                                      </p:tavLst>
                                    </p:anim>
                                  </p:childTnLst>
                                </p:cTn>
                              </p:par>
                              <p:par>
                                <p:cTn id="161" presetID="26" presetClass="emph" presetSubtype="0" fill="hold" nodeType="withEffect">
                                  <p:stCondLst>
                                    <p:cond delay="1900"/>
                                  </p:stCondLst>
                                  <p:childTnLst>
                                    <p:animEffect transition="out" filter="fade">
                                      <p:cBhvr>
                                        <p:cTn id="162" dur="300" tmFilter="0, 0; .2, .5; .8, .5; 1, 0"/>
                                        <p:tgtEl>
                                          <p:spTgt spid="3077"/>
                                        </p:tgtEl>
                                      </p:cBhvr>
                                    </p:animEffect>
                                    <p:animScale>
                                      <p:cBhvr>
                                        <p:cTn id="163" dur="150" autoRev="1" fill="hold"/>
                                        <p:tgtEl>
                                          <p:spTgt spid="3077"/>
                                        </p:tgtEl>
                                      </p:cBhvr>
                                      <p:by x="105000" y="105000"/>
                                    </p:animScale>
                                  </p:childTnLst>
                                </p:cTn>
                              </p:par>
                              <p:par>
                                <p:cTn id="164" presetID="23" presetClass="entr" presetSubtype="528" fill="hold" nodeType="withEffect">
                                  <p:stCondLst>
                                    <p:cond delay="1700"/>
                                  </p:stCondLst>
                                  <p:childTnLst>
                                    <p:set>
                                      <p:cBhvr>
                                        <p:cTn id="165" dur="1" fill="hold">
                                          <p:stCondLst>
                                            <p:cond delay="0"/>
                                          </p:stCondLst>
                                        </p:cTn>
                                        <p:tgtEl>
                                          <p:spTgt spid="3112"/>
                                        </p:tgtEl>
                                        <p:attrNameLst>
                                          <p:attrName>style.visibility</p:attrName>
                                        </p:attrNameLst>
                                      </p:cBhvr>
                                      <p:to>
                                        <p:strVal val="visible"/>
                                      </p:to>
                                    </p:set>
                                    <p:anim calcmode="lin" valueType="num">
                                      <p:cBhvr>
                                        <p:cTn id="166" dur="300" fill="hold"/>
                                        <p:tgtEl>
                                          <p:spTgt spid="3112"/>
                                        </p:tgtEl>
                                        <p:attrNameLst>
                                          <p:attrName>ppt_w</p:attrName>
                                        </p:attrNameLst>
                                      </p:cBhvr>
                                      <p:tavLst>
                                        <p:tav tm="0">
                                          <p:val>
                                            <p:fltVal val="0"/>
                                          </p:val>
                                        </p:tav>
                                        <p:tav tm="100000">
                                          <p:val>
                                            <p:strVal val="#ppt_w"/>
                                          </p:val>
                                        </p:tav>
                                      </p:tavLst>
                                    </p:anim>
                                    <p:anim calcmode="lin" valueType="num">
                                      <p:cBhvr>
                                        <p:cTn id="167" dur="300" fill="hold"/>
                                        <p:tgtEl>
                                          <p:spTgt spid="3112"/>
                                        </p:tgtEl>
                                        <p:attrNameLst>
                                          <p:attrName>ppt_h</p:attrName>
                                        </p:attrNameLst>
                                      </p:cBhvr>
                                      <p:tavLst>
                                        <p:tav tm="0">
                                          <p:val>
                                            <p:fltVal val="0"/>
                                          </p:val>
                                        </p:tav>
                                        <p:tav tm="100000">
                                          <p:val>
                                            <p:strVal val="#ppt_h"/>
                                          </p:val>
                                        </p:tav>
                                      </p:tavLst>
                                    </p:anim>
                                    <p:anim calcmode="lin" valueType="num">
                                      <p:cBhvr>
                                        <p:cTn id="168" dur="300" fill="hold"/>
                                        <p:tgtEl>
                                          <p:spTgt spid="3112"/>
                                        </p:tgtEl>
                                        <p:attrNameLst>
                                          <p:attrName>ppt_x</p:attrName>
                                        </p:attrNameLst>
                                      </p:cBhvr>
                                      <p:tavLst>
                                        <p:tav tm="0">
                                          <p:val>
                                            <p:fltVal val="0.5"/>
                                          </p:val>
                                        </p:tav>
                                        <p:tav tm="100000">
                                          <p:val>
                                            <p:strVal val="#ppt_x"/>
                                          </p:val>
                                        </p:tav>
                                      </p:tavLst>
                                    </p:anim>
                                    <p:anim calcmode="lin" valueType="num">
                                      <p:cBhvr>
                                        <p:cTn id="169" dur="300" fill="hold"/>
                                        <p:tgtEl>
                                          <p:spTgt spid="3112"/>
                                        </p:tgtEl>
                                        <p:attrNameLst>
                                          <p:attrName>ppt_y</p:attrName>
                                        </p:attrNameLst>
                                      </p:cBhvr>
                                      <p:tavLst>
                                        <p:tav tm="0">
                                          <p:val>
                                            <p:fltVal val="0.5"/>
                                          </p:val>
                                        </p:tav>
                                        <p:tav tm="100000">
                                          <p:val>
                                            <p:strVal val="#ppt_y"/>
                                          </p:val>
                                        </p:tav>
                                      </p:tavLst>
                                    </p:anim>
                                  </p:childTnLst>
                                </p:cTn>
                              </p:par>
                              <p:par>
                                <p:cTn id="170" presetID="26" presetClass="emph" presetSubtype="0" fill="hold" nodeType="withEffect">
                                  <p:stCondLst>
                                    <p:cond delay="2000"/>
                                  </p:stCondLst>
                                  <p:childTnLst>
                                    <p:animEffect transition="out" filter="fade">
                                      <p:cBhvr>
                                        <p:cTn id="171" dur="300" tmFilter="0, 0; .2, .5; .8, .5; 1, 0"/>
                                        <p:tgtEl>
                                          <p:spTgt spid="3112"/>
                                        </p:tgtEl>
                                      </p:cBhvr>
                                    </p:animEffect>
                                    <p:animScale>
                                      <p:cBhvr>
                                        <p:cTn id="172" dur="150" autoRev="1" fill="hold"/>
                                        <p:tgtEl>
                                          <p:spTgt spid="3112"/>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animBg="1"/>
      <p:bldP spid="27"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矩形 33" hidden="1"/>
          <p:cNvSpPr/>
          <p:nvPr/>
        </p:nvSpPr>
        <p:spPr>
          <a:xfrm>
            <a:off x="2584817" y="2133288"/>
            <a:ext cx="936104" cy="6551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smtClean="0">
                <a:solidFill>
                  <a:srgbClr val="B0F533"/>
                </a:solidFill>
                <a:latin typeface="Gill Sans MT Pro Light" pitchFamily="34" charset="0"/>
              </a:rPr>
              <a:t>1</a:t>
            </a:r>
            <a:endParaRPr lang="zh-CN" altLang="en-US" sz="3600">
              <a:solidFill>
                <a:srgbClr val="B0F533"/>
              </a:solidFill>
              <a:latin typeface="Gill Sans MT Pro Light" pitchFamily="34" charset="0"/>
            </a:endParaRPr>
          </a:p>
        </p:txBody>
      </p:sp>
      <p:sp>
        <p:nvSpPr>
          <p:cNvPr id="35" name="矩形 34" hidden="1"/>
          <p:cNvSpPr/>
          <p:nvPr/>
        </p:nvSpPr>
        <p:spPr>
          <a:xfrm>
            <a:off x="3621305" y="2133288"/>
            <a:ext cx="5984291" cy="655104"/>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smtClean="0">
                <a:latin typeface="华文黑体" pitchFamily="2" charset="-122"/>
                <a:ea typeface="华文黑体" pitchFamily="2" charset="-122"/>
                <a:cs typeface="华文黑体" pitchFamily="2" charset="-122"/>
              </a:rPr>
              <a:t>                     点击添加标题</a:t>
            </a:r>
            <a:endParaRPr lang="zh-CN" altLang="en-US" sz="2800">
              <a:latin typeface="华文黑体" pitchFamily="2" charset="-122"/>
              <a:ea typeface="华文黑体" pitchFamily="2" charset="-122"/>
              <a:cs typeface="华文黑体" pitchFamily="2" charset="-122"/>
            </a:endParaRPr>
          </a:p>
        </p:txBody>
      </p:sp>
      <p:pic>
        <p:nvPicPr>
          <p:cNvPr id="4098" name="Picture 2"/>
          <p:cNvPicPr>
            <a:picLocks noChangeAspect="1" noChangeArrowheads="1"/>
          </p:cNvPicPr>
          <p:nvPr/>
        </p:nvPicPr>
        <p:blipFill rotWithShape="1">
          <a:blip r:embed="rId1" cstate="print">
            <a:extLst>
              <a:ext uri="{28A0092B-C50C-407E-A947-70E740481C1C}">
                <a14:useLocalDpi xmlns:a14="http://schemas.microsoft.com/office/drawing/2010/main" val="0"/>
              </a:ext>
            </a:extLst>
          </a:blip>
          <a:srcRect t="25604" b="7208"/>
          <a:stretch>
            <a:fillRect/>
          </a:stretch>
        </p:blipFill>
        <p:spPr bwMode="auto">
          <a:xfrm>
            <a:off x="7483985" y="2147228"/>
            <a:ext cx="3089886" cy="3113330"/>
          </a:xfrm>
          <a:prstGeom prst="ellipse">
            <a:avLst/>
          </a:prstGeom>
          <a:ln w="28575" cap="rnd">
            <a:solidFill>
              <a:schemeClr val="bg1"/>
            </a:solidFill>
            <a:prstDash val="solid"/>
          </a:ln>
          <a:effectLst>
            <a:reflection blurRad="6350" stA="25000" endPos="35000" dir="5400000" sy="-100000" algn="bl" rotWithShape="0"/>
          </a:effectLst>
          <a:extLst>
            <a:ext uri="{909E8E84-426E-40DD-AFC4-6F175D3DCCD1}">
              <a14:hiddenFill xmlns:a14="http://schemas.microsoft.com/office/drawing/2010/main">
                <a:solidFill>
                  <a:srgbClr val="FFFFFF"/>
                </a:solidFill>
              </a14:hiddenFill>
            </a:ext>
          </a:extLst>
        </p:spPr>
      </p:pic>
      <p:sp>
        <p:nvSpPr>
          <p:cNvPr id="9" name="矩形 8"/>
          <p:cNvSpPr/>
          <p:nvPr/>
        </p:nvSpPr>
        <p:spPr>
          <a:xfrm>
            <a:off x="1702718" y="2023228"/>
            <a:ext cx="4104456" cy="536737"/>
          </a:xfrm>
          <a:prstGeom prst="rect">
            <a:avLst/>
          </a:prstGeom>
          <a:solidFill>
            <a:srgbClr val="FF78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000" smtClean="0">
                <a:latin typeface="华文细黑" panose="02010600040101010101" pitchFamily="2" charset="-122"/>
                <a:ea typeface="华文细黑" panose="02010600040101010101" pitchFamily="2" charset="-122"/>
                <a:cs typeface="华文黑体" pitchFamily="2" charset="-122"/>
              </a:rPr>
              <a:t>  点击添加标题</a:t>
            </a:r>
            <a:endParaRPr lang="zh-CN" altLang="en-US" sz="2000">
              <a:latin typeface="华文细黑" panose="02010600040101010101" pitchFamily="2" charset="-122"/>
              <a:ea typeface="华文细黑" panose="02010600040101010101" pitchFamily="2" charset="-122"/>
              <a:cs typeface="华文黑体" pitchFamily="2" charset="-122"/>
            </a:endParaRPr>
          </a:p>
        </p:txBody>
      </p:sp>
      <p:sp>
        <p:nvSpPr>
          <p:cNvPr id="2" name="矩形 1"/>
          <p:cNvSpPr/>
          <p:nvPr/>
        </p:nvSpPr>
        <p:spPr>
          <a:xfrm>
            <a:off x="1702718" y="2631974"/>
            <a:ext cx="3877985" cy="369332"/>
          </a:xfrm>
          <a:prstGeom prst="rect">
            <a:avLst/>
          </a:prstGeom>
        </p:spPr>
        <p:txBody>
          <a:bodyPr wrap="none">
            <a:spAutoFit/>
          </a:bodyPr>
          <a:lstStyle/>
          <a:p>
            <a:r>
              <a:rPr lang="zh-CN" altLang="en-US" dirty="0">
                <a:solidFill>
                  <a:schemeClr val="bg1"/>
                </a:solidFill>
                <a:latin typeface="华文细黑" panose="02010600040101010101" pitchFamily="2" charset="-122"/>
                <a:ea typeface="华文细黑" panose="02010600040101010101" pitchFamily="2" charset="-122"/>
                <a:cs typeface="华文黑体" pitchFamily="2" charset="-122"/>
              </a:rPr>
              <a:t>单击添加</a:t>
            </a:r>
            <a:r>
              <a:rPr lang="zh-CN" altLang="en-US" dirty="0" smtClean="0">
                <a:solidFill>
                  <a:schemeClr val="bg1"/>
                </a:solidFill>
                <a:latin typeface="华文细黑" panose="02010600040101010101" pitchFamily="2" charset="-122"/>
                <a:ea typeface="华文细黑" panose="02010600040101010101" pitchFamily="2" charset="-122"/>
                <a:cs typeface="华文黑体" pitchFamily="2" charset="-122"/>
              </a:rPr>
              <a:t>文本</a:t>
            </a:r>
            <a:r>
              <a:rPr lang="zh-CN" altLang="en-US" dirty="0">
                <a:solidFill>
                  <a:schemeClr val="bg1"/>
                </a:solidFill>
                <a:latin typeface="华文细黑" panose="02010600040101010101" pitchFamily="2" charset="-122"/>
                <a:ea typeface="华文细黑" panose="02010600040101010101" pitchFamily="2" charset="-122"/>
                <a:cs typeface="华文黑体" pitchFamily="2" charset="-122"/>
              </a:rPr>
              <a:t>单击添加</a:t>
            </a:r>
            <a:r>
              <a:rPr lang="zh-CN" altLang="en-US" dirty="0" smtClean="0">
                <a:solidFill>
                  <a:schemeClr val="bg1"/>
                </a:solidFill>
                <a:latin typeface="华文细黑" panose="02010600040101010101" pitchFamily="2" charset="-122"/>
                <a:ea typeface="华文细黑" panose="02010600040101010101" pitchFamily="2" charset="-122"/>
                <a:cs typeface="华文黑体" pitchFamily="2" charset="-122"/>
              </a:rPr>
              <a:t>文本</a:t>
            </a:r>
            <a:r>
              <a:rPr lang="zh-CN" altLang="en-US" dirty="0">
                <a:solidFill>
                  <a:schemeClr val="bg1"/>
                </a:solidFill>
                <a:latin typeface="华文细黑" panose="02010600040101010101" pitchFamily="2" charset="-122"/>
                <a:ea typeface="华文细黑" panose="02010600040101010101" pitchFamily="2" charset="-122"/>
                <a:cs typeface="华文黑体" pitchFamily="2" charset="-122"/>
              </a:rPr>
              <a:t>单击</a:t>
            </a:r>
            <a:r>
              <a:rPr lang="zh-CN" altLang="en-US" dirty="0" smtClean="0">
                <a:solidFill>
                  <a:schemeClr val="bg1"/>
                </a:solidFill>
                <a:latin typeface="华文细黑" panose="02010600040101010101" pitchFamily="2" charset="-122"/>
                <a:ea typeface="华文细黑" panose="02010600040101010101" pitchFamily="2" charset="-122"/>
                <a:cs typeface="华文黑体" pitchFamily="2" charset="-122"/>
              </a:rPr>
              <a:t>添加</a:t>
            </a:r>
            <a:endParaRPr lang="zh-CN" altLang="en-US" dirty="0"/>
          </a:p>
        </p:txBody>
      </p:sp>
      <p:sp>
        <p:nvSpPr>
          <p:cNvPr id="11" name="矩形 10"/>
          <p:cNvSpPr/>
          <p:nvPr/>
        </p:nvSpPr>
        <p:spPr>
          <a:xfrm>
            <a:off x="1702718" y="3295354"/>
            <a:ext cx="4104456" cy="536737"/>
          </a:xfrm>
          <a:prstGeom prst="rect">
            <a:avLst/>
          </a:prstGeom>
          <a:solidFill>
            <a:srgbClr val="47A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000" dirty="0" smtClean="0">
                <a:latin typeface="华文细黑" panose="02010600040101010101" pitchFamily="2" charset="-122"/>
                <a:ea typeface="华文细黑" panose="02010600040101010101" pitchFamily="2" charset="-122"/>
                <a:cs typeface="华文黑体" pitchFamily="2" charset="-122"/>
              </a:rPr>
              <a:t>  点击添加标题</a:t>
            </a:r>
            <a:endParaRPr lang="zh-CN" altLang="en-US" sz="2000" dirty="0">
              <a:latin typeface="华文细黑" panose="02010600040101010101" pitchFamily="2" charset="-122"/>
              <a:ea typeface="华文细黑" panose="02010600040101010101" pitchFamily="2" charset="-122"/>
              <a:cs typeface="华文黑体" pitchFamily="2" charset="-122"/>
            </a:endParaRPr>
          </a:p>
        </p:txBody>
      </p:sp>
      <p:sp>
        <p:nvSpPr>
          <p:cNvPr id="13" name="矩形 12"/>
          <p:cNvSpPr/>
          <p:nvPr/>
        </p:nvSpPr>
        <p:spPr>
          <a:xfrm>
            <a:off x="1702718" y="3904100"/>
            <a:ext cx="3877985" cy="369332"/>
          </a:xfrm>
          <a:prstGeom prst="rect">
            <a:avLst/>
          </a:prstGeom>
        </p:spPr>
        <p:txBody>
          <a:bodyPr wrap="none">
            <a:spAutoFit/>
          </a:bodyPr>
          <a:lstStyle/>
          <a:p>
            <a:r>
              <a:rPr lang="zh-CN" altLang="en-US" dirty="0">
                <a:solidFill>
                  <a:schemeClr val="bg1"/>
                </a:solidFill>
                <a:latin typeface="华文细黑" panose="02010600040101010101" pitchFamily="2" charset="-122"/>
                <a:ea typeface="华文细黑" panose="02010600040101010101" pitchFamily="2" charset="-122"/>
                <a:cs typeface="华文黑体" pitchFamily="2" charset="-122"/>
              </a:rPr>
              <a:t>单击添加</a:t>
            </a:r>
            <a:r>
              <a:rPr lang="zh-CN" altLang="en-US" dirty="0" smtClean="0">
                <a:solidFill>
                  <a:schemeClr val="bg1"/>
                </a:solidFill>
                <a:latin typeface="华文细黑" panose="02010600040101010101" pitchFamily="2" charset="-122"/>
                <a:ea typeface="华文细黑" panose="02010600040101010101" pitchFamily="2" charset="-122"/>
                <a:cs typeface="华文黑体" pitchFamily="2" charset="-122"/>
              </a:rPr>
              <a:t>文本</a:t>
            </a:r>
            <a:r>
              <a:rPr lang="zh-CN" altLang="en-US" dirty="0">
                <a:solidFill>
                  <a:schemeClr val="bg1"/>
                </a:solidFill>
                <a:latin typeface="华文细黑" panose="02010600040101010101" pitchFamily="2" charset="-122"/>
                <a:ea typeface="华文细黑" panose="02010600040101010101" pitchFamily="2" charset="-122"/>
                <a:cs typeface="华文黑体" pitchFamily="2" charset="-122"/>
              </a:rPr>
              <a:t>单击添加</a:t>
            </a:r>
            <a:r>
              <a:rPr lang="zh-CN" altLang="en-US" dirty="0" smtClean="0">
                <a:solidFill>
                  <a:schemeClr val="bg1"/>
                </a:solidFill>
                <a:latin typeface="华文细黑" panose="02010600040101010101" pitchFamily="2" charset="-122"/>
                <a:ea typeface="华文细黑" panose="02010600040101010101" pitchFamily="2" charset="-122"/>
                <a:cs typeface="华文黑体" pitchFamily="2" charset="-122"/>
              </a:rPr>
              <a:t>文本</a:t>
            </a:r>
            <a:r>
              <a:rPr lang="zh-CN" altLang="en-US" dirty="0">
                <a:solidFill>
                  <a:schemeClr val="bg1"/>
                </a:solidFill>
                <a:latin typeface="华文细黑" panose="02010600040101010101" pitchFamily="2" charset="-122"/>
                <a:ea typeface="华文细黑" panose="02010600040101010101" pitchFamily="2" charset="-122"/>
                <a:cs typeface="华文黑体" pitchFamily="2" charset="-122"/>
              </a:rPr>
              <a:t>单击</a:t>
            </a:r>
            <a:r>
              <a:rPr lang="zh-CN" altLang="en-US" dirty="0" smtClean="0">
                <a:solidFill>
                  <a:schemeClr val="bg1"/>
                </a:solidFill>
                <a:latin typeface="华文细黑" panose="02010600040101010101" pitchFamily="2" charset="-122"/>
                <a:ea typeface="华文细黑" panose="02010600040101010101" pitchFamily="2" charset="-122"/>
                <a:cs typeface="华文黑体" pitchFamily="2" charset="-122"/>
              </a:rPr>
              <a:t>添加</a:t>
            </a:r>
            <a:endParaRPr lang="zh-CN" altLang="en-US" dirty="0"/>
          </a:p>
        </p:txBody>
      </p:sp>
      <p:sp>
        <p:nvSpPr>
          <p:cNvPr id="15" name="矩形 14"/>
          <p:cNvSpPr/>
          <p:nvPr/>
        </p:nvSpPr>
        <p:spPr>
          <a:xfrm>
            <a:off x="1702718" y="4467146"/>
            <a:ext cx="4104456" cy="536737"/>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000" dirty="0" smtClean="0">
                <a:latin typeface="华文细黑" panose="02010600040101010101" pitchFamily="2" charset="-122"/>
                <a:ea typeface="华文细黑" panose="02010600040101010101" pitchFamily="2" charset="-122"/>
                <a:cs typeface="华文黑体" pitchFamily="2" charset="-122"/>
              </a:rPr>
              <a:t>  点击添加标题</a:t>
            </a:r>
            <a:endParaRPr lang="zh-CN" altLang="en-US" sz="2000" dirty="0">
              <a:latin typeface="华文细黑" panose="02010600040101010101" pitchFamily="2" charset="-122"/>
              <a:ea typeface="华文细黑" panose="02010600040101010101" pitchFamily="2" charset="-122"/>
              <a:cs typeface="华文黑体" pitchFamily="2" charset="-122"/>
            </a:endParaRPr>
          </a:p>
        </p:txBody>
      </p:sp>
      <p:sp>
        <p:nvSpPr>
          <p:cNvPr id="16" name="矩形 15"/>
          <p:cNvSpPr/>
          <p:nvPr/>
        </p:nvSpPr>
        <p:spPr>
          <a:xfrm>
            <a:off x="1702718" y="5075892"/>
            <a:ext cx="3877985" cy="369332"/>
          </a:xfrm>
          <a:prstGeom prst="rect">
            <a:avLst/>
          </a:prstGeom>
        </p:spPr>
        <p:txBody>
          <a:bodyPr wrap="none">
            <a:spAutoFit/>
          </a:bodyPr>
          <a:lstStyle/>
          <a:p>
            <a:r>
              <a:rPr lang="zh-CN" altLang="en-US" dirty="0">
                <a:solidFill>
                  <a:schemeClr val="bg1"/>
                </a:solidFill>
                <a:latin typeface="华文细黑" panose="02010600040101010101" pitchFamily="2" charset="-122"/>
                <a:ea typeface="华文细黑" panose="02010600040101010101" pitchFamily="2" charset="-122"/>
                <a:cs typeface="华文黑体" pitchFamily="2" charset="-122"/>
              </a:rPr>
              <a:t>单击添加</a:t>
            </a:r>
            <a:r>
              <a:rPr lang="zh-CN" altLang="en-US" dirty="0" smtClean="0">
                <a:solidFill>
                  <a:schemeClr val="bg1"/>
                </a:solidFill>
                <a:latin typeface="华文细黑" panose="02010600040101010101" pitchFamily="2" charset="-122"/>
                <a:ea typeface="华文细黑" panose="02010600040101010101" pitchFamily="2" charset="-122"/>
                <a:cs typeface="华文黑体" pitchFamily="2" charset="-122"/>
              </a:rPr>
              <a:t>文本</a:t>
            </a:r>
            <a:r>
              <a:rPr lang="zh-CN" altLang="en-US" dirty="0">
                <a:solidFill>
                  <a:schemeClr val="bg1"/>
                </a:solidFill>
                <a:latin typeface="华文细黑" panose="02010600040101010101" pitchFamily="2" charset="-122"/>
                <a:ea typeface="华文细黑" panose="02010600040101010101" pitchFamily="2" charset="-122"/>
                <a:cs typeface="华文黑体" pitchFamily="2" charset="-122"/>
              </a:rPr>
              <a:t>单击添加</a:t>
            </a:r>
            <a:r>
              <a:rPr lang="zh-CN" altLang="en-US" dirty="0" smtClean="0">
                <a:solidFill>
                  <a:schemeClr val="bg1"/>
                </a:solidFill>
                <a:latin typeface="华文细黑" panose="02010600040101010101" pitchFamily="2" charset="-122"/>
                <a:ea typeface="华文细黑" panose="02010600040101010101" pitchFamily="2" charset="-122"/>
                <a:cs typeface="华文黑体" pitchFamily="2" charset="-122"/>
              </a:rPr>
              <a:t>文本</a:t>
            </a:r>
            <a:r>
              <a:rPr lang="zh-CN" altLang="en-US" dirty="0">
                <a:solidFill>
                  <a:schemeClr val="bg1"/>
                </a:solidFill>
                <a:latin typeface="华文细黑" panose="02010600040101010101" pitchFamily="2" charset="-122"/>
                <a:ea typeface="华文细黑" panose="02010600040101010101" pitchFamily="2" charset="-122"/>
                <a:cs typeface="华文黑体" pitchFamily="2" charset="-122"/>
              </a:rPr>
              <a:t>单击</a:t>
            </a:r>
            <a:r>
              <a:rPr lang="zh-CN" altLang="en-US" dirty="0" smtClean="0">
                <a:solidFill>
                  <a:schemeClr val="bg1"/>
                </a:solidFill>
                <a:latin typeface="华文细黑" panose="02010600040101010101" pitchFamily="2" charset="-122"/>
                <a:ea typeface="华文细黑" panose="02010600040101010101" pitchFamily="2" charset="-122"/>
                <a:cs typeface="华文黑体" pitchFamily="2" charset="-122"/>
              </a:rPr>
              <a:t>添加</a:t>
            </a:r>
            <a:endParaRPr lang="zh-CN" altLang="en-US" dirty="0"/>
          </a:p>
        </p:txBody>
      </p:sp>
      <p:sp>
        <p:nvSpPr>
          <p:cNvPr id="17" name="圆角矩形 16"/>
          <p:cNvSpPr/>
          <p:nvPr/>
        </p:nvSpPr>
        <p:spPr>
          <a:xfrm>
            <a:off x="8894702" y="260648"/>
            <a:ext cx="2673112" cy="600163"/>
          </a:xfrm>
          <a:prstGeom prst="roundRect">
            <a:avLst/>
          </a:prstGeom>
          <a:solidFill>
            <a:srgbClr val="FFFFFF"/>
          </a:solidFill>
          <a:ln>
            <a:noFill/>
          </a:ln>
          <a:effectLst>
            <a:reflection blurRad="6350" stA="25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8" name="TextBox 17"/>
          <p:cNvSpPr txBox="1"/>
          <p:nvPr/>
        </p:nvSpPr>
        <p:spPr>
          <a:xfrm>
            <a:off x="9061707" y="260648"/>
            <a:ext cx="2339102" cy="523220"/>
          </a:xfrm>
          <a:prstGeom prst="rect">
            <a:avLst/>
          </a:prstGeom>
          <a:noFill/>
        </p:spPr>
        <p:txBody>
          <a:bodyPr wrap="none" rtlCol="0" anchor="ctr">
            <a:spAutoFit/>
          </a:bodyPr>
          <a:lstStyle>
            <a:defPPr>
              <a:defRPr lang="zh-CN"/>
            </a:defPPr>
            <a:lvl1pPr algn="ctr">
              <a:defRPr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anose="02010600040101010101" pitchFamily="2" charset="-122"/>
                <a:cs typeface="华文黑体" pitchFamily="2" charset="-122"/>
              </a:defRPr>
            </a:lvl1pPr>
          </a:lstStyle>
          <a:p>
            <a:r>
              <a:rPr lang="zh-CN" altLang="en-US" sz="2800"/>
              <a:t>点击添加标题</a:t>
            </a:r>
            <a:endParaRPr lang="zh-CN" altLang="en-US" sz="2800"/>
          </a:p>
        </p:txBody>
      </p:sp>
    </p:spTree>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mc:AlternateContent xmlns:mc="http://schemas.openxmlformats.org/markup-compatibility/2006">
    <mc:Choice xmlns:p14="http://schemas.microsoft.com/office/powerpoint/2010/main"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300"/>
                                            <p:tgtEl>
                                              <p:spTgt spid="17"/>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8"/>
                                            </p:tgtEl>
                                            <p:attrNameLst>
                                              <p:attrName>style.visibility</p:attrName>
                                            </p:attrNameLst>
                                          </p:cBhvr>
                                          <p:to>
                                            <p:strVal val="visible"/>
                                          </p:to>
                                        </p:set>
                                        <p:animEffect transition="in" filter="fade">
                                          <p:cBhvr>
                                            <p:cTn id="10" dur="300"/>
                                            <p:tgtEl>
                                              <p:spTgt spid="18"/>
                                            </p:tgtEl>
                                          </p:cBhvr>
                                        </p:animEffect>
                                      </p:childTnLst>
                                    </p:cTn>
                                  </p:par>
                                </p:childTnLst>
                              </p:cTn>
                            </p:par>
                            <p:par>
                              <p:cTn id="11" fill="hold">
                                <p:stCondLst>
                                  <p:cond delay="500"/>
                                </p:stCondLst>
                                <p:childTnLst>
                                  <p:par>
                                    <p:cTn id="12" presetID="2" presetClass="entr" presetSubtype="2" fill="hold" nodeType="afterEffect" p14:presetBounceEnd="46000">
                                      <p:stCondLst>
                                        <p:cond delay="0"/>
                                      </p:stCondLst>
                                      <p:childTnLst>
                                        <p:set>
                                          <p:cBhvr>
                                            <p:cTn id="13" dur="1" fill="hold">
                                              <p:stCondLst>
                                                <p:cond delay="0"/>
                                              </p:stCondLst>
                                            </p:cTn>
                                            <p:tgtEl>
                                              <p:spTgt spid="4098"/>
                                            </p:tgtEl>
                                            <p:attrNameLst>
                                              <p:attrName>style.visibility</p:attrName>
                                            </p:attrNameLst>
                                          </p:cBhvr>
                                          <p:to>
                                            <p:strVal val="visible"/>
                                          </p:to>
                                        </p:set>
                                        <p:anim calcmode="lin" valueType="num" p14:bounceEnd="46000">
                                          <p:cBhvr additive="base">
                                            <p:cTn id="14" dur="500" fill="hold"/>
                                            <p:tgtEl>
                                              <p:spTgt spid="4098"/>
                                            </p:tgtEl>
                                            <p:attrNameLst>
                                              <p:attrName>ppt_x</p:attrName>
                                            </p:attrNameLst>
                                          </p:cBhvr>
                                          <p:tavLst>
                                            <p:tav tm="0">
                                              <p:val>
                                                <p:strVal val="1+#ppt_w/2"/>
                                              </p:val>
                                            </p:tav>
                                            <p:tav tm="100000">
                                              <p:val>
                                                <p:strVal val="#ppt_x"/>
                                              </p:val>
                                            </p:tav>
                                          </p:tavLst>
                                        </p:anim>
                                        <p:anim calcmode="lin" valueType="num" p14:bounceEnd="46000">
                                          <p:cBhvr additive="base">
                                            <p:cTn id="15" dur="500" fill="hold"/>
                                            <p:tgtEl>
                                              <p:spTgt spid="4098"/>
                                            </p:tgtEl>
                                            <p:attrNameLst>
                                              <p:attrName>ppt_y</p:attrName>
                                            </p:attrNameLst>
                                          </p:cBhvr>
                                          <p:tavLst>
                                            <p:tav tm="0">
                                              <p:val>
                                                <p:strVal val="#ppt_y"/>
                                              </p:val>
                                            </p:tav>
                                            <p:tav tm="100000">
                                              <p:val>
                                                <p:strVal val="#ppt_y"/>
                                              </p:val>
                                            </p:tav>
                                          </p:tavLst>
                                        </p:anim>
                                      </p:childTnLst>
                                    </p:cTn>
                                  </p:par>
                                  <p:par>
                                    <p:cTn id="16" presetID="22" presetClass="entr" presetSubtype="4" fill="hold" grpId="0" nodeType="withEffect">
                                      <p:stCondLst>
                                        <p:cond delay="500"/>
                                      </p:stCondLst>
                                      <p:childTnLst>
                                        <p:set>
                                          <p:cBhvr>
                                            <p:cTn id="17" dur="1" fill="hold">
                                              <p:stCondLst>
                                                <p:cond delay="0"/>
                                              </p:stCondLst>
                                            </p:cTn>
                                            <p:tgtEl>
                                              <p:spTgt spid="9"/>
                                            </p:tgtEl>
                                            <p:attrNameLst>
                                              <p:attrName>style.visibility</p:attrName>
                                            </p:attrNameLst>
                                          </p:cBhvr>
                                          <p:to>
                                            <p:strVal val="visible"/>
                                          </p:to>
                                        </p:set>
                                        <p:animEffect transition="in" filter="wipe(down)">
                                          <p:cBhvr>
                                            <p:cTn id="18" dur="500"/>
                                            <p:tgtEl>
                                              <p:spTgt spid="9"/>
                                            </p:tgtEl>
                                          </p:cBhvr>
                                        </p:animEffect>
                                      </p:childTnLst>
                                    </p:cTn>
                                  </p:par>
                                  <p:par>
                                    <p:cTn id="19" presetID="22" presetClass="entr" presetSubtype="4" fill="hold" grpId="0" nodeType="withEffect">
                                      <p:stCondLst>
                                        <p:cond delay="700"/>
                                      </p:stCondLst>
                                      <p:childTnLst>
                                        <p:set>
                                          <p:cBhvr>
                                            <p:cTn id="20" dur="1" fill="hold">
                                              <p:stCondLst>
                                                <p:cond delay="0"/>
                                              </p:stCondLst>
                                            </p:cTn>
                                            <p:tgtEl>
                                              <p:spTgt spid="11"/>
                                            </p:tgtEl>
                                            <p:attrNameLst>
                                              <p:attrName>style.visibility</p:attrName>
                                            </p:attrNameLst>
                                          </p:cBhvr>
                                          <p:to>
                                            <p:strVal val="visible"/>
                                          </p:to>
                                        </p:set>
                                        <p:animEffect transition="in" filter="wipe(down)">
                                          <p:cBhvr>
                                            <p:cTn id="21" dur="500"/>
                                            <p:tgtEl>
                                              <p:spTgt spid="11"/>
                                            </p:tgtEl>
                                          </p:cBhvr>
                                        </p:animEffect>
                                      </p:childTnLst>
                                    </p:cTn>
                                  </p:par>
                                  <p:par>
                                    <p:cTn id="22" presetID="22" presetClass="entr" presetSubtype="4" fill="hold" grpId="0" nodeType="withEffect">
                                      <p:stCondLst>
                                        <p:cond delay="900"/>
                                      </p:stCondLst>
                                      <p:childTnLst>
                                        <p:set>
                                          <p:cBhvr>
                                            <p:cTn id="23" dur="1" fill="hold">
                                              <p:stCondLst>
                                                <p:cond delay="0"/>
                                              </p:stCondLst>
                                            </p:cTn>
                                            <p:tgtEl>
                                              <p:spTgt spid="15"/>
                                            </p:tgtEl>
                                            <p:attrNameLst>
                                              <p:attrName>style.visibility</p:attrName>
                                            </p:attrNameLst>
                                          </p:cBhvr>
                                          <p:to>
                                            <p:strVal val="visible"/>
                                          </p:to>
                                        </p:set>
                                        <p:animEffect transition="in" filter="wipe(down)">
                                          <p:cBhvr>
                                            <p:cTn id="24" dur="500"/>
                                            <p:tgtEl>
                                              <p:spTgt spid="15"/>
                                            </p:tgtEl>
                                          </p:cBhvr>
                                        </p:animEffect>
                                      </p:childTnLst>
                                    </p:cTn>
                                  </p:par>
                                  <p:par>
                                    <p:cTn id="25" presetID="2" presetClass="entr" presetSubtype="8" fill="hold" grpId="0" nodeType="withEffect">
                                      <p:stCondLst>
                                        <p:cond delay="1000"/>
                                      </p:stCondLst>
                                      <p:childTnLst>
                                        <p:set>
                                          <p:cBhvr>
                                            <p:cTn id="26" dur="1" fill="hold">
                                              <p:stCondLst>
                                                <p:cond delay="0"/>
                                              </p:stCondLst>
                                            </p:cTn>
                                            <p:tgtEl>
                                              <p:spTgt spid="2"/>
                                            </p:tgtEl>
                                            <p:attrNameLst>
                                              <p:attrName>style.visibility</p:attrName>
                                            </p:attrNameLst>
                                          </p:cBhvr>
                                          <p:to>
                                            <p:strVal val="visible"/>
                                          </p:to>
                                        </p:set>
                                        <p:anim calcmode="lin" valueType="num">
                                          <p:cBhvr additive="base">
                                            <p:cTn id="27" dur="500" fill="hold"/>
                                            <p:tgtEl>
                                              <p:spTgt spid="2"/>
                                            </p:tgtEl>
                                            <p:attrNameLst>
                                              <p:attrName>ppt_x</p:attrName>
                                            </p:attrNameLst>
                                          </p:cBhvr>
                                          <p:tavLst>
                                            <p:tav tm="0">
                                              <p:val>
                                                <p:strVal val="0-#ppt_w/2"/>
                                              </p:val>
                                            </p:tav>
                                            <p:tav tm="100000">
                                              <p:val>
                                                <p:strVal val="#ppt_x"/>
                                              </p:val>
                                            </p:tav>
                                          </p:tavLst>
                                        </p:anim>
                                        <p:anim calcmode="lin" valueType="num">
                                          <p:cBhvr additive="base">
                                            <p:cTn id="28" dur="500" fill="hold"/>
                                            <p:tgtEl>
                                              <p:spTgt spid="2"/>
                                            </p:tgtEl>
                                            <p:attrNameLst>
                                              <p:attrName>ppt_y</p:attrName>
                                            </p:attrNameLst>
                                          </p:cBhvr>
                                          <p:tavLst>
                                            <p:tav tm="0">
                                              <p:val>
                                                <p:strVal val="#ppt_y"/>
                                              </p:val>
                                            </p:tav>
                                            <p:tav tm="100000">
                                              <p:val>
                                                <p:strVal val="#ppt_y"/>
                                              </p:val>
                                            </p:tav>
                                          </p:tavLst>
                                        </p:anim>
                                      </p:childTnLst>
                                    </p:cTn>
                                  </p:par>
                                  <p:par>
                                    <p:cTn id="29" presetID="2" presetClass="entr" presetSubtype="8" fill="hold" grpId="0" nodeType="withEffect">
                                      <p:stCondLst>
                                        <p:cond delay="1200"/>
                                      </p:stCondLst>
                                      <p:childTnLst>
                                        <p:set>
                                          <p:cBhvr>
                                            <p:cTn id="30" dur="1" fill="hold">
                                              <p:stCondLst>
                                                <p:cond delay="0"/>
                                              </p:stCondLst>
                                            </p:cTn>
                                            <p:tgtEl>
                                              <p:spTgt spid="13"/>
                                            </p:tgtEl>
                                            <p:attrNameLst>
                                              <p:attrName>style.visibility</p:attrName>
                                            </p:attrNameLst>
                                          </p:cBhvr>
                                          <p:to>
                                            <p:strVal val="visible"/>
                                          </p:to>
                                        </p:set>
                                        <p:anim calcmode="lin" valueType="num">
                                          <p:cBhvr additive="base">
                                            <p:cTn id="31" dur="500" fill="hold"/>
                                            <p:tgtEl>
                                              <p:spTgt spid="13"/>
                                            </p:tgtEl>
                                            <p:attrNameLst>
                                              <p:attrName>ppt_x</p:attrName>
                                            </p:attrNameLst>
                                          </p:cBhvr>
                                          <p:tavLst>
                                            <p:tav tm="0">
                                              <p:val>
                                                <p:strVal val="0-#ppt_w/2"/>
                                              </p:val>
                                            </p:tav>
                                            <p:tav tm="100000">
                                              <p:val>
                                                <p:strVal val="#ppt_x"/>
                                              </p:val>
                                            </p:tav>
                                          </p:tavLst>
                                        </p:anim>
                                        <p:anim calcmode="lin" valueType="num">
                                          <p:cBhvr additive="base">
                                            <p:cTn id="32" dur="500" fill="hold"/>
                                            <p:tgtEl>
                                              <p:spTgt spid="13"/>
                                            </p:tgtEl>
                                            <p:attrNameLst>
                                              <p:attrName>ppt_y</p:attrName>
                                            </p:attrNameLst>
                                          </p:cBhvr>
                                          <p:tavLst>
                                            <p:tav tm="0">
                                              <p:val>
                                                <p:strVal val="#ppt_y"/>
                                              </p:val>
                                            </p:tav>
                                            <p:tav tm="100000">
                                              <p:val>
                                                <p:strVal val="#ppt_y"/>
                                              </p:val>
                                            </p:tav>
                                          </p:tavLst>
                                        </p:anim>
                                      </p:childTnLst>
                                    </p:cTn>
                                  </p:par>
                                  <p:par>
                                    <p:cTn id="33" presetID="2" presetClass="entr" presetSubtype="8" fill="hold" grpId="0" nodeType="withEffect">
                                      <p:stCondLst>
                                        <p:cond delay="1400"/>
                                      </p:stCondLst>
                                      <p:childTnLst>
                                        <p:set>
                                          <p:cBhvr>
                                            <p:cTn id="34" dur="1" fill="hold">
                                              <p:stCondLst>
                                                <p:cond delay="0"/>
                                              </p:stCondLst>
                                            </p:cTn>
                                            <p:tgtEl>
                                              <p:spTgt spid="16"/>
                                            </p:tgtEl>
                                            <p:attrNameLst>
                                              <p:attrName>style.visibility</p:attrName>
                                            </p:attrNameLst>
                                          </p:cBhvr>
                                          <p:to>
                                            <p:strVal val="visible"/>
                                          </p:to>
                                        </p:set>
                                        <p:anim calcmode="lin" valueType="num">
                                          <p:cBhvr additive="base">
                                            <p:cTn id="35" dur="500" fill="hold"/>
                                            <p:tgtEl>
                                              <p:spTgt spid="16"/>
                                            </p:tgtEl>
                                            <p:attrNameLst>
                                              <p:attrName>ppt_x</p:attrName>
                                            </p:attrNameLst>
                                          </p:cBhvr>
                                          <p:tavLst>
                                            <p:tav tm="0">
                                              <p:val>
                                                <p:strVal val="0-#ppt_w/2"/>
                                              </p:val>
                                            </p:tav>
                                            <p:tav tm="100000">
                                              <p:val>
                                                <p:strVal val="#ppt_x"/>
                                              </p:val>
                                            </p:tav>
                                          </p:tavLst>
                                        </p:anim>
                                        <p:anim calcmode="lin" valueType="num">
                                          <p:cBhvr additive="base">
                                            <p:cTn id="36" dur="500" fill="hold"/>
                                            <p:tgtEl>
                                              <p:spTgt spid="16"/>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2" grpId="0"/>
          <p:bldP spid="11" grpId="0" animBg="1"/>
          <p:bldP spid="13" grpId="0"/>
          <p:bldP spid="15" grpId="0" animBg="1"/>
          <p:bldP spid="16" grpId="0"/>
          <p:bldP spid="17" grpId="0" animBg="1"/>
          <p:bldP spid="18" grpId="0"/>
        </p:bldLst>
      </p:timing>
    </mc:Choice>
    <mc:Fallback>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300"/>
                                            <p:tgtEl>
                                              <p:spTgt spid="17"/>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8"/>
                                            </p:tgtEl>
                                            <p:attrNameLst>
                                              <p:attrName>style.visibility</p:attrName>
                                            </p:attrNameLst>
                                          </p:cBhvr>
                                          <p:to>
                                            <p:strVal val="visible"/>
                                          </p:to>
                                        </p:set>
                                        <p:animEffect transition="in" filter="fade">
                                          <p:cBhvr>
                                            <p:cTn id="10" dur="300"/>
                                            <p:tgtEl>
                                              <p:spTgt spid="18"/>
                                            </p:tgtEl>
                                          </p:cBhvr>
                                        </p:animEffect>
                                      </p:childTnLst>
                                    </p:cTn>
                                  </p:par>
                                </p:childTnLst>
                              </p:cTn>
                            </p:par>
                            <p:par>
                              <p:cTn id="11" fill="hold">
                                <p:stCondLst>
                                  <p:cond delay="500"/>
                                </p:stCondLst>
                                <p:childTnLst>
                                  <p:par>
                                    <p:cTn id="12" presetID="2" presetClass="entr" presetSubtype="2" fill="hold" nodeType="afterEffect">
                                      <p:stCondLst>
                                        <p:cond delay="0"/>
                                      </p:stCondLst>
                                      <p:childTnLst>
                                        <p:set>
                                          <p:cBhvr>
                                            <p:cTn id="13" dur="1" fill="hold">
                                              <p:stCondLst>
                                                <p:cond delay="0"/>
                                              </p:stCondLst>
                                            </p:cTn>
                                            <p:tgtEl>
                                              <p:spTgt spid="4098"/>
                                            </p:tgtEl>
                                            <p:attrNameLst>
                                              <p:attrName>style.visibility</p:attrName>
                                            </p:attrNameLst>
                                          </p:cBhvr>
                                          <p:to>
                                            <p:strVal val="visible"/>
                                          </p:to>
                                        </p:set>
                                        <p:anim calcmode="lin" valueType="num">
                                          <p:cBhvr additive="base">
                                            <p:cTn id="14" dur="500" fill="hold"/>
                                            <p:tgtEl>
                                              <p:spTgt spid="4098"/>
                                            </p:tgtEl>
                                            <p:attrNameLst>
                                              <p:attrName>ppt_x</p:attrName>
                                            </p:attrNameLst>
                                          </p:cBhvr>
                                          <p:tavLst>
                                            <p:tav tm="0">
                                              <p:val>
                                                <p:strVal val="1+#ppt_w/2"/>
                                              </p:val>
                                            </p:tav>
                                            <p:tav tm="100000">
                                              <p:val>
                                                <p:strVal val="#ppt_x"/>
                                              </p:val>
                                            </p:tav>
                                          </p:tavLst>
                                        </p:anim>
                                        <p:anim calcmode="lin" valueType="num">
                                          <p:cBhvr additive="base">
                                            <p:cTn id="15" dur="500" fill="hold"/>
                                            <p:tgtEl>
                                              <p:spTgt spid="4098"/>
                                            </p:tgtEl>
                                            <p:attrNameLst>
                                              <p:attrName>ppt_y</p:attrName>
                                            </p:attrNameLst>
                                          </p:cBhvr>
                                          <p:tavLst>
                                            <p:tav tm="0">
                                              <p:val>
                                                <p:strVal val="#ppt_y"/>
                                              </p:val>
                                            </p:tav>
                                            <p:tav tm="100000">
                                              <p:val>
                                                <p:strVal val="#ppt_y"/>
                                              </p:val>
                                            </p:tav>
                                          </p:tavLst>
                                        </p:anim>
                                      </p:childTnLst>
                                    </p:cTn>
                                  </p:par>
                                  <p:par>
                                    <p:cTn id="16" presetID="22" presetClass="entr" presetSubtype="4" fill="hold" grpId="0" nodeType="withEffect">
                                      <p:stCondLst>
                                        <p:cond delay="500"/>
                                      </p:stCondLst>
                                      <p:childTnLst>
                                        <p:set>
                                          <p:cBhvr>
                                            <p:cTn id="17" dur="1" fill="hold">
                                              <p:stCondLst>
                                                <p:cond delay="0"/>
                                              </p:stCondLst>
                                            </p:cTn>
                                            <p:tgtEl>
                                              <p:spTgt spid="9"/>
                                            </p:tgtEl>
                                            <p:attrNameLst>
                                              <p:attrName>style.visibility</p:attrName>
                                            </p:attrNameLst>
                                          </p:cBhvr>
                                          <p:to>
                                            <p:strVal val="visible"/>
                                          </p:to>
                                        </p:set>
                                        <p:animEffect transition="in" filter="wipe(down)">
                                          <p:cBhvr>
                                            <p:cTn id="18" dur="500"/>
                                            <p:tgtEl>
                                              <p:spTgt spid="9"/>
                                            </p:tgtEl>
                                          </p:cBhvr>
                                        </p:animEffect>
                                      </p:childTnLst>
                                    </p:cTn>
                                  </p:par>
                                  <p:par>
                                    <p:cTn id="19" presetID="22" presetClass="entr" presetSubtype="4" fill="hold" grpId="0" nodeType="withEffect">
                                      <p:stCondLst>
                                        <p:cond delay="700"/>
                                      </p:stCondLst>
                                      <p:childTnLst>
                                        <p:set>
                                          <p:cBhvr>
                                            <p:cTn id="20" dur="1" fill="hold">
                                              <p:stCondLst>
                                                <p:cond delay="0"/>
                                              </p:stCondLst>
                                            </p:cTn>
                                            <p:tgtEl>
                                              <p:spTgt spid="11"/>
                                            </p:tgtEl>
                                            <p:attrNameLst>
                                              <p:attrName>style.visibility</p:attrName>
                                            </p:attrNameLst>
                                          </p:cBhvr>
                                          <p:to>
                                            <p:strVal val="visible"/>
                                          </p:to>
                                        </p:set>
                                        <p:animEffect transition="in" filter="wipe(down)">
                                          <p:cBhvr>
                                            <p:cTn id="21" dur="500"/>
                                            <p:tgtEl>
                                              <p:spTgt spid="11"/>
                                            </p:tgtEl>
                                          </p:cBhvr>
                                        </p:animEffect>
                                      </p:childTnLst>
                                    </p:cTn>
                                  </p:par>
                                  <p:par>
                                    <p:cTn id="22" presetID="22" presetClass="entr" presetSubtype="4" fill="hold" grpId="0" nodeType="withEffect">
                                      <p:stCondLst>
                                        <p:cond delay="900"/>
                                      </p:stCondLst>
                                      <p:childTnLst>
                                        <p:set>
                                          <p:cBhvr>
                                            <p:cTn id="23" dur="1" fill="hold">
                                              <p:stCondLst>
                                                <p:cond delay="0"/>
                                              </p:stCondLst>
                                            </p:cTn>
                                            <p:tgtEl>
                                              <p:spTgt spid="15"/>
                                            </p:tgtEl>
                                            <p:attrNameLst>
                                              <p:attrName>style.visibility</p:attrName>
                                            </p:attrNameLst>
                                          </p:cBhvr>
                                          <p:to>
                                            <p:strVal val="visible"/>
                                          </p:to>
                                        </p:set>
                                        <p:animEffect transition="in" filter="wipe(down)">
                                          <p:cBhvr>
                                            <p:cTn id="24" dur="500"/>
                                            <p:tgtEl>
                                              <p:spTgt spid="15"/>
                                            </p:tgtEl>
                                          </p:cBhvr>
                                        </p:animEffect>
                                      </p:childTnLst>
                                    </p:cTn>
                                  </p:par>
                                  <p:par>
                                    <p:cTn id="25" presetID="2" presetClass="entr" presetSubtype="8" fill="hold" grpId="0" nodeType="withEffect">
                                      <p:stCondLst>
                                        <p:cond delay="1000"/>
                                      </p:stCondLst>
                                      <p:childTnLst>
                                        <p:set>
                                          <p:cBhvr>
                                            <p:cTn id="26" dur="1" fill="hold">
                                              <p:stCondLst>
                                                <p:cond delay="0"/>
                                              </p:stCondLst>
                                            </p:cTn>
                                            <p:tgtEl>
                                              <p:spTgt spid="2"/>
                                            </p:tgtEl>
                                            <p:attrNameLst>
                                              <p:attrName>style.visibility</p:attrName>
                                            </p:attrNameLst>
                                          </p:cBhvr>
                                          <p:to>
                                            <p:strVal val="visible"/>
                                          </p:to>
                                        </p:set>
                                        <p:anim calcmode="lin" valueType="num">
                                          <p:cBhvr additive="base">
                                            <p:cTn id="27" dur="500" fill="hold"/>
                                            <p:tgtEl>
                                              <p:spTgt spid="2"/>
                                            </p:tgtEl>
                                            <p:attrNameLst>
                                              <p:attrName>ppt_x</p:attrName>
                                            </p:attrNameLst>
                                          </p:cBhvr>
                                          <p:tavLst>
                                            <p:tav tm="0">
                                              <p:val>
                                                <p:strVal val="0-#ppt_w/2"/>
                                              </p:val>
                                            </p:tav>
                                            <p:tav tm="100000">
                                              <p:val>
                                                <p:strVal val="#ppt_x"/>
                                              </p:val>
                                            </p:tav>
                                          </p:tavLst>
                                        </p:anim>
                                        <p:anim calcmode="lin" valueType="num">
                                          <p:cBhvr additive="base">
                                            <p:cTn id="28" dur="500" fill="hold"/>
                                            <p:tgtEl>
                                              <p:spTgt spid="2"/>
                                            </p:tgtEl>
                                            <p:attrNameLst>
                                              <p:attrName>ppt_y</p:attrName>
                                            </p:attrNameLst>
                                          </p:cBhvr>
                                          <p:tavLst>
                                            <p:tav tm="0">
                                              <p:val>
                                                <p:strVal val="#ppt_y"/>
                                              </p:val>
                                            </p:tav>
                                            <p:tav tm="100000">
                                              <p:val>
                                                <p:strVal val="#ppt_y"/>
                                              </p:val>
                                            </p:tav>
                                          </p:tavLst>
                                        </p:anim>
                                      </p:childTnLst>
                                    </p:cTn>
                                  </p:par>
                                  <p:par>
                                    <p:cTn id="29" presetID="2" presetClass="entr" presetSubtype="8" fill="hold" grpId="0" nodeType="withEffect">
                                      <p:stCondLst>
                                        <p:cond delay="1200"/>
                                      </p:stCondLst>
                                      <p:childTnLst>
                                        <p:set>
                                          <p:cBhvr>
                                            <p:cTn id="30" dur="1" fill="hold">
                                              <p:stCondLst>
                                                <p:cond delay="0"/>
                                              </p:stCondLst>
                                            </p:cTn>
                                            <p:tgtEl>
                                              <p:spTgt spid="13"/>
                                            </p:tgtEl>
                                            <p:attrNameLst>
                                              <p:attrName>style.visibility</p:attrName>
                                            </p:attrNameLst>
                                          </p:cBhvr>
                                          <p:to>
                                            <p:strVal val="visible"/>
                                          </p:to>
                                        </p:set>
                                        <p:anim calcmode="lin" valueType="num">
                                          <p:cBhvr additive="base">
                                            <p:cTn id="31" dur="500" fill="hold"/>
                                            <p:tgtEl>
                                              <p:spTgt spid="13"/>
                                            </p:tgtEl>
                                            <p:attrNameLst>
                                              <p:attrName>ppt_x</p:attrName>
                                            </p:attrNameLst>
                                          </p:cBhvr>
                                          <p:tavLst>
                                            <p:tav tm="0">
                                              <p:val>
                                                <p:strVal val="0-#ppt_w/2"/>
                                              </p:val>
                                            </p:tav>
                                            <p:tav tm="100000">
                                              <p:val>
                                                <p:strVal val="#ppt_x"/>
                                              </p:val>
                                            </p:tav>
                                          </p:tavLst>
                                        </p:anim>
                                        <p:anim calcmode="lin" valueType="num">
                                          <p:cBhvr additive="base">
                                            <p:cTn id="32" dur="500" fill="hold"/>
                                            <p:tgtEl>
                                              <p:spTgt spid="13"/>
                                            </p:tgtEl>
                                            <p:attrNameLst>
                                              <p:attrName>ppt_y</p:attrName>
                                            </p:attrNameLst>
                                          </p:cBhvr>
                                          <p:tavLst>
                                            <p:tav tm="0">
                                              <p:val>
                                                <p:strVal val="#ppt_y"/>
                                              </p:val>
                                            </p:tav>
                                            <p:tav tm="100000">
                                              <p:val>
                                                <p:strVal val="#ppt_y"/>
                                              </p:val>
                                            </p:tav>
                                          </p:tavLst>
                                        </p:anim>
                                      </p:childTnLst>
                                    </p:cTn>
                                  </p:par>
                                  <p:par>
                                    <p:cTn id="33" presetID="2" presetClass="entr" presetSubtype="8" fill="hold" grpId="0" nodeType="withEffect">
                                      <p:stCondLst>
                                        <p:cond delay="1400"/>
                                      </p:stCondLst>
                                      <p:childTnLst>
                                        <p:set>
                                          <p:cBhvr>
                                            <p:cTn id="34" dur="1" fill="hold">
                                              <p:stCondLst>
                                                <p:cond delay="0"/>
                                              </p:stCondLst>
                                            </p:cTn>
                                            <p:tgtEl>
                                              <p:spTgt spid="16"/>
                                            </p:tgtEl>
                                            <p:attrNameLst>
                                              <p:attrName>style.visibility</p:attrName>
                                            </p:attrNameLst>
                                          </p:cBhvr>
                                          <p:to>
                                            <p:strVal val="visible"/>
                                          </p:to>
                                        </p:set>
                                        <p:anim calcmode="lin" valueType="num">
                                          <p:cBhvr additive="base">
                                            <p:cTn id="35" dur="500" fill="hold"/>
                                            <p:tgtEl>
                                              <p:spTgt spid="16"/>
                                            </p:tgtEl>
                                            <p:attrNameLst>
                                              <p:attrName>ppt_x</p:attrName>
                                            </p:attrNameLst>
                                          </p:cBhvr>
                                          <p:tavLst>
                                            <p:tav tm="0">
                                              <p:val>
                                                <p:strVal val="0-#ppt_w/2"/>
                                              </p:val>
                                            </p:tav>
                                            <p:tav tm="100000">
                                              <p:val>
                                                <p:strVal val="#ppt_x"/>
                                              </p:val>
                                            </p:tav>
                                          </p:tavLst>
                                        </p:anim>
                                        <p:anim calcmode="lin" valueType="num">
                                          <p:cBhvr additive="base">
                                            <p:cTn id="36" dur="500" fill="hold"/>
                                            <p:tgtEl>
                                              <p:spTgt spid="16"/>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2" grpId="0"/>
          <p:bldP spid="11" grpId="0" animBg="1"/>
          <p:bldP spid="13" grpId="0"/>
          <p:bldP spid="15" grpId="0" animBg="1"/>
          <p:bldP spid="16" grpId="0"/>
          <p:bldP spid="17" grpId="0" animBg="1"/>
          <p:bldP spid="18" grpId="0"/>
        </p:bldLst>
      </p:timing>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矩形 33" hidden="1"/>
          <p:cNvSpPr/>
          <p:nvPr/>
        </p:nvSpPr>
        <p:spPr>
          <a:xfrm>
            <a:off x="2584817" y="2133288"/>
            <a:ext cx="936104" cy="6551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smtClean="0">
                <a:solidFill>
                  <a:srgbClr val="B0F533"/>
                </a:solidFill>
                <a:latin typeface="Gill Sans MT Pro Light" pitchFamily="34" charset="0"/>
              </a:rPr>
              <a:t>1</a:t>
            </a:r>
            <a:endParaRPr lang="zh-CN" altLang="en-US" sz="3600">
              <a:solidFill>
                <a:srgbClr val="B0F533"/>
              </a:solidFill>
              <a:latin typeface="Gill Sans MT Pro Light" pitchFamily="34" charset="0"/>
            </a:endParaRPr>
          </a:p>
        </p:txBody>
      </p:sp>
      <p:sp>
        <p:nvSpPr>
          <p:cNvPr id="35" name="矩形 34" hidden="1"/>
          <p:cNvSpPr/>
          <p:nvPr/>
        </p:nvSpPr>
        <p:spPr>
          <a:xfrm>
            <a:off x="3621305" y="2133288"/>
            <a:ext cx="5984291" cy="655104"/>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smtClean="0">
                <a:latin typeface="华文黑体" pitchFamily="2" charset="-122"/>
                <a:ea typeface="华文黑体" pitchFamily="2" charset="-122"/>
                <a:cs typeface="华文黑体" pitchFamily="2" charset="-122"/>
              </a:rPr>
              <a:t>                     点击添加标题</a:t>
            </a:r>
            <a:endParaRPr lang="zh-CN" altLang="en-US" sz="2800">
              <a:latin typeface="华文黑体" pitchFamily="2" charset="-122"/>
              <a:ea typeface="华文黑体" pitchFamily="2" charset="-122"/>
              <a:cs typeface="华文黑体" pitchFamily="2" charset="-122"/>
            </a:endParaRPr>
          </a:p>
        </p:txBody>
      </p:sp>
      <p:grpSp>
        <p:nvGrpSpPr>
          <p:cNvPr id="13" name="组合 12"/>
          <p:cNvGrpSpPr/>
          <p:nvPr/>
        </p:nvGrpSpPr>
        <p:grpSpPr>
          <a:xfrm>
            <a:off x="10262562" y="4756567"/>
            <a:ext cx="648072" cy="648072"/>
            <a:chOff x="10262562" y="4756567"/>
            <a:chExt cx="648072" cy="648072"/>
          </a:xfrm>
        </p:grpSpPr>
        <p:sp>
          <p:nvSpPr>
            <p:cNvPr id="19" name="圆角矩形 18"/>
            <p:cNvSpPr/>
            <p:nvPr/>
          </p:nvSpPr>
          <p:spPr>
            <a:xfrm>
              <a:off x="10262562" y="4756567"/>
              <a:ext cx="648072" cy="648072"/>
            </a:xfrm>
            <a:prstGeom prst="round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bg1"/>
                </a:solidFill>
              </a:endParaRPr>
            </a:p>
          </p:txBody>
        </p:sp>
        <p:sp>
          <p:nvSpPr>
            <p:cNvPr id="8" name="Freeform 9"/>
            <p:cNvSpPr/>
            <p:nvPr/>
          </p:nvSpPr>
          <p:spPr bwMode="auto">
            <a:xfrm flipH="1">
              <a:off x="10324993" y="4916724"/>
              <a:ext cx="523211" cy="327759"/>
            </a:xfrm>
            <a:custGeom>
              <a:avLst/>
              <a:gdLst>
                <a:gd name="T0" fmla="*/ 262 w 320"/>
                <a:gd name="T1" fmla="*/ 70 h 200"/>
                <a:gd name="T2" fmla="*/ 163 w 320"/>
                <a:gd name="T3" fmla="*/ 0 h 200"/>
                <a:gd name="T4" fmla="*/ 63 w 320"/>
                <a:gd name="T5" fmla="*/ 94 h 200"/>
                <a:gd name="T6" fmla="*/ 54 w 320"/>
                <a:gd name="T7" fmla="*/ 93 h 200"/>
                <a:gd name="T8" fmla="*/ 0 w 320"/>
                <a:gd name="T9" fmla="*/ 146 h 200"/>
                <a:gd name="T10" fmla="*/ 43 w 320"/>
                <a:gd name="T11" fmla="*/ 200 h 200"/>
                <a:gd name="T12" fmla="*/ 251 w 320"/>
                <a:gd name="T13" fmla="*/ 200 h 200"/>
                <a:gd name="T14" fmla="*/ 320 w 320"/>
                <a:gd name="T15" fmla="*/ 134 h 200"/>
                <a:gd name="T16" fmla="*/ 262 w 320"/>
                <a:gd name="T17" fmla="*/ 7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0" h="200">
                  <a:moveTo>
                    <a:pt x="262" y="70"/>
                  </a:moveTo>
                  <a:cubicBezTo>
                    <a:pt x="249" y="29"/>
                    <a:pt x="209" y="0"/>
                    <a:pt x="163" y="0"/>
                  </a:cubicBezTo>
                  <a:cubicBezTo>
                    <a:pt x="108" y="0"/>
                    <a:pt x="66" y="41"/>
                    <a:pt x="63" y="94"/>
                  </a:cubicBezTo>
                  <a:cubicBezTo>
                    <a:pt x="60" y="94"/>
                    <a:pt x="57" y="93"/>
                    <a:pt x="54" y="93"/>
                  </a:cubicBezTo>
                  <a:cubicBezTo>
                    <a:pt x="24" y="93"/>
                    <a:pt x="0" y="117"/>
                    <a:pt x="0" y="146"/>
                  </a:cubicBezTo>
                  <a:cubicBezTo>
                    <a:pt x="0" y="171"/>
                    <a:pt x="19" y="195"/>
                    <a:pt x="43" y="200"/>
                  </a:cubicBezTo>
                  <a:cubicBezTo>
                    <a:pt x="251" y="200"/>
                    <a:pt x="251" y="200"/>
                    <a:pt x="251" y="200"/>
                  </a:cubicBezTo>
                  <a:cubicBezTo>
                    <a:pt x="287" y="200"/>
                    <a:pt x="320" y="170"/>
                    <a:pt x="320" y="134"/>
                  </a:cubicBezTo>
                  <a:cubicBezTo>
                    <a:pt x="320" y="101"/>
                    <a:pt x="295" y="74"/>
                    <a:pt x="262" y="70"/>
                  </a:cubicBezTo>
                  <a:close/>
                </a:path>
              </a:pathLst>
            </a:custGeom>
            <a:gradFill flip="none" rotWithShape="1">
              <a:gsLst>
                <a:gs pos="0">
                  <a:srgbClr val="47A7FF">
                    <a:shade val="30000"/>
                    <a:satMod val="115000"/>
                  </a:srgbClr>
                </a:gs>
                <a:gs pos="50000">
                  <a:srgbClr val="47A7FF">
                    <a:shade val="67500"/>
                    <a:satMod val="115000"/>
                  </a:srgbClr>
                </a:gs>
                <a:gs pos="100000">
                  <a:srgbClr val="47A7FF">
                    <a:shade val="100000"/>
                    <a:satMod val="115000"/>
                  </a:srgbClr>
                </a:gs>
              </a:gsLst>
              <a:lin ang="5400000" scaled="1"/>
              <a:tileRect/>
            </a:gra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ysClr val="windowText" lastClr="000000"/>
                </a:solidFill>
                <a:latin typeface="Calibri" panose="020F0502020204030204"/>
                <a:ea typeface="宋体" panose="02010600030101010101" pitchFamily="2" charset="-122"/>
              </a:endParaRPr>
            </a:p>
          </p:txBody>
        </p:sp>
      </p:grpSp>
      <p:grpSp>
        <p:nvGrpSpPr>
          <p:cNvPr id="7" name="组合 6"/>
          <p:cNvGrpSpPr/>
          <p:nvPr/>
        </p:nvGrpSpPr>
        <p:grpSpPr>
          <a:xfrm>
            <a:off x="10262562" y="3954004"/>
            <a:ext cx="648072" cy="648072"/>
            <a:chOff x="10262562" y="3923133"/>
            <a:chExt cx="648072" cy="648072"/>
          </a:xfrm>
        </p:grpSpPr>
        <p:sp>
          <p:nvSpPr>
            <p:cNvPr id="18" name="圆角矩形 17"/>
            <p:cNvSpPr/>
            <p:nvPr/>
          </p:nvSpPr>
          <p:spPr>
            <a:xfrm>
              <a:off x="10262562" y="3923133"/>
              <a:ext cx="648072" cy="648072"/>
            </a:xfrm>
            <a:prstGeom prst="round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bg1"/>
                </a:solidFill>
              </a:endParaRPr>
            </a:p>
          </p:txBody>
        </p:sp>
        <p:sp>
          <p:nvSpPr>
            <p:cNvPr id="9" name="Freeform 41"/>
            <p:cNvSpPr>
              <a:spLocks noEditPoints="1"/>
            </p:cNvSpPr>
            <p:nvPr/>
          </p:nvSpPr>
          <p:spPr bwMode="auto">
            <a:xfrm>
              <a:off x="10377113" y="4037684"/>
              <a:ext cx="418970" cy="418970"/>
            </a:xfrm>
            <a:custGeom>
              <a:avLst/>
              <a:gdLst>
                <a:gd name="T0" fmla="*/ 128 w 256"/>
                <a:gd name="T1" fmla="*/ 0 h 256"/>
                <a:gd name="T2" fmla="*/ 0 w 256"/>
                <a:gd name="T3" fmla="*/ 128 h 256"/>
                <a:gd name="T4" fmla="*/ 128 w 256"/>
                <a:gd name="T5" fmla="*/ 256 h 256"/>
                <a:gd name="T6" fmla="*/ 256 w 256"/>
                <a:gd name="T7" fmla="*/ 128 h 256"/>
                <a:gd name="T8" fmla="*/ 128 w 256"/>
                <a:gd name="T9" fmla="*/ 0 h 256"/>
                <a:gd name="T10" fmla="*/ 135 w 256"/>
                <a:gd name="T11" fmla="*/ 200 h 256"/>
                <a:gd name="T12" fmla="*/ 119 w 256"/>
                <a:gd name="T13" fmla="*/ 200 h 256"/>
                <a:gd name="T14" fmla="*/ 112 w 256"/>
                <a:gd name="T15" fmla="*/ 192 h 256"/>
                <a:gd name="T16" fmla="*/ 111 w 256"/>
                <a:gd name="T17" fmla="*/ 176 h 256"/>
                <a:gd name="T18" fmla="*/ 119 w 256"/>
                <a:gd name="T19" fmla="*/ 168 h 256"/>
                <a:gd name="T20" fmla="*/ 135 w 256"/>
                <a:gd name="T21" fmla="*/ 168 h 256"/>
                <a:gd name="T22" fmla="*/ 143 w 256"/>
                <a:gd name="T23" fmla="*/ 176 h 256"/>
                <a:gd name="T24" fmla="*/ 144 w 256"/>
                <a:gd name="T25" fmla="*/ 192 h 256"/>
                <a:gd name="T26" fmla="*/ 135 w 256"/>
                <a:gd name="T27" fmla="*/ 200 h 256"/>
                <a:gd name="T28" fmla="*/ 170 w 256"/>
                <a:gd name="T29" fmla="*/ 109 h 256"/>
                <a:gd name="T30" fmla="*/ 154 w 256"/>
                <a:gd name="T31" fmla="*/ 125 h 256"/>
                <a:gd name="T32" fmla="*/ 145 w 256"/>
                <a:gd name="T33" fmla="*/ 132 h 256"/>
                <a:gd name="T34" fmla="*/ 144 w 256"/>
                <a:gd name="T35" fmla="*/ 135 h 256"/>
                <a:gd name="T36" fmla="*/ 143 w 256"/>
                <a:gd name="T37" fmla="*/ 144 h 256"/>
                <a:gd name="T38" fmla="*/ 135 w 256"/>
                <a:gd name="T39" fmla="*/ 152 h 256"/>
                <a:gd name="T40" fmla="*/ 120 w 256"/>
                <a:gd name="T41" fmla="*/ 152 h 256"/>
                <a:gd name="T42" fmla="*/ 112 w 256"/>
                <a:gd name="T43" fmla="*/ 144 h 256"/>
                <a:gd name="T44" fmla="*/ 112 w 256"/>
                <a:gd name="T45" fmla="*/ 140 h 256"/>
                <a:gd name="T46" fmla="*/ 115 w 256"/>
                <a:gd name="T47" fmla="*/ 124 h 256"/>
                <a:gd name="T48" fmla="*/ 123 w 256"/>
                <a:gd name="T49" fmla="*/ 113 h 256"/>
                <a:gd name="T50" fmla="*/ 134 w 256"/>
                <a:gd name="T51" fmla="*/ 104 h 256"/>
                <a:gd name="T52" fmla="*/ 143 w 256"/>
                <a:gd name="T53" fmla="*/ 96 h 256"/>
                <a:gd name="T54" fmla="*/ 144 w 256"/>
                <a:gd name="T55" fmla="*/ 93 h 256"/>
                <a:gd name="T56" fmla="*/ 140 w 256"/>
                <a:gd name="T57" fmla="*/ 86 h 256"/>
                <a:gd name="T58" fmla="*/ 128 w 256"/>
                <a:gd name="T59" fmla="*/ 83 h 256"/>
                <a:gd name="T60" fmla="*/ 117 w 256"/>
                <a:gd name="T61" fmla="*/ 86 h 256"/>
                <a:gd name="T62" fmla="*/ 111 w 256"/>
                <a:gd name="T63" fmla="*/ 97 h 256"/>
                <a:gd name="T64" fmla="*/ 103 w 256"/>
                <a:gd name="T65" fmla="*/ 104 h 256"/>
                <a:gd name="T66" fmla="*/ 103 w 256"/>
                <a:gd name="T67" fmla="*/ 104 h 256"/>
                <a:gd name="T68" fmla="*/ 87 w 256"/>
                <a:gd name="T69" fmla="*/ 102 h 256"/>
                <a:gd name="T70" fmla="*/ 81 w 256"/>
                <a:gd name="T71" fmla="*/ 99 h 256"/>
                <a:gd name="T72" fmla="*/ 80 w 256"/>
                <a:gd name="T73" fmla="*/ 93 h 256"/>
                <a:gd name="T74" fmla="*/ 95 w 256"/>
                <a:gd name="T75" fmla="*/ 66 h 256"/>
                <a:gd name="T76" fmla="*/ 128 w 256"/>
                <a:gd name="T77" fmla="*/ 56 h 256"/>
                <a:gd name="T78" fmla="*/ 162 w 256"/>
                <a:gd name="T79" fmla="*/ 66 h 256"/>
                <a:gd name="T80" fmla="*/ 176 w 256"/>
                <a:gd name="T81" fmla="*/ 92 h 256"/>
                <a:gd name="T82" fmla="*/ 170 w 256"/>
                <a:gd name="T83" fmla="*/ 109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56" h="256">
                  <a:moveTo>
                    <a:pt x="128" y="0"/>
                  </a:moveTo>
                  <a:cubicBezTo>
                    <a:pt x="57" y="0"/>
                    <a:pt x="0" y="57"/>
                    <a:pt x="0" y="128"/>
                  </a:cubicBezTo>
                  <a:cubicBezTo>
                    <a:pt x="0" y="199"/>
                    <a:pt x="57" y="256"/>
                    <a:pt x="128" y="256"/>
                  </a:cubicBezTo>
                  <a:cubicBezTo>
                    <a:pt x="199" y="256"/>
                    <a:pt x="256" y="199"/>
                    <a:pt x="256" y="128"/>
                  </a:cubicBezTo>
                  <a:cubicBezTo>
                    <a:pt x="256" y="57"/>
                    <a:pt x="199" y="0"/>
                    <a:pt x="128" y="0"/>
                  </a:cubicBezTo>
                  <a:close/>
                  <a:moveTo>
                    <a:pt x="135" y="200"/>
                  </a:moveTo>
                  <a:cubicBezTo>
                    <a:pt x="119" y="200"/>
                    <a:pt x="119" y="200"/>
                    <a:pt x="119" y="200"/>
                  </a:cubicBezTo>
                  <a:cubicBezTo>
                    <a:pt x="115" y="200"/>
                    <a:pt x="112" y="196"/>
                    <a:pt x="112" y="192"/>
                  </a:cubicBezTo>
                  <a:cubicBezTo>
                    <a:pt x="111" y="176"/>
                    <a:pt x="111" y="176"/>
                    <a:pt x="111" y="176"/>
                  </a:cubicBezTo>
                  <a:cubicBezTo>
                    <a:pt x="111" y="171"/>
                    <a:pt x="115" y="168"/>
                    <a:pt x="119" y="168"/>
                  </a:cubicBezTo>
                  <a:cubicBezTo>
                    <a:pt x="135" y="168"/>
                    <a:pt x="135" y="168"/>
                    <a:pt x="135" y="168"/>
                  </a:cubicBezTo>
                  <a:cubicBezTo>
                    <a:pt x="140" y="168"/>
                    <a:pt x="143" y="172"/>
                    <a:pt x="143" y="176"/>
                  </a:cubicBezTo>
                  <a:cubicBezTo>
                    <a:pt x="144" y="192"/>
                    <a:pt x="144" y="192"/>
                    <a:pt x="144" y="192"/>
                  </a:cubicBezTo>
                  <a:cubicBezTo>
                    <a:pt x="144" y="196"/>
                    <a:pt x="140" y="200"/>
                    <a:pt x="135" y="200"/>
                  </a:cubicBezTo>
                  <a:close/>
                  <a:moveTo>
                    <a:pt x="170" y="109"/>
                  </a:moveTo>
                  <a:cubicBezTo>
                    <a:pt x="167" y="114"/>
                    <a:pt x="162" y="119"/>
                    <a:pt x="154" y="125"/>
                  </a:cubicBezTo>
                  <a:cubicBezTo>
                    <a:pt x="148" y="130"/>
                    <a:pt x="146" y="132"/>
                    <a:pt x="145" y="132"/>
                  </a:cubicBezTo>
                  <a:cubicBezTo>
                    <a:pt x="145" y="133"/>
                    <a:pt x="144" y="134"/>
                    <a:pt x="144" y="135"/>
                  </a:cubicBezTo>
                  <a:cubicBezTo>
                    <a:pt x="143" y="136"/>
                    <a:pt x="143" y="138"/>
                    <a:pt x="143" y="144"/>
                  </a:cubicBezTo>
                  <a:cubicBezTo>
                    <a:pt x="143" y="149"/>
                    <a:pt x="139" y="152"/>
                    <a:pt x="135" y="152"/>
                  </a:cubicBezTo>
                  <a:cubicBezTo>
                    <a:pt x="120" y="152"/>
                    <a:pt x="120" y="152"/>
                    <a:pt x="120" y="152"/>
                  </a:cubicBezTo>
                  <a:cubicBezTo>
                    <a:pt x="116" y="152"/>
                    <a:pt x="112" y="149"/>
                    <a:pt x="112" y="144"/>
                  </a:cubicBezTo>
                  <a:cubicBezTo>
                    <a:pt x="112" y="140"/>
                    <a:pt x="112" y="140"/>
                    <a:pt x="112" y="140"/>
                  </a:cubicBezTo>
                  <a:cubicBezTo>
                    <a:pt x="112" y="134"/>
                    <a:pt x="113" y="129"/>
                    <a:pt x="115" y="124"/>
                  </a:cubicBezTo>
                  <a:cubicBezTo>
                    <a:pt x="117" y="120"/>
                    <a:pt x="119" y="117"/>
                    <a:pt x="123" y="113"/>
                  </a:cubicBezTo>
                  <a:cubicBezTo>
                    <a:pt x="125" y="111"/>
                    <a:pt x="129" y="108"/>
                    <a:pt x="134" y="104"/>
                  </a:cubicBezTo>
                  <a:cubicBezTo>
                    <a:pt x="141" y="99"/>
                    <a:pt x="142" y="97"/>
                    <a:pt x="143" y="96"/>
                  </a:cubicBezTo>
                  <a:cubicBezTo>
                    <a:pt x="144" y="95"/>
                    <a:pt x="144" y="94"/>
                    <a:pt x="144" y="93"/>
                  </a:cubicBezTo>
                  <a:cubicBezTo>
                    <a:pt x="144" y="92"/>
                    <a:pt x="143" y="89"/>
                    <a:pt x="140" y="86"/>
                  </a:cubicBezTo>
                  <a:cubicBezTo>
                    <a:pt x="137" y="84"/>
                    <a:pt x="132" y="83"/>
                    <a:pt x="128" y="83"/>
                  </a:cubicBezTo>
                  <a:cubicBezTo>
                    <a:pt x="124" y="83"/>
                    <a:pt x="120" y="84"/>
                    <a:pt x="117" y="86"/>
                  </a:cubicBezTo>
                  <a:cubicBezTo>
                    <a:pt x="114" y="88"/>
                    <a:pt x="112" y="92"/>
                    <a:pt x="111" y="97"/>
                  </a:cubicBezTo>
                  <a:cubicBezTo>
                    <a:pt x="111" y="101"/>
                    <a:pt x="107" y="104"/>
                    <a:pt x="103" y="104"/>
                  </a:cubicBezTo>
                  <a:cubicBezTo>
                    <a:pt x="103" y="104"/>
                    <a:pt x="103" y="104"/>
                    <a:pt x="103" y="104"/>
                  </a:cubicBezTo>
                  <a:cubicBezTo>
                    <a:pt x="87" y="102"/>
                    <a:pt x="87" y="102"/>
                    <a:pt x="87" y="102"/>
                  </a:cubicBezTo>
                  <a:cubicBezTo>
                    <a:pt x="85" y="102"/>
                    <a:pt x="83" y="101"/>
                    <a:pt x="81" y="99"/>
                  </a:cubicBezTo>
                  <a:cubicBezTo>
                    <a:pt x="80" y="97"/>
                    <a:pt x="79" y="95"/>
                    <a:pt x="80" y="93"/>
                  </a:cubicBezTo>
                  <a:cubicBezTo>
                    <a:pt x="82" y="81"/>
                    <a:pt x="87" y="72"/>
                    <a:pt x="95" y="66"/>
                  </a:cubicBezTo>
                  <a:cubicBezTo>
                    <a:pt x="104" y="59"/>
                    <a:pt x="115" y="56"/>
                    <a:pt x="128" y="56"/>
                  </a:cubicBezTo>
                  <a:cubicBezTo>
                    <a:pt x="142" y="56"/>
                    <a:pt x="153" y="60"/>
                    <a:pt x="162" y="66"/>
                  </a:cubicBezTo>
                  <a:cubicBezTo>
                    <a:pt x="171" y="73"/>
                    <a:pt x="176" y="82"/>
                    <a:pt x="176" y="92"/>
                  </a:cubicBezTo>
                  <a:cubicBezTo>
                    <a:pt x="176" y="99"/>
                    <a:pt x="174" y="104"/>
                    <a:pt x="170" y="109"/>
                  </a:cubicBezTo>
                  <a:close/>
                </a:path>
              </a:pathLst>
            </a:custGeom>
            <a:gradFill flip="none" rotWithShape="1">
              <a:gsLst>
                <a:gs pos="0">
                  <a:srgbClr val="47A7FF">
                    <a:shade val="30000"/>
                    <a:satMod val="115000"/>
                  </a:srgbClr>
                </a:gs>
                <a:gs pos="50000">
                  <a:srgbClr val="47A7FF">
                    <a:shade val="67500"/>
                    <a:satMod val="115000"/>
                  </a:srgbClr>
                </a:gs>
                <a:gs pos="100000">
                  <a:srgbClr val="47A7FF">
                    <a:shade val="100000"/>
                    <a:satMod val="115000"/>
                  </a:srgbClr>
                </a:gs>
              </a:gsLst>
              <a:lin ang="5400000" scaled="1"/>
              <a:tileRect/>
            </a:gra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ysClr val="windowText" lastClr="000000"/>
                </a:solidFill>
                <a:latin typeface="Calibri" panose="020F0502020204030204"/>
                <a:ea typeface="宋体" panose="02010600030101010101" pitchFamily="2" charset="-122"/>
              </a:endParaRPr>
            </a:p>
          </p:txBody>
        </p:sp>
      </p:grpSp>
      <p:grpSp>
        <p:nvGrpSpPr>
          <p:cNvPr id="4" name="组合 3"/>
          <p:cNvGrpSpPr/>
          <p:nvPr/>
        </p:nvGrpSpPr>
        <p:grpSpPr>
          <a:xfrm>
            <a:off x="10262562" y="2348880"/>
            <a:ext cx="648072" cy="648072"/>
            <a:chOff x="8903518" y="2489855"/>
            <a:chExt cx="648072" cy="648072"/>
          </a:xfrm>
        </p:grpSpPr>
        <p:sp>
          <p:nvSpPr>
            <p:cNvPr id="3" name="圆角矩形 2"/>
            <p:cNvSpPr/>
            <p:nvPr/>
          </p:nvSpPr>
          <p:spPr>
            <a:xfrm>
              <a:off x="8903518" y="2489855"/>
              <a:ext cx="648072" cy="648072"/>
            </a:xfrm>
            <a:prstGeom prst="round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bg1"/>
                </a:solidFill>
              </a:endParaRPr>
            </a:p>
          </p:txBody>
        </p:sp>
        <p:sp>
          <p:nvSpPr>
            <p:cNvPr id="10" name="Freeform 45"/>
            <p:cNvSpPr/>
            <p:nvPr/>
          </p:nvSpPr>
          <p:spPr bwMode="auto">
            <a:xfrm flipH="1">
              <a:off x="9018069" y="2604406"/>
              <a:ext cx="418970" cy="418970"/>
            </a:xfrm>
            <a:custGeom>
              <a:avLst/>
              <a:gdLst>
                <a:gd name="T0" fmla="*/ 240 w 256"/>
                <a:gd name="T1" fmla="*/ 88 h 256"/>
                <a:gd name="T2" fmla="*/ 168 w 256"/>
                <a:gd name="T3" fmla="*/ 88 h 256"/>
                <a:gd name="T4" fmla="*/ 168 w 256"/>
                <a:gd name="T5" fmla="*/ 16 h 256"/>
                <a:gd name="T6" fmla="*/ 152 w 256"/>
                <a:gd name="T7" fmla="*/ 0 h 256"/>
                <a:gd name="T8" fmla="*/ 104 w 256"/>
                <a:gd name="T9" fmla="*/ 0 h 256"/>
                <a:gd name="T10" fmla="*/ 88 w 256"/>
                <a:gd name="T11" fmla="*/ 16 h 256"/>
                <a:gd name="T12" fmla="*/ 88 w 256"/>
                <a:gd name="T13" fmla="*/ 88 h 256"/>
                <a:gd name="T14" fmla="*/ 16 w 256"/>
                <a:gd name="T15" fmla="*/ 88 h 256"/>
                <a:gd name="T16" fmla="*/ 0 w 256"/>
                <a:gd name="T17" fmla="*/ 104 h 256"/>
                <a:gd name="T18" fmla="*/ 0 w 256"/>
                <a:gd name="T19" fmla="*/ 152 h 256"/>
                <a:gd name="T20" fmla="*/ 16 w 256"/>
                <a:gd name="T21" fmla="*/ 168 h 256"/>
                <a:gd name="T22" fmla="*/ 88 w 256"/>
                <a:gd name="T23" fmla="*/ 168 h 256"/>
                <a:gd name="T24" fmla="*/ 88 w 256"/>
                <a:gd name="T25" fmla="*/ 240 h 256"/>
                <a:gd name="T26" fmla="*/ 104 w 256"/>
                <a:gd name="T27" fmla="*/ 256 h 256"/>
                <a:gd name="T28" fmla="*/ 152 w 256"/>
                <a:gd name="T29" fmla="*/ 256 h 256"/>
                <a:gd name="T30" fmla="*/ 168 w 256"/>
                <a:gd name="T31" fmla="*/ 240 h 256"/>
                <a:gd name="T32" fmla="*/ 168 w 256"/>
                <a:gd name="T33" fmla="*/ 168 h 256"/>
                <a:gd name="T34" fmla="*/ 240 w 256"/>
                <a:gd name="T35" fmla="*/ 168 h 256"/>
                <a:gd name="T36" fmla="*/ 256 w 256"/>
                <a:gd name="T37" fmla="*/ 152 h 256"/>
                <a:gd name="T38" fmla="*/ 256 w 256"/>
                <a:gd name="T39" fmla="*/ 104 h 256"/>
                <a:gd name="T40" fmla="*/ 240 w 256"/>
                <a:gd name="T41" fmla="*/ 88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56" h="256">
                  <a:moveTo>
                    <a:pt x="240" y="88"/>
                  </a:moveTo>
                  <a:cubicBezTo>
                    <a:pt x="168" y="88"/>
                    <a:pt x="168" y="88"/>
                    <a:pt x="168" y="88"/>
                  </a:cubicBezTo>
                  <a:cubicBezTo>
                    <a:pt x="168" y="16"/>
                    <a:pt x="168" y="16"/>
                    <a:pt x="168" y="16"/>
                  </a:cubicBezTo>
                  <a:cubicBezTo>
                    <a:pt x="168" y="7"/>
                    <a:pt x="161" y="0"/>
                    <a:pt x="152" y="0"/>
                  </a:cubicBezTo>
                  <a:cubicBezTo>
                    <a:pt x="104" y="0"/>
                    <a:pt x="104" y="0"/>
                    <a:pt x="104" y="0"/>
                  </a:cubicBezTo>
                  <a:cubicBezTo>
                    <a:pt x="95" y="0"/>
                    <a:pt x="88" y="7"/>
                    <a:pt x="88" y="16"/>
                  </a:cubicBezTo>
                  <a:cubicBezTo>
                    <a:pt x="88" y="88"/>
                    <a:pt x="88" y="88"/>
                    <a:pt x="88" y="88"/>
                  </a:cubicBezTo>
                  <a:cubicBezTo>
                    <a:pt x="16" y="88"/>
                    <a:pt x="16" y="88"/>
                    <a:pt x="16" y="88"/>
                  </a:cubicBezTo>
                  <a:cubicBezTo>
                    <a:pt x="7" y="88"/>
                    <a:pt x="0" y="95"/>
                    <a:pt x="0" y="104"/>
                  </a:cubicBezTo>
                  <a:cubicBezTo>
                    <a:pt x="0" y="152"/>
                    <a:pt x="0" y="152"/>
                    <a:pt x="0" y="152"/>
                  </a:cubicBezTo>
                  <a:cubicBezTo>
                    <a:pt x="0" y="161"/>
                    <a:pt x="7" y="168"/>
                    <a:pt x="16" y="168"/>
                  </a:cubicBezTo>
                  <a:cubicBezTo>
                    <a:pt x="88" y="168"/>
                    <a:pt x="88" y="168"/>
                    <a:pt x="88" y="168"/>
                  </a:cubicBezTo>
                  <a:cubicBezTo>
                    <a:pt x="88" y="240"/>
                    <a:pt x="88" y="240"/>
                    <a:pt x="88" y="240"/>
                  </a:cubicBezTo>
                  <a:cubicBezTo>
                    <a:pt x="88" y="249"/>
                    <a:pt x="95" y="256"/>
                    <a:pt x="104" y="256"/>
                  </a:cubicBezTo>
                  <a:cubicBezTo>
                    <a:pt x="152" y="256"/>
                    <a:pt x="152" y="256"/>
                    <a:pt x="152" y="256"/>
                  </a:cubicBezTo>
                  <a:cubicBezTo>
                    <a:pt x="161" y="256"/>
                    <a:pt x="168" y="249"/>
                    <a:pt x="168" y="240"/>
                  </a:cubicBezTo>
                  <a:cubicBezTo>
                    <a:pt x="168" y="168"/>
                    <a:pt x="168" y="168"/>
                    <a:pt x="168" y="168"/>
                  </a:cubicBezTo>
                  <a:cubicBezTo>
                    <a:pt x="240" y="168"/>
                    <a:pt x="240" y="168"/>
                    <a:pt x="240" y="168"/>
                  </a:cubicBezTo>
                  <a:cubicBezTo>
                    <a:pt x="249" y="168"/>
                    <a:pt x="256" y="161"/>
                    <a:pt x="256" y="152"/>
                  </a:cubicBezTo>
                  <a:cubicBezTo>
                    <a:pt x="256" y="104"/>
                    <a:pt x="256" y="104"/>
                    <a:pt x="256" y="104"/>
                  </a:cubicBezTo>
                  <a:cubicBezTo>
                    <a:pt x="256" y="95"/>
                    <a:pt x="249" y="88"/>
                    <a:pt x="240" y="88"/>
                  </a:cubicBezTo>
                  <a:close/>
                </a:path>
              </a:pathLst>
            </a:custGeom>
            <a:gradFill flip="none" rotWithShape="1">
              <a:gsLst>
                <a:gs pos="0">
                  <a:srgbClr val="47A7FF">
                    <a:shade val="30000"/>
                    <a:satMod val="115000"/>
                  </a:srgbClr>
                </a:gs>
                <a:gs pos="50000">
                  <a:srgbClr val="47A7FF">
                    <a:shade val="67500"/>
                    <a:satMod val="115000"/>
                  </a:srgbClr>
                </a:gs>
                <a:gs pos="100000">
                  <a:srgbClr val="47A7FF">
                    <a:shade val="100000"/>
                    <a:satMod val="115000"/>
                  </a:srgbClr>
                </a:gs>
              </a:gsLst>
              <a:lin ang="5400000" scaled="1"/>
              <a:tileRect/>
            </a:gradFill>
            <a:ln>
              <a:noFill/>
            </a:ln>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ysClr val="windowText" lastClr="000000"/>
                </a:solidFill>
                <a:effectLst/>
                <a:uLnTx/>
                <a:uFillTx/>
                <a:latin typeface="Calibri" panose="020F0502020204030204"/>
                <a:ea typeface="宋体" panose="02010600030101010101" pitchFamily="2" charset="-122"/>
              </a:endParaRPr>
            </a:p>
          </p:txBody>
        </p:sp>
      </p:grpSp>
      <p:grpSp>
        <p:nvGrpSpPr>
          <p:cNvPr id="6" name="组合 5"/>
          <p:cNvGrpSpPr/>
          <p:nvPr/>
        </p:nvGrpSpPr>
        <p:grpSpPr>
          <a:xfrm>
            <a:off x="10262562" y="3151442"/>
            <a:ext cx="648072" cy="648072"/>
            <a:chOff x="10262562" y="3132604"/>
            <a:chExt cx="648072" cy="648072"/>
          </a:xfrm>
        </p:grpSpPr>
        <p:sp>
          <p:nvSpPr>
            <p:cNvPr id="16" name="圆角矩形 15"/>
            <p:cNvSpPr/>
            <p:nvPr/>
          </p:nvSpPr>
          <p:spPr>
            <a:xfrm>
              <a:off x="10262562" y="3132604"/>
              <a:ext cx="648072" cy="648072"/>
            </a:xfrm>
            <a:prstGeom prst="round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bg1"/>
                </a:solidFill>
              </a:endParaRPr>
            </a:p>
          </p:txBody>
        </p:sp>
        <p:sp>
          <p:nvSpPr>
            <p:cNvPr id="11" name="Freeform 50"/>
            <p:cNvSpPr>
              <a:spLocks noEditPoints="1"/>
            </p:cNvSpPr>
            <p:nvPr/>
          </p:nvSpPr>
          <p:spPr bwMode="auto">
            <a:xfrm flipH="1">
              <a:off x="10384153" y="3291960"/>
              <a:ext cx="411930" cy="329360"/>
            </a:xfrm>
            <a:custGeom>
              <a:avLst/>
              <a:gdLst>
                <a:gd name="T0" fmla="*/ 0 w 208"/>
                <a:gd name="T1" fmla="*/ 168 h 184"/>
                <a:gd name="T2" fmla="*/ 16 w 208"/>
                <a:gd name="T3" fmla="*/ 184 h 184"/>
                <a:gd name="T4" fmla="*/ 192 w 208"/>
                <a:gd name="T5" fmla="*/ 184 h 184"/>
                <a:gd name="T6" fmla="*/ 208 w 208"/>
                <a:gd name="T7" fmla="*/ 168 h 184"/>
                <a:gd name="T8" fmla="*/ 208 w 208"/>
                <a:gd name="T9" fmla="*/ 0 h 184"/>
                <a:gd name="T10" fmla="*/ 0 w 208"/>
                <a:gd name="T11" fmla="*/ 0 h 184"/>
                <a:gd name="T12" fmla="*/ 0 w 208"/>
                <a:gd name="T13" fmla="*/ 168 h 184"/>
                <a:gd name="T14" fmla="*/ 160 w 208"/>
                <a:gd name="T15" fmla="*/ 16 h 184"/>
                <a:gd name="T16" fmla="*/ 176 w 208"/>
                <a:gd name="T17" fmla="*/ 16 h 184"/>
                <a:gd name="T18" fmla="*/ 176 w 208"/>
                <a:gd name="T19" fmla="*/ 152 h 184"/>
                <a:gd name="T20" fmla="*/ 160 w 208"/>
                <a:gd name="T21" fmla="*/ 152 h 184"/>
                <a:gd name="T22" fmla="*/ 160 w 208"/>
                <a:gd name="T23" fmla="*/ 16 h 184"/>
                <a:gd name="T24" fmla="*/ 128 w 208"/>
                <a:gd name="T25" fmla="*/ 16 h 184"/>
                <a:gd name="T26" fmla="*/ 144 w 208"/>
                <a:gd name="T27" fmla="*/ 16 h 184"/>
                <a:gd name="T28" fmla="*/ 144 w 208"/>
                <a:gd name="T29" fmla="*/ 152 h 184"/>
                <a:gd name="T30" fmla="*/ 128 w 208"/>
                <a:gd name="T31" fmla="*/ 152 h 184"/>
                <a:gd name="T32" fmla="*/ 128 w 208"/>
                <a:gd name="T33" fmla="*/ 16 h 184"/>
                <a:gd name="T34" fmla="*/ 96 w 208"/>
                <a:gd name="T35" fmla="*/ 16 h 184"/>
                <a:gd name="T36" fmla="*/ 112 w 208"/>
                <a:gd name="T37" fmla="*/ 16 h 184"/>
                <a:gd name="T38" fmla="*/ 112 w 208"/>
                <a:gd name="T39" fmla="*/ 152 h 184"/>
                <a:gd name="T40" fmla="*/ 96 w 208"/>
                <a:gd name="T41" fmla="*/ 152 h 184"/>
                <a:gd name="T42" fmla="*/ 96 w 208"/>
                <a:gd name="T43" fmla="*/ 16 h 184"/>
                <a:gd name="T44" fmla="*/ 64 w 208"/>
                <a:gd name="T45" fmla="*/ 16 h 184"/>
                <a:gd name="T46" fmla="*/ 80 w 208"/>
                <a:gd name="T47" fmla="*/ 16 h 184"/>
                <a:gd name="T48" fmla="*/ 80 w 208"/>
                <a:gd name="T49" fmla="*/ 152 h 184"/>
                <a:gd name="T50" fmla="*/ 64 w 208"/>
                <a:gd name="T51" fmla="*/ 152 h 184"/>
                <a:gd name="T52" fmla="*/ 64 w 208"/>
                <a:gd name="T53" fmla="*/ 16 h 184"/>
                <a:gd name="T54" fmla="*/ 32 w 208"/>
                <a:gd name="T55" fmla="*/ 16 h 184"/>
                <a:gd name="T56" fmla="*/ 48 w 208"/>
                <a:gd name="T57" fmla="*/ 16 h 184"/>
                <a:gd name="T58" fmla="*/ 48 w 208"/>
                <a:gd name="T59" fmla="*/ 152 h 184"/>
                <a:gd name="T60" fmla="*/ 32 w 208"/>
                <a:gd name="T61" fmla="*/ 152 h 184"/>
                <a:gd name="T62" fmla="*/ 32 w 208"/>
                <a:gd name="T63" fmla="*/ 16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08" h="184">
                  <a:moveTo>
                    <a:pt x="0" y="168"/>
                  </a:moveTo>
                  <a:cubicBezTo>
                    <a:pt x="0" y="177"/>
                    <a:pt x="7" y="184"/>
                    <a:pt x="16" y="184"/>
                  </a:cubicBezTo>
                  <a:cubicBezTo>
                    <a:pt x="192" y="184"/>
                    <a:pt x="192" y="184"/>
                    <a:pt x="192" y="184"/>
                  </a:cubicBezTo>
                  <a:cubicBezTo>
                    <a:pt x="201" y="184"/>
                    <a:pt x="208" y="177"/>
                    <a:pt x="208" y="168"/>
                  </a:cubicBezTo>
                  <a:cubicBezTo>
                    <a:pt x="208" y="0"/>
                    <a:pt x="208" y="0"/>
                    <a:pt x="208" y="0"/>
                  </a:cubicBezTo>
                  <a:cubicBezTo>
                    <a:pt x="0" y="0"/>
                    <a:pt x="0" y="0"/>
                    <a:pt x="0" y="0"/>
                  </a:cubicBezTo>
                  <a:lnTo>
                    <a:pt x="0" y="168"/>
                  </a:lnTo>
                  <a:close/>
                  <a:moveTo>
                    <a:pt x="160" y="16"/>
                  </a:moveTo>
                  <a:cubicBezTo>
                    <a:pt x="176" y="16"/>
                    <a:pt x="176" y="16"/>
                    <a:pt x="176" y="16"/>
                  </a:cubicBezTo>
                  <a:cubicBezTo>
                    <a:pt x="176" y="152"/>
                    <a:pt x="176" y="152"/>
                    <a:pt x="176" y="152"/>
                  </a:cubicBezTo>
                  <a:cubicBezTo>
                    <a:pt x="160" y="152"/>
                    <a:pt x="160" y="152"/>
                    <a:pt x="160" y="152"/>
                  </a:cubicBezTo>
                  <a:lnTo>
                    <a:pt x="160" y="16"/>
                  </a:lnTo>
                  <a:close/>
                  <a:moveTo>
                    <a:pt x="128" y="16"/>
                  </a:moveTo>
                  <a:cubicBezTo>
                    <a:pt x="144" y="16"/>
                    <a:pt x="144" y="16"/>
                    <a:pt x="144" y="16"/>
                  </a:cubicBezTo>
                  <a:cubicBezTo>
                    <a:pt x="144" y="152"/>
                    <a:pt x="144" y="152"/>
                    <a:pt x="144" y="152"/>
                  </a:cubicBezTo>
                  <a:cubicBezTo>
                    <a:pt x="128" y="152"/>
                    <a:pt x="128" y="152"/>
                    <a:pt x="128" y="152"/>
                  </a:cubicBezTo>
                  <a:lnTo>
                    <a:pt x="128" y="16"/>
                  </a:lnTo>
                  <a:close/>
                  <a:moveTo>
                    <a:pt x="96" y="16"/>
                  </a:moveTo>
                  <a:cubicBezTo>
                    <a:pt x="112" y="16"/>
                    <a:pt x="112" y="16"/>
                    <a:pt x="112" y="16"/>
                  </a:cubicBezTo>
                  <a:cubicBezTo>
                    <a:pt x="112" y="152"/>
                    <a:pt x="112" y="152"/>
                    <a:pt x="112" y="152"/>
                  </a:cubicBezTo>
                  <a:cubicBezTo>
                    <a:pt x="96" y="152"/>
                    <a:pt x="96" y="152"/>
                    <a:pt x="96" y="152"/>
                  </a:cubicBezTo>
                  <a:lnTo>
                    <a:pt x="96" y="16"/>
                  </a:lnTo>
                  <a:close/>
                  <a:moveTo>
                    <a:pt x="64" y="16"/>
                  </a:moveTo>
                  <a:cubicBezTo>
                    <a:pt x="80" y="16"/>
                    <a:pt x="80" y="16"/>
                    <a:pt x="80" y="16"/>
                  </a:cubicBezTo>
                  <a:cubicBezTo>
                    <a:pt x="80" y="152"/>
                    <a:pt x="80" y="152"/>
                    <a:pt x="80" y="152"/>
                  </a:cubicBezTo>
                  <a:cubicBezTo>
                    <a:pt x="64" y="152"/>
                    <a:pt x="64" y="152"/>
                    <a:pt x="64" y="152"/>
                  </a:cubicBezTo>
                  <a:lnTo>
                    <a:pt x="64" y="16"/>
                  </a:lnTo>
                  <a:close/>
                  <a:moveTo>
                    <a:pt x="32" y="16"/>
                  </a:moveTo>
                  <a:cubicBezTo>
                    <a:pt x="48" y="16"/>
                    <a:pt x="48" y="16"/>
                    <a:pt x="48" y="16"/>
                  </a:cubicBezTo>
                  <a:cubicBezTo>
                    <a:pt x="48" y="152"/>
                    <a:pt x="48" y="152"/>
                    <a:pt x="48" y="152"/>
                  </a:cubicBezTo>
                  <a:cubicBezTo>
                    <a:pt x="32" y="152"/>
                    <a:pt x="32" y="152"/>
                    <a:pt x="32" y="152"/>
                  </a:cubicBezTo>
                  <a:lnTo>
                    <a:pt x="32" y="16"/>
                  </a:lnTo>
                  <a:close/>
                </a:path>
              </a:pathLst>
            </a:custGeom>
            <a:gradFill flip="none" rotWithShape="1">
              <a:gsLst>
                <a:gs pos="0">
                  <a:srgbClr val="47A7FF">
                    <a:shade val="30000"/>
                    <a:satMod val="115000"/>
                  </a:srgbClr>
                </a:gs>
                <a:gs pos="50000">
                  <a:srgbClr val="47A7FF">
                    <a:shade val="67500"/>
                    <a:satMod val="115000"/>
                  </a:srgbClr>
                </a:gs>
                <a:gs pos="100000">
                  <a:srgbClr val="47A7FF">
                    <a:shade val="100000"/>
                    <a:satMod val="115000"/>
                  </a:srgbClr>
                </a:gs>
              </a:gsLst>
              <a:lin ang="5400000" scaled="1"/>
              <a:tileRect/>
            </a:gra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solidFill>
                  <a:sysClr val="windowText" lastClr="000000"/>
                </a:solidFill>
                <a:latin typeface="Calibri" panose="020F0502020204030204"/>
                <a:ea typeface="宋体" panose="02010600030101010101" pitchFamily="2" charset="-122"/>
              </a:endParaRPr>
            </a:p>
          </p:txBody>
        </p:sp>
      </p:grpSp>
      <p:cxnSp>
        <p:nvCxnSpPr>
          <p:cNvPr id="21" name="直接连接符 20"/>
          <p:cNvCxnSpPr/>
          <p:nvPr/>
        </p:nvCxnSpPr>
        <p:spPr>
          <a:xfrm flipH="1">
            <a:off x="4518363" y="2976496"/>
            <a:ext cx="5897323"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8" name="直接连接符 27"/>
          <p:cNvCxnSpPr/>
          <p:nvPr/>
        </p:nvCxnSpPr>
        <p:spPr>
          <a:xfrm flipH="1">
            <a:off x="5081088" y="3786067"/>
            <a:ext cx="5334598"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9" name="直接连接符 28"/>
          <p:cNvCxnSpPr/>
          <p:nvPr/>
        </p:nvCxnSpPr>
        <p:spPr>
          <a:xfrm flipH="1">
            <a:off x="2566814" y="4581128"/>
            <a:ext cx="7848872"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0" name="直接连接符 29"/>
          <p:cNvCxnSpPr/>
          <p:nvPr/>
        </p:nvCxnSpPr>
        <p:spPr>
          <a:xfrm flipH="1">
            <a:off x="3947703" y="5373216"/>
            <a:ext cx="6467983"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31" name="流程图: 决策 30"/>
          <p:cNvSpPr/>
          <p:nvPr/>
        </p:nvSpPr>
        <p:spPr>
          <a:xfrm>
            <a:off x="2926854" y="2026406"/>
            <a:ext cx="1650178" cy="1543264"/>
          </a:xfrm>
          <a:prstGeom prst="flowChartDecision">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400" smtClean="0">
                <a:latin typeface="HelveticaNeueLT Pro 35 Th" pitchFamily="34" charset="0"/>
              </a:rPr>
              <a:t>20%</a:t>
            </a:r>
            <a:endParaRPr lang="zh-CN" altLang="en-US" sz="2400">
              <a:latin typeface="HelveticaNeueLT Pro 35 Th" pitchFamily="34" charset="0"/>
            </a:endParaRPr>
          </a:p>
        </p:txBody>
      </p:sp>
      <p:sp>
        <p:nvSpPr>
          <p:cNvPr id="37" name="流程图: 决策 36"/>
          <p:cNvSpPr/>
          <p:nvPr/>
        </p:nvSpPr>
        <p:spPr>
          <a:xfrm>
            <a:off x="2716795" y="3746322"/>
            <a:ext cx="2004253" cy="1952492"/>
          </a:xfrm>
          <a:prstGeom prst="flowChartDecision">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400">
                <a:latin typeface="HelveticaNeueLT Pro 35 Th" pitchFamily="34" charset="0"/>
              </a:rPr>
              <a:t>35%</a:t>
            </a:r>
            <a:endParaRPr lang="zh-CN" altLang="en-US" sz="2400">
              <a:latin typeface="HelveticaNeueLT Pro 35 Th" pitchFamily="34" charset="0"/>
            </a:endParaRPr>
          </a:p>
        </p:txBody>
      </p:sp>
      <p:sp>
        <p:nvSpPr>
          <p:cNvPr id="38" name="流程图: 决策 37"/>
          <p:cNvSpPr/>
          <p:nvPr/>
        </p:nvSpPr>
        <p:spPr>
          <a:xfrm>
            <a:off x="1063942" y="2414174"/>
            <a:ext cx="2516969" cy="2451967"/>
          </a:xfrm>
          <a:prstGeom prst="flowChartDecision">
            <a:avLst/>
          </a:prstGeom>
          <a:solidFill>
            <a:srgbClr val="FF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200" smtClean="0">
                <a:latin typeface="HelveticaNeueLT Pro 35 Th" pitchFamily="34" charset="0"/>
              </a:rPr>
              <a:t>55%</a:t>
            </a:r>
            <a:endParaRPr lang="zh-CN" altLang="en-US" sz="3200">
              <a:latin typeface="HelveticaNeueLT Pro 35 Th" pitchFamily="34" charset="0"/>
            </a:endParaRPr>
          </a:p>
        </p:txBody>
      </p:sp>
      <p:sp>
        <p:nvSpPr>
          <p:cNvPr id="46" name="流程图: 决策 45"/>
          <p:cNvSpPr/>
          <p:nvPr/>
        </p:nvSpPr>
        <p:spPr>
          <a:xfrm>
            <a:off x="3844532" y="3045706"/>
            <a:ext cx="1347661" cy="1260347"/>
          </a:xfrm>
          <a:prstGeom prst="flowChartDecision">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000">
                <a:latin typeface="HelveticaNeueLT Pro 35 Th" pitchFamily="34" charset="0"/>
              </a:rPr>
              <a:t>10%</a:t>
            </a:r>
            <a:endParaRPr lang="zh-CN" altLang="en-US" sz="2000">
              <a:latin typeface="HelveticaNeueLT Pro 35 Th" pitchFamily="34" charset="0"/>
            </a:endParaRPr>
          </a:p>
        </p:txBody>
      </p:sp>
      <p:sp>
        <p:nvSpPr>
          <p:cNvPr id="48" name="矩形 47"/>
          <p:cNvSpPr/>
          <p:nvPr/>
        </p:nvSpPr>
        <p:spPr>
          <a:xfrm>
            <a:off x="8418043" y="2513069"/>
            <a:ext cx="1569660" cy="369332"/>
          </a:xfrm>
          <a:prstGeom prst="rect">
            <a:avLst/>
          </a:prstGeom>
        </p:spPr>
        <p:txBody>
          <a:bodyPr wrap="none">
            <a:spAutoFit/>
          </a:bodyPr>
          <a:lstStyle/>
          <a:p>
            <a:r>
              <a:rPr lang="zh-CN" altLang="en-US">
                <a:solidFill>
                  <a:schemeClr val="bg1"/>
                </a:solidFill>
                <a:latin typeface="华文黑体" pitchFamily="2" charset="-122"/>
                <a:ea typeface="华文黑体" pitchFamily="2" charset="-122"/>
                <a:cs typeface="华文黑体" pitchFamily="2" charset="-122"/>
              </a:rPr>
              <a:t>单击添加标题</a:t>
            </a:r>
            <a:endParaRPr lang="zh-CN" altLang="en-US">
              <a:solidFill>
                <a:schemeClr val="bg1"/>
              </a:solidFill>
              <a:latin typeface="华文细黑" panose="02010600040101010101" pitchFamily="2" charset="-122"/>
              <a:ea typeface="华文细黑" panose="02010600040101010101" pitchFamily="2" charset="-122"/>
              <a:cs typeface="华文黑体" pitchFamily="2" charset="-122"/>
            </a:endParaRPr>
          </a:p>
        </p:txBody>
      </p:sp>
      <p:sp>
        <p:nvSpPr>
          <p:cNvPr id="49" name="矩形 48"/>
          <p:cNvSpPr/>
          <p:nvPr/>
        </p:nvSpPr>
        <p:spPr>
          <a:xfrm>
            <a:off x="8418043" y="3310798"/>
            <a:ext cx="1569660" cy="369332"/>
          </a:xfrm>
          <a:prstGeom prst="rect">
            <a:avLst/>
          </a:prstGeom>
        </p:spPr>
        <p:txBody>
          <a:bodyPr wrap="none">
            <a:spAutoFit/>
          </a:bodyPr>
          <a:lstStyle/>
          <a:p>
            <a:r>
              <a:rPr lang="zh-CN" altLang="en-US">
                <a:solidFill>
                  <a:schemeClr val="bg1"/>
                </a:solidFill>
                <a:latin typeface="华文黑体" pitchFamily="2" charset="-122"/>
                <a:ea typeface="华文黑体" pitchFamily="2" charset="-122"/>
                <a:cs typeface="华文黑体" pitchFamily="2" charset="-122"/>
              </a:rPr>
              <a:t>单击添加标题</a:t>
            </a:r>
            <a:endParaRPr lang="zh-CN" altLang="en-US">
              <a:solidFill>
                <a:schemeClr val="bg1"/>
              </a:solidFill>
              <a:latin typeface="华文细黑" panose="02010600040101010101" pitchFamily="2" charset="-122"/>
              <a:ea typeface="华文细黑" panose="02010600040101010101" pitchFamily="2" charset="-122"/>
              <a:cs typeface="华文黑体" pitchFamily="2" charset="-122"/>
            </a:endParaRPr>
          </a:p>
        </p:txBody>
      </p:sp>
      <p:sp>
        <p:nvSpPr>
          <p:cNvPr id="50" name="矩形 49"/>
          <p:cNvSpPr/>
          <p:nvPr/>
        </p:nvSpPr>
        <p:spPr>
          <a:xfrm>
            <a:off x="8418043" y="4123083"/>
            <a:ext cx="1569660" cy="369332"/>
          </a:xfrm>
          <a:prstGeom prst="rect">
            <a:avLst/>
          </a:prstGeom>
        </p:spPr>
        <p:txBody>
          <a:bodyPr wrap="none">
            <a:spAutoFit/>
          </a:bodyPr>
          <a:lstStyle/>
          <a:p>
            <a:r>
              <a:rPr lang="zh-CN" altLang="en-US">
                <a:solidFill>
                  <a:schemeClr val="bg1"/>
                </a:solidFill>
                <a:latin typeface="华文黑体" pitchFamily="2" charset="-122"/>
                <a:ea typeface="华文黑体" pitchFamily="2" charset="-122"/>
                <a:cs typeface="华文黑体" pitchFamily="2" charset="-122"/>
              </a:rPr>
              <a:t>单击添加标题</a:t>
            </a:r>
            <a:endParaRPr lang="zh-CN" altLang="en-US">
              <a:solidFill>
                <a:schemeClr val="bg1"/>
              </a:solidFill>
              <a:latin typeface="华文细黑" panose="02010600040101010101" pitchFamily="2" charset="-122"/>
              <a:ea typeface="华文细黑" panose="02010600040101010101" pitchFamily="2" charset="-122"/>
              <a:cs typeface="华文黑体" pitchFamily="2" charset="-122"/>
            </a:endParaRPr>
          </a:p>
        </p:txBody>
      </p:sp>
      <p:sp>
        <p:nvSpPr>
          <p:cNvPr id="51" name="矩形 50"/>
          <p:cNvSpPr/>
          <p:nvPr/>
        </p:nvSpPr>
        <p:spPr>
          <a:xfrm>
            <a:off x="8418043" y="4932041"/>
            <a:ext cx="1569660" cy="369332"/>
          </a:xfrm>
          <a:prstGeom prst="rect">
            <a:avLst/>
          </a:prstGeom>
        </p:spPr>
        <p:txBody>
          <a:bodyPr wrap="none">
            <a:spAutoFit/>
          </a:bodyPr>
          <a:lstStyle/>
          <a:p>
            <a:r>
              <a:rPr lang="zh-CN" altLang="en-US">
                <a:solidFill>
                  <a:schemeClr val="bg1"/>
                </a:solidFill>
                <a:latin typeface="华文黑体" pitchFamily="2" charset="-122"/>
                <a:ea typeface="华文黑体" pitchFamily="2" charset="-122"/>
                <a:cs typeface="华文黑体" pitchFamily="2" charset="-122"/>
              </a:rPr>
              <a:t>单击添加标题</a:t>
            </a:r>
            <a:endParaRPr lang="zh-CN" altLang="en-US">
              <a:solidFill>
                <a:schemeClr val="bg1"/>
              </a:solidFill>
              <a:latin typeface="华文细黑" panose="02010600040101010101" pitchFamily="2" charset="-122"/>
              <a:ea typeface="华文细黑" panose="02010600040101010101" pitchFamily="2" charset="-122"/>
              <a:cs typeface="华文黑体" pitchFamily="2" charset="-122"/>
            </a:endParaRPr>
          </a:p>
        </p:txBody>
      </p:sp>
      <p:sp>
        <p:nvSpPr>
          <p:cNvPr id="32" name="圆角矩形 31"/>
          <p:cNvSpPr/>
          <p:nvPr/>
        </p:nvSpPr>
        <p:spPr>
          <a:xfrm>
            <a:off x="8894702" y="260648"/>
            <a:ext cx="2673112" cy="600163"/>
          </a:xfrm>
          <a:prstGeom prst="roundRect">
            <a:avLst/>
          </a:prstGeom>
          <a:solidFill>
            <a:srgbClr val="FFFFFF"/>
          </a:solidFill>
          <a:ln>
            <a:noFill/>
          </a:ln>
          <a:effectLst>
            <a:reflection blurRad="6350" stA="25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3" name="TextBox 32"/>
          <p:cNvSpPr txBox="1"/>
          <p:nvPr/>
        </p:nvSpPr>
        <p:spPr>
          <a:xfrm>
            <a:off x="9061707" y="260648"/>
            <a:ext cx="2339102" cy="523220"/>
          </a:xfrm>
          <a:prstGeom prst="rect">
            <a:avLst/>
          </a:prstGeom>
          <a:noFill/>
        </p:spPr>
        <p:txBody>
          <a:bodyPr wrap="none" rtlCol="0" anchor="ctr">
            <a:spAutoFit/>
          </a:bodyPr>
          <a:lstStyle>
            <a:defPPr>
              <a:defRPr lang="zh-CN"/>
            </a:defPPr>
            <a:lvl1pPr algn="ctr">
              <a:defRPr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anose="02010600040101010101" pitchFamily="2" charset="-122"/>
                <a:cs typeface="华文黑体" pitchFamily="2" charset="-122"/>
              </a:defRPr>
            </a:lvl1pPr>
          </a:lstStyle>
          <a:p>
            <a:r>
              <a:rPr lang="zh-CN" altLang="en-US" sz="2800"/>
              <a:t>点击添加标题</a:t>
            </a:r>
            <a:endParaRPr lang="zh-CN" altLang="en-US" sz="280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2"/>
                                        </p:tgtEl>
                                        <p:attrNameLst>
                                          <p:attrName>style.visibility</p:attrName>
                                        </p:attrNameLst>
                                      </p:cBhvr>
                                      <p:to>
                                        <p:strVal val="visible"/>
                                      </p:to>
                                    </p:set>
                                    <p:animEffect transition="in" filter="fade">
                                      <p:cBhvr>
                                        <p:cTn id="7" dur="300"/>
                                        <p:tgtEl>
                                          <p:spTgt spid="32"/>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3"/>
                                        </p:tgtEl>
                                        <p:attrNameLst>
                                          <p:attrName>style.visibility</p:attrName>
                                        </p:attrNameLst>
                                      </p:cBhvr>
                                      <p:to>
                                        <p:strVal val="visible"/>
                                      </p:to>
                                    </p:set>
                                    <p:animEffect transition="in" filter="fade">
                                      <p:cBhvr>
                                        <p:cTn id="10" dur="300"/>
                                        <p:tgtEl>
                                          <p:spTgt spid="33"/>
                                        </p:tgtEl>
                                      </p:cBhvr>
                                    </p:animEffect>
                                  </p:childTnLst>
                                </p:cTn>
                              </p:par>
                            </p:childTnLst>
                          </p:cTn>
                        </p:par>
                        <p:par>
                          <p:cTn id="11" fill="hold">
                            <p:stCondLst>
                              <p:cond delay="500"/>
                            </p:stCondLst>
                            <p:childTnLst>
                              <p:par>
                                <p:cTn id="12" presetID="10" presetClass="entr" presetSubtype="0" fill="hold" nodeType="afterEffect">
                                  <p:stCondLst>
                                    <p:cond delay="0"/>
                                  </p:stCondLst>
                                  <p:childTnLst>
                                    <p:set>
                                      <p:cBhvr>
                                        <p:cTn id="13" dur="1" fill="hold">
                                          <p:stCondLst>
                                            <p:cond delay="0"/>
                                          </p:stCondLst>
                                        </p:cTn>
                                        <p:tgtEl>
                                          <p:spTgt spid="4"/>
                                        </p:tgtEl>
                                        <p:attrNameLst>
                                          <p:attrName>style.visibility</p:attrName>
                                        </p:attrNameLst>
                                      </p:cBhvr>
                                      <p:to>
                                        <p:strVal val="visible"/>
                                      </p:to>
                                    </p:set>
                                    <p:animEffect transition="in" filter="fade">
                                      <p:cBhvr>
                                        <p:cTn id="14" dur="500"/>
                                        <p:tgtEl>
                                          <p:spTgt spid="4"/>
                                        </p:tgtEl>
                                      </p:cBhvr>
                                    </p:animEffect>
                                  </p:childTnLst>
                                </p:cTn>
                              </p:par>
                              <p:par>
                                <p:cTn id="15" presetID="22" presetClass="entr" presetSubtype="2" fill="hold" nodeType="withEffect">
                                  <p:stCondLst>
                                    <p:cond delay="0"/>
                                  </p:stCondLst>
                                  <p:childTnLst>
                                    <p:set>
                                      <p:cBhvr>
                                        <p:cTn id="16" dur="1" fill="hold">
                                          <p:stCondLst>
                                            <p:cond delay="0"/>
                                          </p:stCondLst>
                                        </p:cTn>
                                        <p:tgtEl>
                                          <p:spTgt spid="21"/>
                                        </p:tgtEl>
                                        <p:attrNameLst>
                                          <p:attrName>style.visibility</p:attrName>
                                        </p:attrNameLst>
                                      </p:cBhvr>
                                      <p:to>
                                        <p:strVal val="visible"/>
                                      </p:to>
                                    </p:set>
                                    <p:animEffect transition="in" filter="wipe(right)">
                                      <p:cBhvr>
                                        <p:cTn id="17" dur="500"/>
                                        <p:tgtEl>
                                          <p:spTgt spid="21"/>
                                        </p:tgtEl>
                                      </p:cBhvr>
                                    </p:animEffect>
                                  </p:childTnLst>
                                </p:cTn>
                              </p:par>
                              <p:par>
                                <p:cTn id="18" presetID="12" presetClass="entr" presetSubtype="2" fill="hold" grpId="0" nodeType="withEffect">
                                  <p:stCondLst>
                                    <p:cond delay="200"/>
                                  </p:stCondLst>
                                  <p:childTnLst>
                                    <p:set>
                                      <p:cBhvr>
                                        <p:cTn id="19" dur="1" fill="hold">
                                          <p:stCondLst>
                                            <p:cond delay="0"/>
                                          </p:stCondLst>
                                        </p:cTn>
                                        <p:tgtEl>
                                          <p:spTgt spid="48"/>
                                        </p:tgtEl>
                                        <p:attrNameLst>
                                          <p:attrName>style.visibility</p:attrName>
                                        </p:attrNameLst>
                                      </p:cBhvr>
                                      <p:to>
                                        <p:strVal val="visible"/>
                                      </p:to>
                                    </p:set>
                                    <p:anim calcmode="lin" valueType="num">
                                      <p:cBhvr additive="base">
                                        <p:cTn id="20" dur="500"/>
                                        <p:tgtEl>
                                          <p:spTgt spid="48"/>
                                        </p:tgtEl>
                                        <p:attrNameLst>
                                          <p:attrName>ppt_x</p:attrName>
                                        </p:attrNameLst>
                                      </p:cBhvr>
                                      <p:tavLst>
                                        <p:tav tm="0">
                                          <p:val>
                                            <p:strVal val="#ppt_x+#ppt_w*1.125000"/>
                                          </p:val>
                                        </p:tav>
                                        <p:tav tm="100000">
                                          <p:val>
                                            <p:strVal val="#ppt_x"/>
                                          </p:val>
                                        </p:tav>
                                      </p:tavLst>
                                    </p:anim>
                                    <p:animEffect transition="in" filter="wipe(left)">
                                      <p:cBhvr>
                                        <p:cTn id="21" dur="500"/>
                                        <p:tgtEl>
                                          <p:spTgt spid="48"/>
                                        </p:tgtEl>
                                      </p:cBhvr>
                                    </p:animEffect>
                                  </p:childTnLst>
                                </p:cTn>
                              </p:par>
                              <p:par>
                                <p:cTn id="22" presetID="31" presetClass="entr" presetSubtype="0" fill="hold" grpId="0" nodeType="withEffect">
                                  <p:stCondLst>
                                    <p:cond delay="500"/>
                                  </p:stCondLst>
                                  <p:childTnLst>
                                    <p:set>
                                      <p:cBhvr>
                                        <p:cTn id="23" dur="1" fill="hold">
                                          <p:stCondLst>
                                            <p:cond delay="0"/>
                                          </p:stCondLst>
                                        </p:cTn>
                                        <p:tgtEl>
                                          <p:spTgt spid="31"/>
                                        </p:tgtEl>
                                        <p:attrNameLst>
                                          <p:attrName>style.visibility</p:attrName>
                                        </p:attrNameLst>
                                      </p:cBhvr>
                                      <p:to>
                                        <p:strVal val="visible"/>
                                      </p:to>
                                    </p:set>
                                    <p:anim calcmode="lin" valueType="num">
                                      <p:cBhvr>
                                        <p:cTn id="24" dur="500" fill="hold"/>
                                        <p:tgtEl>
                                          <p:spTgt spid="31"/>
                                        </p:tgtEl>
                                        <p:attrNameLst>
                                          <p:attrName>ppt_w</p:attrName>
                                        </p:attrNameLst>
                                      </p:cBhvr>
                                      <p:tavLst>
                                        <p:tav tm="0">
                                          <p:val>
                                            <p:fltVal val="0"/>
                                          </p:val>
                                        </p:tav>
                                        <p:tav tm="100000">
                                          <p:val>
                                            <p:strVal val="#ppt_w"/>
                                          </p:val>
                                        </p:tav>
                                      </p:tavLst>
                                    </p:anim>
                                    <p:anim calcmode="lin" valueType="num">
                                      <p:cBhvr>
                                        <p:cTn id="25" dur="500" fill="hold"/>
                                        <p:tgtEl>
                                          <p:spTgt spid="31"/>
                                        </p:tgtEl>
                                        <p:attrNameLst>
                                          <p:attrName>ppt_h</p:attrName>
                                        </p:attrNameLst>
                                      </p:cBhvr>
                                      <p:tavLst>
                                        <p:tav tm="0">
                                          <p:val>
                                            <p:fltVal val="0"/>
                                          </p:val>
                                        </p:tav>
                                        <p:tav tm="100000">
                                          <p:val>
                                            <p:strVal val="#ppt_h"/>
                                          </p:val>
                                        </p:tav>
                                      </p:tavLst>
                                    </p:anim>
                                    <p:anim calcmode="lin" valueType="num">
                                      <p:cBhvr>
                                        <p:cTn id="26" dur="500" fill="hold"/>
                                        <p:tgtEl>
                                          <p:spTgt spid="31"/>
                                        </p:tgtEl>
                                        <p:attrNameLst>
                                          <p:attrName>style.rotation</p:attrName>
                                        </p:attrNameLst>
                                      </p:cBhvr>
                                      <p:tavLst>
                                        <p:tav tm="0">
                                          <p:val>
                                            <p:fltVal val="90"/>
                                          </p:val>
                                        </p:tav>
                                        <p:tav tm="100000">
                                          <p:val>
                                            <p:fltVal val="0"/>
                                          </p:val>
                                        </p:tav>
                                      </p:tavLst>
                                    </p:anim>
                                    <p:animEffect transition="in" filter="fade">
                                      <p:cBhvr>
                                        <p:cTn id="27" dur="500"/>
                                        <p:tgtEl>
                                          <p:spTgt spid="31"/>
                                        </p:tgtEl>
                                      </p:cBhvr>
                                    </p:animEffect>
                                  </p:childTnLst>
                                </p:cTn>
                              </p:par>
                              <p:par>
                                <p:cTn id="28" presetID="10" presetClass="entr" presetSubtype="0" fill="hold" nodeType="withEffect">
                                  <p:stCondLst>
                                    <p:cond delay="1000"/>
                                  </p:stCondLst>
                                  <p:childTnLst>
                                    <p:set>
                                      <p:cBhvr>
                                        <p:cTn id="29" dur="1" fill="hold">
                                          <p:stCondLst>
                                            <p:cond delay="0"/>
                                          </p:stCondLst>
                                        </p:cTn>
                                        <p:tgtEl>
                                          <p:spTgt spid="6"/>
                                        </p:tgtEl>
                                        <p:attrNameLst>
                                          <p:attrName>style.visibility</p:attrName>
                                        </p:attrNameLst>
                                      </p:cBhvr>
                                      <p:to>
                                        <p:strVal val="visible"/>
                                      </p:to>
                                    </p:set>
                                    <p:animEffect transition="in" filter="fade">
                                      <p:cBhvr>
                                        <p:cTn id="30" dur="500"/>
                                        <p:tgtEl>
                                          <p:spTgt spid="6"/>
                                        </p:tgtEl>
                                      </p:cBhvr>
                                    </p:animEffect>
                                  </p:childTnLst>
                                </p:cTn>
                              </p:par>
                              <p:par>
                                <p:cTn id="31" presetID="22" presetClass="entr" presetSubtype="2" fill="hold" nodeType="withEffect">
                                  <p:stCondLst>
                                    <p:cond delay="1000"/>
                                  </p:stCondLst>
                                  <p:childTnLst>
                                    <p:set>
                                      <p:cBhvr>
                                        <p:cTn id="32" dur="1" fill="hold">
                                          <p:stCondLst>
                                            <p:cond delay="0"/>
                                          </p:stCondLst>
                                        </p:cTn>
                                        <p:tgtEl>
                                          <p:spTgt spid="28"/>
                                        </p:tgtEl>
                                        <p:attrNameLst>
                                          <p:attrName>style.visibility</p:attrName>
                                        </p:attrNameLst>
                                      </p:cBhvr>
                                      <p:to>
                                        <p:strVal val="visible"/>
                                      </p:to>
                                    </p:set>
                                    <p:animEffect transition="in" filter="wipe(right)">
                                      <p:cBhvr>
                                        <p:cTn id="33" dur="500"/>
                                        <p:tgtEl>
                                          <p:spTgt spid="28"/>
                                        </p:tgtEl>
                                      </p:cBhvr>
                                    </p:animEffect>
                                  </p:childTnLst>
                                </p:cTn>
                              </p:par>
                              <p:par>
                                <p:cTn id="34" presetID="12" presetClass="entr" presetSubtype="2" fill="hold" grpId="0" nodeType="withEffect">
                                  <p:stCondLst>
                                    <p:cond delay="1200"/>
                                  </p:stCondLst>
                                  <p:childTnLst>
                                    <p:set>
                                      <p:cBhvr>
                                        <p:cTn id="35" dur="1" fill="hold">
                                          <p:stCondLst>
                                            <p:cond delay="0"/>
                                          </p:stCondLst>
                                        </p:cTn>
                                        <p:tgtEl>
                                          <p:spTgt spid="49"/>
                                        </p:tgtEl>
                                        <p:attrNameLst>
                                          <p:attrName>style.visibility</p:attrName>
                                        </p:attrNameLst>
                                      </p:cBhvr>
                                      <p:to>
                                        <p:strVal val="visible"/>
                                      </p:to>
                                    </p:set>
                                    <p:anim calcmode="lin" valueType="num">
                                      <p:cBhvr additive="base">
                                        <p:cTn id="36" dur="500"/>
                                        <p:tgtEl>
                                          <p:spTgt spid="49"/>
                                        </p:tgtEl>
                                        <p:attrNameLst>
                                          <p:attrName>ppt_x</p:attrName>
                                        </p:attrNameLst>
                                      </p:cBhvr>
                                      <p:tavLst>
                                        <p:tav tm="0">
                                          <p:val>
                                            <p:strVal val="#ppt_x+#ppt_w*1.125000"/>
                                          </p:val>
                                        </p:tav>
                                        <p:tav tm="100000">
                                          <p:val>
                                            <p:strVal val="#ppt_x"/>
                                          </p:val>
                                        </p:tav>
                                      </p:tavLst>
                                    </p:anim>
                                    <p:animEffect transition="in" filter="wipe(left)">
                                      <p:cBhvr>
                                        <p:cTn id="37" dur="500"/>
                                        <p:tgtEl>
                                          <p:spTgt spid="49"/>
                                        </p:tgtEl>
                                      </p:cBhvr>
                                    </p:animEffect>
                                  </p:childTnLst>
                                </p:cTn>
                              </p:par>
                              <p:par>
                                <p:cTn id="38" presetID="31" presetClass="entr" presetSubtype="0" fill="hold" grpId="0" nodeType="withEffect">
                                  <p:stCondLst>
                                    <p:cond delay="1500"/>
                                  </p:stCondLst>
                                  <p:childTnLst>
                                    <p:set>
                                      <p:cBhvr>
                                        <p:cTn id="39" dur="1" fill="hold">
                                          <p:stCondLst>
                                            <p:cond delay="0"/>
                                          </p:stCondLst>
                                        </p:cTn>
                                        <p:tgtEl>
                                          <p:spTgt spid="46"/>
                                        </p:tgtEl>
                                        <p:attrNameLst>
                                          <p:attrName>style.visibility</p:attrName>
                                        </p:attrNameLst>
                                      </p:cBhvr>
                                      <p:to>
                                        <p:strVal val="visible"/>
                                      </p:to>
                                    </p:set>
                                    <p:anim calcmode="lin" valueType="num">
                                      <p:cBhvr>
                                        <p:cTn id="40" dur="500" fill="hold"/>
                                        <p:tgtEl>
                                          <p:spTgt spid="46"/>
                                        </p:tgtEl>
                                        <p:attrNameLst>
                                          <p:attrName>ppt_w</p:attrName>
                                        </p:attrNameLst>
                                      </p:cBhvr>
                                      <p:tavLst>
                                        <p:tav tm="0">
                                          <p:val>
                                            <p:fltVal val="0"/>
                                          </p:val>
                                        </p:tav>
                                        <p:tav tm="100000">
                                          <p:val>
                                            <p:strVal val="#ppt_w"/>
                                          </p:val>
                                        </p:tav>
                                      </p:tavLst>
                                    </p:anim>
                                    <p:anim calcmode="lin" valueType="num">
                                      <p:cBhvr>
                                        <p:cTn id="41" dur="500" fill="hold"/>
                                        <p:tgtEl>
                                          <p:spTgt spid="46"/>
                                        </p:tgtEl>
                                        <p:attrNameLst>
                                          <p:attrName>ppt_h</p:attrName>
                                        </p:attrNameLst>
                                      </p:cBhvr>
                                      <p:tavLst>
                                        <p:tav tm="0">
                                          <p:val>
                                            <p:fltVal val="0"/>
                                          </p:val>
                                        </p:tav>
                                        <p:tav tm="100000">
                                          <p:val>
                                            <p:strVal val="#ppt_h"/>
                                          </p:val>
                                        </p:tav>
                                      </p:tavLst>
                                    </p:anim>
                                    <p:anim calcmode="lin" valueType="num">
                                      <p:cBhvr>
                                        <p:cTn id="42" dur="500" fill="hold"/>
                                        <p:tgtEl>
                                          <p:spTgt spid="46"/>
                                        </p:tgtEl>
                                        <p:attrNameLst>
                                          <p:attrName>style.rotation</p:attrName>
                                        </p:attrNameLst>
                                      </p:cBhvr>
                                      <p:tavLst>
                                        <p:tav tm="0">
                                          <p:val>
                                            <p:fltVal val="90"/>
                                          </p:val>
                                        </p:tav>
                                        <p:tav tm="100000">
                                          <p:val>
                                            <p:fltVal val="0"/>
                                          </p:val>
                                        </p:tav>
                                      </p:tavLst>
                                    </p:anim>
                                    <p:animEffect transition="in" filter="fade">
                                      <p:cBhvr>
                                        <p:cTn id="43" dur="500"/>
                                        <p:tgtEl>
                                          <p:spTgt spid="46"/>
                                        </p:tgtEl>
                                      </p:cBhvr>
                                    </p:animEffect>
                                  </p:childTnLst>
                                </p:cTn>
                              </p:par>
                              <p:par>
                                <p:cTn id="44" presetID="10" presetClass="entr" presetSubtype="0" fill="hold" nodeType="withEffect">
                                  <p:stCondLst>
                                    <p:cond delay="2000"/>
                                  </p:stCondLst>
                                  <p:childTnLst>
                                    <p:set>
                                      <p:cBhvr>
                                        <p:cTn id="45" dur="1" fill="hold">
                                          <p:stCondLst>
                                            <p:cond delay="0"/>
                                          </p:stCondLst>
                                        </p:cTn>
                                        <p:tgtEl>
                                          <p:spTgt spid="7"/>
                                        </p:tgtEl>
                                        <p:attrNameLst>
                                          <p:attrName>style.visibility</p:attrName>
                                        </p:attrNameLst>
                                      </p:cBhvr>
                                      <p:to>
                                        <p:strVal val="visible"/>
                                      </p:to>
                                    </p:set>
                                    <p:animEffect transition="in" filter="fade">
                                      <p:cBhvr>
                                        <p:cTn id="46" dur="500"/>
                                        <p:tgtEl>
                                          <p:spTgt spid="7"/>
                                        </p:tgtEl>
                                      </p:cBhvr>
                                    </p:animEffect>
                                  </p:childTnLst>
                                </p:cTn>
                              </p:par>
                              <p:par>
                                <p:cTn id="47" presetID="22" presetClass="entr" presetSubtype="2" fill="hold" nodeType="withEffect">
                                  <p:stCondLst>
                                    <p:cond delay="2000"/>
                                  </p:stCondLst>
                                  <p:childTnLst>
                                    <p:set>
                                      <p:cBhvr>
                                        <p:cTn id="48" dur="1" fill="hold">
                                          <p:stCondLst>
                                            <p:cond delay="0"/>
                                          </p:stCondLst>
                                        </p:cTn>
                                        <p:tgtEl>
                                          <p:spTgt spid="29"/>
                                        </p:tgtEl>
                                        <p:attrNameLst>
                                          <p:attrName>style.visibility</p:attrName>
                                        </p:attrNameLst>
                                      </p:cBhvr>
                                      <p:to>
                                        <p:strVal val="visible"/>
                                      </p:to>
                                    </p:set>
                                    <p:animEffect transition="in" filter="wipe(right)">
                                      <p:cBhvr>
                                        <p:cTn id="49" dur="500"/>
                                        <p:tgtEl>
                                          <p:spTgt spid="29"/>
                                        </p:tgtEl>
                                      </p:cBhvr>
                                    </p:animEffect>
                                  </p:childTnLst>
                                </p:cTn>
                              </p:par>
                              <p:par>
                                <p:cTn id="50" presetID="12" presetClass="entr" presetSubtype="2" fill="hold" grpId="0" nodeType="withEffect">
                                  <p:stCondLst>
                                    <p:cond delay="2200"/>
                                  </p:stCondLst>
                                  <p:childTnLst>
                                    <p:set>
                                      <p:cBhvr>
                                        <p:cTn id="51" dur="1" fill="hold">
                                          <p:stCondLst>
                                            <p:cond delay="0"/>
                                          </p:stCondLst>
                                        </p:cTn>
                                        <p:tgtEl>
                                          <p:spTgt spid="50"/>
                                        </p:tgtEl>
                                        <p:attrNameLst>
                                          <p:attrName>style.visibility</p:attrName>
                                        </p:attrNameLst>
                                      </p:cBhvr>
                                      <p:to>
                                        <p:strVal val="visible"/>
                                      </p:to>
                                    </p:set>
                                    <p:anim calcmode="lin" valueType="num">
                                      <p:cBhvr additive="base">
                                        <p:cTn id="52" dur="500"/>
                                        <p:tgtEl>
                                          <p:spTgt spid="50"/>
                                        </p:tgtEl>
                                        <p:attrNameLst>
                                          <p:attrName>ppt_x</p:attrName>
                                        </p:attrNameLst>
                                      </p:cBhvr>
                                      <p:tavLst>
                                        <p:tav tm="0">
                                          <p:val>
                                            <p:strVal val="#ppt_x+#ppt_w*1.125000"/>
                                          </p:val>
                                        </p:tav>
                                        <p:tav tm="100000">
                                          <p:val>
                                            <p:strVal val="#ppt_x"/>
                                          </p:val>
                                        </p:tav>
                                      </p:tavLst>
                                    </p:anim>
                                    <p:animEffect transition="in" filter="wipe(left)">
                                      <p:cBhvr>
                                        <p:cTn id="53" dur="500"/>
                                        <p:tgtEl>
                                          <p:spTgt spid="50"/>
                                        </p:tgtEl>
                                      </p:cBhvr>
                                    </p:animEffect>
                                  </p:childTnLst>
                                </p:cTn>
                              </p:par>
                              <p:par>
                                <p:cTn id="54" presetID="31" presetClass="entr" presetSubtype="0" fill="hold" grpId="0" nodeType="withEffect">
                                  <p:stCondLst>
                                    <p:cond delay="2500"/>
                                  </p:stCondLst>
                                  <p:childTnLst>
                                    <p:set>
                                      <p:cBhvr>
                                        <p:cTn id="55" dur="1" fill="hold">
                                          <p:stCondLst>
                                            <p:cond delay="0"/>
                                          </p:stCondLst>
                                        </p:cTn>
                                        <p:tgtEl>
                                          <p:spTgt spid="38"/>
                                        </p:tgtEl>
                                        <p:attrNameLst>
                                          <p:attrName>style.visibility</p:attrName>
                                        </p:attrNameLst>
                                      </p:cBhvr>
                                      <p:to>
                                        <p:strVal val="visible"/>
                                      </p:to>
                                    </p:set>
                                    <p:anim calcmode="lin" valueType="num">
                                      <p:cBhvr>
                                        <p:cTn id="56" dur="500" fill="hold"/>
                                        <p:tgtEl>
                                          <p:spTgt spid="38"/>
                                        </p:tgtEl>
                                        <p:attrNameLst>
                                          <p:attrName>ppt_w</p:attrName>
                                        </p:attrNameLst>
                                      </p:cBhvr>
                                      <p:tavLst>
                                        <p:tav tm="0">
                                          <p:val>
                                            <p:fltVal val="0"/>
                                          </p:val>
                                        </p:tav>
                                        <p:tav tm="100000">
                                          <p:val>
                                            <p:strVal val="#ppt_w"/>
                                          </p:val>
                                        </p:tav>
                                      </p:tavLst>
                                    </p:anim>
                                    <p:anim calcmode="lin" valueType="num">
                                      <p:cBhvr>
                                        <p:cTn id="57" dur="500" fill="hold"/>
                                        <p:tgtEl>
                                          <p:spTgt spid="38"/>
                                        </p:tgtEl>
                                        <p:attrNameLst>
                                          <p:attrName>ppt_h</p:attrName>
                                        </p:attrNameLst>
                                      </p:cBhvr>
                                      <p:tavLst>
                                        <p:tav tm="0">
                                          <p:val>
                                            <p:fltVal val="0"/>
                                          </p:val>
                                        </p:tav>
                                        <p:tav tm="100000">
                                          <p:val>
                                            <p:strVal val="#ppt_h"/>
                                          </p:val>
                                        </p:tav>
                                      </p:tavLst>
                                    </p:anim>
                                    <p:anim calcmode="lin" valueType="num">
                                      <p:cBhvr>
                                        <p:cTn id="58" dur="500" fill="hold"/>
                                        <p:tgtEl>
                                          <p:spTgt spid="38"/>
                                        </p:tgtEl>
                                        <p:attrNameLst>
                                          <p:attrName>style.rotation</p:attrName>
                                        </p:attrNameLst>
                                      </p:cBhvr>
                                      <p:tavLst>
                                        <p:tav tm="0">
                                          <p:val>
                                            <p:fltVal val="90"/>
                                          </p:val>
                                        </p:tav>
                                        <p:tav tm="100000">
                                          <p:val>
                                            <p:fltVal val="0"/>
                                          </p:val>
                                        </p:tav>
                                      </p:tavLst>
                                    </p:anim>
                                    <p:animEffect transition="in" filter="fade">
                                      <p:cBhvr>
                                        <p:cTn id="59" dur="500"/>
                                        <p:tgtEl>
                                          <p:spTgt spid="38"/>
                                        </p:tgtEl>
                                      </p:cBhvr>
                                    </p:animEffect>
                                  </p:childTnLst>
                                </p:cTn>
                              </p:par>
                              <p:par>
                                <p:cTn id="60" presetID="10" presetClass="entr" presetSubtype="0" fill="hold" nodeType="withEffect">
                                  <p:stCondLst>
                                    <p:cond delay="3000"/>
                                  </p:stCondLst>
                                  <p:childTnLst>
                                    <p:set>
                                      <p:cBhvr>
                                        <p:cTn id="61" dur="1" fill="hold">
                                          <p:stCondLst>
                                            <p:cond delay="0"/>
                                          </p:stCondLst>
                                        </p:cTn>
                                        <p:tgtEl>
                                          <p:spTgt spid="13"/>
                                        </p:tgtEl>
                                        <p:attrNameLst>
                                          <p:attrName>style.visibility</p:attrName>
                                        </p:attrNameLst>
                                      </p:cBhvr>
                                      <p:to>
                                        <p:strVal val="visible"/>
                                      </p:to>
                                    </p:set>
                                    <p:animEffect transition="in" filter="fade">
                                      <p:cBhvr>
                                        <p:cTn id="62" dur="500"/>
                                        <p:tgtEl>
                                          <p:spTgt spid="13"/>
                                        </p:tgtEl>
                                      </p:cBhvr>
                                    </p:animEffect>
                                  </p:childTnLst>
                                </p:cTn>
                              </p:par>
                              <p:par>
                                <p:cTn id="63" presetID="22" presetClass="entr" presetSubtype="2" fill="hold" nodeType="withEffect">
                                  <p:stCondLst>
                                    <p:cond delay="3000"/>
                                  </p:stCondLst>
                                  <p:childTnLst>
                                    <p:set>
                                      <p:cBhvr>
                                        <p:cTn id="64" dur="1" fill="hold">
                                          <p:stCondLst>
                                            <p:cond delay="0"/>
                                          </p:stCondLst>
                                        </p:cTn>
                                        <p:tgtEl>
                                          <p:spTgt spid="30"/>
                                        </p:tgtEl>
                                        <p:attrNameLst>
                                          <p:attrName>style.visibility</p:attrName>
                                        </p:attrNameLst>
                                      </p:cBhvr>
                                      <p:to>
                                        <p:strVal val="visible"/>
                                      </p:to>
                                    </p:set>
                                    <p:animEffect transition="in" filter="wipe(right)">
                                      <p:cBhvr>
                                        <p:cTn id="65" dur="500"/>
                                        <p:tgtEl>
                                          <p:spTgt spid="30"/>
                                        </p:tgtEl>
                                      </p:cBhvr>
                                    </p:animEffect>
                                  </p:childTnLst>
                                </p:cTn>
                              </p:par>
                              <p:par>
                                <p:cTn id="66" presetID="12" presetClass="entr" presetSubtype="2" fill="hold" grpId="0" nodeType="withEffect">
                                  <p:stCondLst>
                                    <p:cond delay="3200"/>
                                  </p:stCondLst>
                                  <p:childTnLst>
                                    <p:set>
                                      <p:cBhvr>
                                        <p:cTn id="67" dur="1" fill="hold">
                                          <p:stCondLst>
                                            <p:cond delay="0"/>
                                          </p:stCondLst>
                                        </p:cTn>
                                        <p:tgtEl>
                                          <p:spTgt spid="51"/>
                                        </p:tgtEl>
                                        <p:attrNameLst>
                                          <p:attrName>style.visibility</p:attrName>
                                        </p:attrNameLst>
                                      </p:cBhvr>
                                      <p:to>
                                        <p:strVal val="visible"/>
                                      </p:to>
                                    </p:set>
                                    <p:anim calcmode="lin" valueType="num">
                                      <p:cBhvr additive="base">
                                        <p:cTn id="68" dur="500"/>
                                        <p:tgtEl>
                                          <p:spTgt spid="51"/>
                                        </p:tgtEl>
                                        <p:attrNameLst>
                                          <p:attrName>ppt_x</p:attrName>
                                        </p:attrNameLst>
                                      </p:cBhvr>
                                      <p:tavLst>
                                        <p:tav tm="0">
                                          <p:val>
                                            <p:strVal val="#ppt_x+#ppt_w*1.125000"/>
                                          </p:val>
                                        </p:tav>
                                        <p:tav tm="100000">
                                          <p:val>
                                            <p:strVal val="#ppt_x"/>
                                          </p:val>
                                        </p:tav>
                                      </p:tavLst>
                                    </p:anim>
                                    <p:animEffect transition="in" filter="wipe(left)">
                                      <p:cBhvr>
                                        <p:cTn id="69" dur="500"/>
                                        <p:tgtEl>
                                          <p:spTgt spid="51"/>
                                        </p:tgtEl>
                                      </p:cBhvr>
                                    </p:animEffect>
                                  </p:childTnLst>
                                </p:cTn>
                              </p:par>
                              <p:par>
                                <p:cTn id="70" presetID="31" presetClass="entr" presetSubtype="0" fill="hold" grpId="0" nodeType="withEffect">
                                  <p:stCondLst>
                                    <p:cond delay="3500"/>
                                  </p:stCondLst>
                                  <p:childTnLst>
                                    <p:set>
                                      <p:cBhvr>
                                        <p:cTn id="71" dur="1" fill="hold">
                                          <p:stCondLst>
                                            <p:cond delay="0"/>
                                          </p:stCondLst>
                                        </p:cTn>
                                        <p:tgtEl>
                                          <p:spTgt spid="37"/>
                                        </p:tgtEl>
                                        <p:attrNameLst>
                                          <p:attrName>style.visibility</p:attrName>
                                        </p:attrNameLst>
                                      </p:cBhvr>
                                      <p:to>
                                        <p:strVal val="visible"/>
                                      </p:to>
                                    </p:set>
                                    <p:anim calcmode="lin" valueType="num">
                                      <p:cBhvr>
                                        <p:cTn id="72" dur="500" fill="hold"/>
                                        <p:tgtEl>
                                          <p:spTgt spid="37"/>
                                        </p:tgtEl>
                                        <p:attrNameLst>
                                          <p:attrName>ppt_w</p:attrName>
                                        </p:attrNameLst>
                                      </p:cBhvr>
                                      <p:tavLst>
                                        <p:tav tm="0">
                                          <p:val>
                                            <p:fltVal val="0"/>
                                          </p:val>
                                        </p:tav>
                                        <p:tav tm="100000">
                                          <p:val>
                                            <p:strVal val="#ppt_w"/>
                                          </p:val>
                                        </p:tav>
                                      </p:tavLst>
                                    </p:anim>
                                    <p:anim calcmode="lin" valueType="num">
                                      <p:cBhvr>
                                        <p:cTn id="73" dur="500" fill="hold"/>
                                        <p:tgtEl>
                                          <p:spTgt spid="37"/>
                                        </p:tgtEl>
                                        <p:attrNameLst>
                                          <p:attrName>ppt_h</p:attrName>
                                        </p:attrNameLst>
                                      </p:cBhvr>
                                      <p:tavLst>
                                        <p:tav tm="0">
                                          <p:val>
                                            <p:fltVal val="0"/>
                                          </p:val>
                                        </p:tav>
                                        <p:tav tm="100000">
                                          <p:val>
                                            <p:strVal val="#ppt_h"/>
                                          </p:val>
                                        </p:tav>
                                      </p:tavLst>
                                    </p:anim>
                                    <p:anim calcmode="lin" valueType="num">
                                      <p:cBhvr>
                                        <p:cTn id="74" dur="500" fill="hold"/>
                                        <p:tgtEl>
                                          <p:spTgt spid="37"/>
                                        </p:tgtEl>
                                        <p:attrNameLst>
                                          <p:attrName>style.rotation</p:attrName>
                                        </p:attrNameLst>
                                      </p:cBhvr>
                                      <p:tavLst>
                                        <p:tav tm="0">
                                          <p:val>
                                            <p:fltVal val="90"/>
                                          </p:val>
                                        </p:tav>
                                        <p:tav tm="100000">
                                          <p:val>
                                            <p:fltVal val="0"/>
                                          </p:val>
                                        </p:tav>
                                      </p:tavLst>
                                    </p:anim>
                                    <p:animEffect transition="in" filter="fade">
                                      <p:cBhvr>
                                        <p:cTn id="75" dur="500"/>
                                        <p:tgtEl>
                                          <p:spTgt spid="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animBg="1"/>
      <p:bldP spid="37" grpId="0" animBg="1"/>
      <p:bldP spid="38" grpId="0" animBg="1"/>
      <p:bldP spid="46" grpId="0" animBg="1"/>
      <p:bldP spid="48" grpId="0"/>
      <p:bldP spid="49" grpId="0"/>
      <p:bldP spid="50" grpId="0"/>
      <p:bldP spid="51" grpId="0"/>
      <p:bldP spid="32" grpId="0" animBg="1"/>
      <p:bldP spid="33"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6" name="组合 35"/>
          <p:cNvGrpSpPr/>
          <p:nvPr/>
        </p:nvGrpSpPr>
        <p:grpSpPr>
          <a:xfrm>
            <a:off x="2584817" y="1844824"/>
            <a:ext cx="7020779" cy="655104"/>
            <a:chOff x="2584817" y="2125824"/>
            <a:chExt cx="7020779" cy="655104"/>
          </a:xfrm>
        </p:grpSpPr>
        <p:sp>
          <p:nvSpPr>
            <p:cNvPr id="17" name="矩形 16"/>
            <p:cNvSpPr/>
            <p:nvPr/>
          </p:nvSpPr>
          <p:spPr>
            <a:xfrm>
              <a:off x="2584817" y="2125824"/>
              <a:ext cx="936104" cy="655104"/>
            </a:xfrm>
            <a:prstGeom prst="rect">
              <a:avLst/>
            </a:prstGeom>
            <a:solidFill>
              <a:srgbClr val="47A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smtClean="0">
                  <a:latin typeface="HelveticaNeueLT Pro 35 Th" pitchFamily="34" charset="0"/>
                </a:rPr>
                <a:t>1</a:t>
              </a:r>
              <a:endParaRPr lang="zh-CN" altLang="en-US" sz="3600">
                <a:latin typeface="HelveticaNeueLT Pro 35 Th" pitchFamily="34" charset="0"/>
              </a:endParaRPr>
            </a:p>
          </p:txBody>
        </p:sp>
        <p:sp>
          <p:nvSpPr>
            <p:cNvPr id="29" name="矩形 28"/>
            <p:cNvSpPr/>
            <p:nvPr/>
          </p:nvSpPr>
          <p:spPr>
            <a:xfrm>
              <a:off x="3621305" y="2125824"/>
              <a:ext cx="5984291" cy="655104"/>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smtClean="0">
                  <a:latin typeface="华文黑体" pitchFamily="2" charset="-122"/>
                  <a:ea typeface="华文黑体" pitchFamily="2" charset="-122"/>
                  <a:cs typeface="华文黑体" pitchFamily="2" charset="-122"/>
                </a:rPr>
                <a:t>                     点击添加标题</a:t>
              </a:r>
              <a:endParaRPr lang="zh-CN" altLang="en-US" sz="2800">
                <a:latin typeface="华文黑体" pitchFamily="2" charset="-122"/>
                <a:ea typeface="华文黑体" pitchFamily="2" charset="-122"/>
                <a:cs typeface="华文黑体" pitchFamily="2" charset="-122"/>
              </a:endParaRPr>
            </a:p>
          </p:txBody>
        </p:sp>
      </p:grpSp>
      <p:grpSp>
        <p:nvGrpSpPr>
          <p:cNvPr id="37" name="组合 36"/>
          <p:cNvGrpSpPr/>
          <p:nvPr/>
        </p:nvGrpSpPr>
        <p:grpSpPr>
          <a:xfrm>
            <a:off x="2584817" y="2695295"/>
            <a:ext cx="7020779" cy="655104"/>
            <a:chOff x="2584817" y="2976295"/>
            <a:chExt cx="7020779" cy="655104"/>
          </a:xfrm>
        </p:grpSpPr>
        <p:sp>
          <p:nvSpPr>
            <p:cNvPr id="26" name="矩形 25"/>
            <p:cNvSpPr/>
            <p:nvPr/>
          </p:nvSpPr>
          <p:spPr>
            <a:xfrm>
              <a:off x="2584817" y="2976295"/>
              <a:ext cx="936104" cy="655104"/>
            </a:xfrm>
            <a:prstGeom prst="rect">
              <a:avLst/>
            </a:prstGeom>
            <a:solidFill>
              <a:srgbClr val="47A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smtClean="0">
                  <a:latin typeface="HelveticaNeueLT Pro 35 Th" pitchFamily="34" charset="0"/>
                </a:rPr>
                <a:t>2</a:t>
              </a:r>
              <a:endParaRPr lang="zh-CN" altLang="en-US" sz="3600">
                <a:latin typeface="HelveticaNeueLT Pro 35 Th" pitchFamily="34" charset="0"/>
              </a:endParaRPr>
            </a:p>
          </p:txBody>
        </p:sp>
        <p:sp>
          <p:nvSpPr>
            <p:cNvPr id="30" name="矩形 29"/>
            <p:cNvSpPr/>
            <p:nvPr/>
          </p:nvSpPr>
          <p:spPr>
            <a:xfrm>
              <a:off x="3621305" y="2976295"/>
              <a:ext cx="5984291" cy="655104"/>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smtClean="0">
                  <a:latin typeface="华文黑体" pitchFamily="2" charset="-122"/>
                  <a:ea typeface="华文黑体" pitchFamily="2" charset="-122"/>
                  <a:cs typeface="华文黑体" pitchFamily="2" charset="-122"/>
                </a:rPr>
                <a:t>                     点击添加标题</a:t>
              </a:r>
              <a:endParaRPr lang="zh-CN" altLang="en-US" sz="2800">
                <a:latin typeface="华文黑体" pitchFamily="2" charset="-122"/>
                <a:ea typeface="华文黑体" pitchFamily="2" charset="-122"/>
                <a:cs typeface="华文黑体" pitchFamily="2" charset="-122"/>
              </a:endParaRPr>
            </a:p>
          </p:txBody>
        </p:sp>
      </p:grpSp>
      <p:grpSp>
        <p:nvGrpSpPr>
          <p:cNvPr id="38" name="组合 37"/>
          <p:cNvGrpSpPr/>
          <p:nvPr/>
        </p:nvGrpSpPr>
        <p:grpSpPr>
          <a:xfrm>
            <a:off x="2584817" y="3545766"/>
            <a:ext cx="7020779" cy="655104"/>
            <a:chOff x="2584817" y="3826766"/>
            <a:chExt cx="7020779" cy="655104"/>
          </a:xfrm>
        </p:grpSpPr>
        <p:sp>
          <p:nvSpPr>
            <p:cNvPr id="27" name="矩形 26"/>
            <p:cNvSpPr/>
            <p:nvPr/>
          </p:nvSpPr>
          <p:spPr>
            <a:xfrm>
              <a:off x="2584817" y="3826766"/>
              <a:ext cx="936104" cy="655104"/>
            </a:xfrm>
            <a:prstGeom prst="rect">
              <a:avLst/>
            </a:prstGeom>
            <a:solidFill>
              <a:srgbClr val="47A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smtClean="0">
                  <a:latin typeface="HelveticaNeueLT Pro 35 Th" pitchFamily="34" charset="0"/>
                </a:rPr>
                <a:t>3</a:t>
              </a:r>
              <a:endParaRPr lang="zh-CN" altLang="en-US" sz="3600">
                <a:latin typeface="HelveticaNeueLT Pro 35 Th" pitchFamily="34" charset="0"/>
              </a:endParaRPr>
            </a:p>
          </p:txBody>
        </p:sp>
        <p:sp>
          <p:nvSpPr>
            <p:cNvPr id="31" name="矩形 30"/>
            <p:cNvSpPr/>
            <p:nvPr/>
          </p:nvSpPr>
          <p:spPr>
            <a:xfrm>
              <a:off x="3621305" y="3826766"/>
              <a:ext cx="5984291" cy="655104"/>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smtClean="0">
                  <a:latin typeface="华文黑体" pitchFamily="2" charset="-122"/>
                  <a:ea typeface="华文黑体" pitchFamily="2" charset="-122"/>
                  <a:cs typeface="华文黑体" pitchFamily="2" charset="-122"/>
                </a:rPr>
                <a:t>                     点击添加标题</a:t>
              </a:r>
              <a:endParaRPr lang="zh-CN" altLang="en-US" sz="2800">
                <a:latin typeface="华文黑体" pitchFamily="2" charset="-122"/>
                <a:ea typeface="华文黑体" pitchFamily="2" charset="-122"/>
                <a:cs typeface="华文黑体" pitchFamily="2" charset="-122"/>
              </a:endParaRPr>
            </a:p>
          </p:txBody>
        </p:sp>
      </p:grpSp>
      <p:grpSp>
        <p:nvGrpSpPr>
          <p:cNvPr id="39" name="组合 38"/>
          <p:cNvGrpSpPr/>
          <p:nvPr/>
        </p:nvGrpSpPr>
        <p:grpSpPr>
          <a:xfrm>
            <a:off x="2584817" y="4396236"/>
            <a:ext cx="7020779" cy="655104"/>
            <a:chOff x="2584817" y="4677236"/>
            <a:chExt cx="7020779" cy="655104"/>
          </a:xfrm>
        </p:grpSpPr>
        <p:sp>
          <p:nvSpPr>
            <p:cNvPr id="28" name="矩形 27"/>
            <p:cNvSpPr/>
            <p:nvPr/>
          </p:nvSpPr>
          <p:spPr>
            <a:xfrm>
              <a:off x="2584817" y="4677236"/>
              <a:ext cx="936104" cy="655104"/>
            </a:xfrm>
            <a:prstGeom prst="rect">
              <a:avLst/>
            </a:prstGeom>
            <a:solidFill>
              <a:srgbClr val="47A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smtClean="0">
                  <a:latin typeface="HelveticaNeueLT Pro 35 Th" pitchFamily="34" charset="0"/>
                </a:rPr>
                <a:t>4</a:t>
              </a:r>
              <a:endParaRPr lang="zh-CN" altLang="en-US" sz="3600">
                <a:latin typeface="HelveticaNeueLT Pro 35 Th" pitchFamily="34" charset="0"/>
              </a:endParaRPr>
            </a:p>
          </p:txBody>
        </p:sp>
        <p:sp>
          <p:nvSpPr>
            <p:cNvPr id="32" name="矩形 31"/>
            <p:cNvSpPr/>
            <p:nvPr/>
          </p:nvSpPr>
          <p:spPr>
            <a:xfrm>
              <a:off x="3621305" y="4677236"/>
              <a:ext cx="5984291" cy="655104"/>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smtClean="0">
                  <a:latin typeface="华文黑体" pitchFamily="2" charset="-122"/>
                  <a:ea typeface="华文黑体" pitchFamily="2" charset="-122"/>
                  <a:cs typeface="华文黑体" pitchFamily="2" charset="-122"/>
                </a:rPr>
                <a:t>                     点击添加标题</a:t>
              </a:r>
              <a:endParaRPr lang="zh-CN" altLang="en-US" sz="2800">
                <a:latin typeface="华文黑体" pitchFamily="2" charset="-122"/>
                <a:ea typeface="华文黑体" pitchFamily="2" charset="-122"/>
                <a:cs typeface="华文黑体" pitchFamily="2" charset="-122"/>
              </a:endParaRPr>
            </a:p>
          </p:txBody>
        </p:sp>
      </p:grpSp>
      <p:grpSp>
        <p:nvGrpSpPr>
          <p:cNvPr id="40" name="组合 39"/>
          <p:cNvGrpSpPr/>
          <p:nvPr/>
        </p:nvGrpSpPr>
        <p:grpSpPr>
          <a:xfrm>
            <a:off x="2584817" y="5236232"/>
            <a:ext cx="7020779" cy="655104"/>
            <a:chOff x="2584817" y="4677236"/>
            <a:chExt cx="7020779" cy="655104"/>
          </a:xfrm>
        </p:grpSpPr>
        <p:sp>
          <p:nvSpPr>
            <p:cNvPr id="41" name="矩形 40"/>
            <p:cNvSpPr/>
            <p:nvPr/>
          </p:nvSpPr>
          <p:spPr>
            <a:xfrm>
              <a:off x="2584817" y="4677236"/>
              <a:ext cx="936104" cy="655104"/>
            </a:xfrm>
            <a:prstGeom prst="rect">
              <a:avLst/>
            </a:prstGeom>
            <a:solidFill>
              <a:srgbClr val="47A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smtClean="0">
                  <a:latin typeface="HelveticaNeueLT Pro 35 Th" pitchFamily="34" charset="0"/>
                </a:rPr>
                <a:t>5</a:t>
              </a:r>
              <a:endParaRPr lang="zh-CN" altLang="en-US" sz="3600">
                <a:latin typeface="HelveticaNeueLT Pro 35 Th" pitchFamily="34" charset="0"/>
              </a:endParaRPr>
            </a:p>
          </p:txBody>
        </p:sp>
        <p:sp>
          <p:nvSpPr>
            <p:cNvPr id="42" name="矩形 41"/>
            <p:cNvSpPr/>
            <p:nvPr/>
          </p:nvSpPr>
          <p:spPr>
            <a:xfrm>
              <a:off x="3621305" y="4677236"/>
              <a:ext cx="5984291" cy="655104"/>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smtClean="0">
                  <a:latin typeface="华文黑体" pitchFamily="2" charset="-122"/>
                  <a:ea typeface="华文黑体" pitchFamily="2" charset="-122"/>
                  <a:cs typeface="华文黑体" pitchFamily="2" charset="-122"/>
                </a:rPr>
                <a:t>                     点击添加标题</a:t>
              </a:r>
              <a:endParaRPr lang="zh-CN" altLang="en-US" sz="2800">
                <a:latin typeface="华文黑体" pitchFamily="2" charset="-122"/>
                <a:ea typeface="华文黑体" pitchFamily="2" charset="-122"/>
                <a:cs typeface="华文黑体" pitchFamily="2" charset="-122"/>
              </a:endParaRPr>
            </a:p>
          </p:txBody>
        </p:sp>
      </p:grpSp>
      <p:sp>
        <p:nvSpPr>
          <p:cNvPr id="35" name="矩形 34"/>
          <p:cNvSpPr/>
          <p:nvPr/>
        </p:nvSpPr>
        <p:spPr>
          <a:xfrm>
            <a:off x="3621305" y="3545766"/>
            <a:ext cx="5984291" cy="655104"/>
          </a:xfrm>
          <a:prstGeom prst="rect">
            <a:avLst/>
          </a:prstGeom>
          <a:solidFill>
            <a:srgbClr val="FF78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smtClean="0">
                <a:latin typeface="华文黑体" pitchFamily="2" charset="-122"/>
                <a:ea typeface="华文黑体" pitchFamily="2" charset="-122"/>
                <a:cs typeface="华文黑体" pitchFamily="2" charset="-122"/>
              </a:rPr>
              <a:t>                     点击添加标题</a:t>
            </a:r>
            <a:endParaRPr lang="zh-CN" altLang="en-US" sz="2800">
              <a:latin typeface="华文黑体" pitchFamily="2" charset="-122"/>
              <a:ea typeface="华文黑体" pitchFamily="2" charset="-122"/>
              <a:cs typeface="华文黑体" pitchFamily="2" charset="-122"/>
            </a:endParaRPr>
          </a:p>
        </p:txBody>
      </p:sp>
      <p:sp>
        <p:nvSpPr>
          <p:cNvPr id="43" name="矩形 42"/>
          <p:cNvSpPr/>
          <p:nvPr/>
        </p:nvSpPr>
        <p:spPr>
          <a:xfrm>
            <a:off x="2584817" y="3545766"/>
            <a:ext cx="936104" cy="6551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smtClean="0">
                <a:solidFill>
                  <a:srgbClr val="47A7FF"/>
                </a:solidFill>
                <a:latin typeface="HelveticaNeueLT Pro 35 Th" pitchFamily="34" charset="0"/>
              </a:rPr>
              <a:t>3</a:t>
            </a:r>
            <a:endParaRPr lang="zh-CN" altLang="en-US" sz="3600">
              <a:solidFill>
                <a:srgbClr val="47A7FF"/>
              </a:solidFill>
              <a:latin typeface="HelveticaNeueLT Pro 35 Th" pitchFamily="34" charset="0"/>
            </a:endParaRPr>
          </a:p>
        </p:txBody>
      </p:sp>
      <p:sp>
        <p:nvSpPr>
          <p:cNvPr id="24" name="圆角矩形 23"/>
          <p:cNvSpPr/>
          <p:nvPr/>
        </p:nvSpPr>
        <p:spPr>
          <a:xfrm>
            <a:off x="9772022" y="260648"/>
            <a:ext cx="1944216" cy="600163"/>
          </a:xfrm>
          <a:prstGeom prst="roundRect">
            <a:avLst/>
          </a:prstGeom>
          <a:solidFill>
            <a:srgbClr val="FFFFFF"/>
          </a:solidFill>
          <a:ln>
            <a:noFill/>
          </a:ln>
          <a:effectLst>
            <a:reflection blurRad="6350" stA="25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5" name="TextBox 24"/>
          <p:cNvSpPr txBox="1"/>
          <p:nvPr/>
        </p:nvSpPr>
        <p:spPr>
          <a:xfrm>
            <a:off x="10292725" y="260648"/>
            <a:ext cx="902811" cy="523220"/>
          </a:xfrm>
          <a:prstGeom prst="rect">
            <a:avLst/>
          </a:prstGeom>
          <a:noFill/>
        </p:spPr>
        <p:txBody>
          <a:bodyPr wrap="none" rtlCol="0" anchor="ctr">
            <a:spAutoFit/>
          </a:bodyPr>
          <a:lstStyle>
            <a:defPPr>
              <a:defRPr lang="zh-CN"/>
            </a:defPPr>
            <a:lvl1pPr algn="ctr">
              <a:defRPr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anose="02010600040101010101" pitchFamily="2" charset="-122"/>
                <a:cs typeface="华文黑体" pitchFamily="2" charset="-122"/>
              </a:defRPr>
            </a:lvl1pPr>
          </a:lstStyle>
          <a:p>
            <a:r>
              <a:rPr lang="zh-CN" altLang="en-US" sz="2800">
                <a:gradFill>
                  <a:gsLst>
                    <a:gs pos="0">
                      <a:srgbClr val="2A4DFE"/>
                    </a:gs>
                    <a:gs pos="57000">
                      <a:srgbClr val="4F92FF"/>
                    </a:gs>
                    <a:gs pos="70000">
                      <a:srgbClr val="44028C"/>
                    </a:gs>
                    <a:gs pos="100000">
                      <a:srgbClr val="FF09A7"/>
                    </a:gs>
                    <a:gs pos="83000">
                      <a:srgbClr val="B00071"/>
                    </a:gs>
                  </a:gsLst>
                  <a:lin ang="5400000" scaled="0"/>
                </a:gradFill>
              </a:rPr>
              <a:t>目录</a:t>
            </a:r>
            <a:endParaRPr lang="zh-CN" altLang="en-US" sz="2800">
              <a:gradFill>
                <a:gsLst>
                  <a:gs pos="0">
                    <a:srgbClr val="2A4DFE"/>
                  </a:gs>
                  <a:gs pos="57000">
                    <a:srgbClr val="4F92FF"/>
                  </a:gs>
                  <a:gs pos="70000">
                    <a:srgbClr val="44028C"/>
                  </a:gs>
                  <a:gs pos="100000">
                    <a:srgbClr val="FF09A7"/>
                  </a:gs>
                  <a:gs pos="83000">
                    <a:srgbClr val="B00071"/>
                  </a:gs>
                </a:gsLst>
                <a:lin ang="5400000" scaled="0"/>
              </a:gradFill>
            </a:endParaRPr>
          </a:p>
        </p:txBody>
      </p:sp>
      <p:sp>
        <p:nvSpPr>
          <p:cNvPr id="33" name="TextBox 32"/>
          <p:cNvSpPr txBox="1"/>
          <p:nvPr/>
        </p:nvSpPr>
        <p:spPr>
          <a:xfrm>
            <a:off x="7323750" y="276036"/>
            <a:ext cx="2294218" cy="584775"/>
          </a:xfrm>
          <a:prstGeom prst="rect">
            <a:avLst/>
          </a:prstGeom>
          <a:noFill/>
        </p:spPr>
        <p:txBody>
          <a:bodyPr wrap="none" rtlCol="0">
            <a:spAutoFit/>
          </a:bodyPr>
          <a:lstStyle/>
          <a:p>
            <a:pPr algn="ctr"/>
            <a:r>
              <a:rPr lang="en-US" altLang="zh-CN" sz="3200" smtClean="0">
                <a:solidFill>
                  <a:schemeClr val="bg1"/>
                </a:solidFill>
                <a:latin typeface="HelveticaNeueLT Pro 35 Th" pitchFamily="34" charset="0"/>
                <a:ea typeface="华文细黑" panose="02010600040101010101" pitchFamily="2" charset="-122"/>
                <a:cs typeface="华文黑体" pitchFamily="2" charset="-122"/>
              </a:rPr>
              <a:t>CONTENTS</a:t>
            </a:r>
            <a:endParaRPr lang="zh-CN" altLang="en-US" sz="3200">
              <a:solidFill>
                <a:schemeClr val="bg1"/>
              </a:solidFill>
              <a:latin typeface="HelveticaNeueLT Pro 35 Th" pitchFamily="34" charset="0"/>
              <a:ea typeface="华文细黑" panose="02010600040101010101" pitchFamily="2" charset="-122"/>
              <a:cs typeface="华文黑体" pitchFamily="2" charset="-122"/>
            </a:endParaRPr>
          </a:p>
        </p:txBody>
      </p:sp>
    </p:spTree>
  </p:cSld>
  <p:clrMapOvr>
    <a:masterClrMapping/>
  </p:clrMapOvr>
  <p:transition spd="slow">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4"/>
                                        </p:tgtEl>
                                        <p:attrNameLst>
                                          <p:attrName>style.visibility</p:attrName>
                                        </p:attrNameLst>
                                      </p:cBhvr>
                                      <p:to>
                                        <p:strVal val="visible"/>
                                      </p:to>
                                    </p:set>
                                    <p:animEffect transition="in" filter="fade">
                                      <p:cBhvr>
                                        <p:cTn id="7" dur="300"/>
                                        <p:tgtEl>
                                          <p:spTgt spid="2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5"/>
                                        </p:tgtEl>
                                        <p:attrNameLst>
                                          <p:attrName>style.visibility</p:attrName>
                                        </p:attrNameLst>
                                      </p:cBhvr>
                                      <p:to>
                                        <p:strVal val="visible"/>
                                      </p:to>
                                    </p:set>
                                    <p:animEffect transition="in" filter="fade">
                                      <p:cBhvr>
                                        <p:cTn id="10" dur="300"/>
                                        <p:tgtEl>
                                          <p:spTgt spid="25"/>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3"/>
                                        </p:tgtEl>
                                        <p:attrNameLst>
                                          <p:attrName>style.visibility</p:attrName>
                                        </p:attrNameLst>
                                      </p:cBhvr>
                                      <p:to>
                                        <p:strVal val="visible"/>
                                      </p:to>
                                    </p:set>
                                    <p:animEffect transition="in" filter="fade">
                                      <p:cBhvr>
                                        <p:cTn id="13" dur="300"/>
                                        <p:tgtEl>
                                          <p:spTgt spid="33"/>
                                        </p:tgtEl>
                                      </p:cBhvr>
                                    </p:animEffect>
                                  </p:childTnLst>
                                </p:cTn>
                              </p:par>
                            </p:childTnLst>
                          </p:cTn>
                        </p:par>
                        <p:par>
                          <p:cTn id="14" fill="hold">
                            <p:stCondLst>
                              <p:cond delay="500"/>
                            </p:stCondLst>
                            <p:childTnLst>
                              <p:par>
                                <p:cTn id="15" presetID="22" presetClass="entr" presetSubtype="1" fill="hold" grpId="0" nodeType="afterEffect">
                                  <p:stCondLst>
                                    <p:cond delay="0"/>
                                  </p:stCondLst>
                                  <p:childTnLst>
                                    <p:set>
                                      <p:cBhvr>
                                        <p:cTn id="16" dur="1" fill="hold">
                                          <p:stCondLst>
                                            <p:cond delay="0"/>
                                          </p:stCondLst>
                                        </p:cTn>
                                        <p:tgtEl>
                                          <p:spTgt spid="43"/>
                                        </p:tgtEl>
                                        <p:attrNameLst>
                                          <p:attrName>style.visibility</p:attrName>
                                        </p:attrNameLst>
                                      </p:cBhvr>
                                      <p:to>
                                        <p:strVal val="visible"/>
                                      </p:to>
                                    </p:set>
                                    <p:animEffect transition="in" filter="wipe(up)">
                                      <p:cBhvr>
                                        <p:cTn id="17" dur="500"/>
                                        <p:tgtEl>
                                          <p:spTgt spid="43"/>
                                        </p:tgtEl>
                                      </p:cBhvr>
                                    </p:animEffect>
                                  </p:childTnLst>
                                </p:cTn>
                              </p:par>
                              <p:par>
                                <p:cTn id="18" presetID="22" presetClass="entr" presetSubtype="2" fill="hold" grpId="0" nodeType="withEffect">
                                  <p:stCondLst>
                                    <p:cond delay="0"/>
                                  </p:stCondLst>
                                  <p:childTnLst>
                                    <p:set>
                                      <p:cBhvr>
                                        <p:cTn id="19" dur="1" fill="hold">
                                          <p:stCondLst>
                                            <p:cond delay="0"/>
                                          </p:stCondLst>
                                        </p:cTn>
                                        <p:tgtEl>
                                          <p:spTgt spid="35"/>
                                        </p:tgtEl>
                                        <p:attrNameLst>
                                          <p:attrName>style.visibility</p:attrName>
                                        </p:attrNameLst>
                                      </p:cBhvr>
                                      <p:to>
                                        <p:strVal val="visible"/>
                                      </p:to>
                                    </p:set>
                                    <p:animEffect transition="in" filter="wipe(right)">
                                      <p:cBhvr>
                                        <p:cTn id="20" dur="5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 grpId="0" animBg="1"/>
      <p:bldP spid="43" grpId="0" animBg="1"/>
      <p:bldP spid="24" grpId="0" animBg="1"/>
      <p:bldP spid="25" grpId="0"/>
      <p:bldP spid="33"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矩形 33" hidden="1"/>
          <p:cNvSpPr/>
          <p:nvPr/>
        </p:nvSpPr>
        <p:spPr>
          <a:xfrm>
            <a:off x="2584817" y="2133288"/>
            <a:ext cx="936104" cy="6551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smtClean="0">
                <a:solidFill>
                  <a:srgbClr val="B0F533"/>
                </a:solidFill>
                <a:latin typeface="Gill Sans MT Pro Light" pitchFamily="34" charset="0"/>
              </a:rPr>
              <a:t>1</a:t>
            </a:r>
            <a:endParaRPr lang="zh-CN" altLang="en-US" sz="3600">
              <a:solidFill>
                <a:srgbClr val="B0F533"/>
              </a:solidFill>
              <a:latin typeface="Gill Sans MT Pro Light" pitchFamily="34" charset="0"/>
            </a:endParaRPr>
          </a:p>
        </p:txBody>
      </p:sp>
      <p:sp>
        <p:nvSpPr>
          <p:cNvPr id="35" name="矩形 34" hidden="1"/>
          <p:cNvSpPr/>
          <p:nvPr/>
        </p:nvSpPr>
        <p:spPr>
          <a:xfrm>
            <a:off x="3621305" y="2133288"/>
            <a:ext cx="5984291" cy="655104"/>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smtClean="0">
                <a:latin typeface="华文黑体" pitchFamily="2" charset="-122"/>
                <a:ea typeface="华文黑体" pitchFamily="2" charset="-122"/>
                <a:cs typeface="华文黑体" pitchFamily="2" charset="-122"/>
              </a:rPr>
              <a:t>                     点击添加标题</a:t>
            </a:r>
            <a:endParaRPr lang="zh-CN" altLang="en-US" sz="2800">
              <a:latin typeface="华文黑体" pitchFamily="2" charset="-122"/>
              <a:ea typeface="华文黑体" pitchFamily="2" charset="-122"/>
              <a:cs typeface="华文黑体" pitchFamily="2" charset="-122"/>
            </a:endParaRPr>
          </a:p>
        </p:txBody>
      </p:sp>
      <p:sp>
        <p:nvSpPr>
          <p:cNvPr id="4" name="矩形 3"/>
          <p:cNvSpPr/>
          <p:nvPr/>
        </p:nvSpPr>
        <p:spPr>
          <a:xfrm>
            <a:off x="1540121" y="3356992"/>
            <a:ext cx="6931349" cy="162018"/>
          </a:xfrm>
          <a:prstGeom prst="rect">
            <a:avLst/>
          </a:prstGeom>
          <a:solidFill>
            <a:srgbClr val="FF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3" name="矩形 12"/>
          <p:cNvSpPr/>
          <p:nvPr/>
        </p:nvSpPr>
        <p:spPr>
          <a:xfrm>
            <a:off x="1540121" y="3627022"/>
            <a:ext cx="6885601" cy="162018"/>
          </a:xfrm>
          <a:custGeom>
            <a:avLst/>
            <a:gdLst/>
            <a:ahLst/>
            <a:cxnLst/>
            <a:rect l="l" t="t" r="r" b="b"/>
            <a:pathLst>
              <a:path w="6885601" h="162018">
                <a:moveTo>
                  <a:pt x="0" y="0"/>
                </a:moveTo>
                <a:lnTo>
                  <a:pt x="6863886" y="0"/>
                </a:lnTo>
                <a:cubicBezTo>
                  <a:pt x="6867441" y="55065"/>
                  <a:pt x="6874351" y="109213"/>
                  <a:pt x="6885601" y="162018"/>
                </a:cubicBezTo>
                <a:lnTo>
                  <a:pt x="0" y="162018"/>
                </a:lnTo>
                <a:close/>
              </a:path>
            </a:pathLst>
          </a:cu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44" name="组合 43"/>
          <p:cNvGrpSpPr/>
          <p:nvPr/>
        </p:nvGrpSpPr>
        <p:grpSpPr>
          <a:xfrm>
            <a:off x="8404007" y="2276872"/>
            <a:ext cx="2655206" cy="2592288"/>
            <a:chOff x="8404007" y="2276872"/>
            <a:chExt cx="2655206" cy="2592288"/>
          </a:xfrm>
        </p:grpSpPr>
        <p:sp>
          <p:nvSpPr>
            <p:cNvPr id="2" name="椭圆 1"/>
            <p:cNvSpPr/>
            <p:nvPr/>
          </p:nvSpPr>
          <p:spPr>
            <a:xfrm>
              <a:off x="8404007" y="2276872"/>
              <a:ext cx="2655206" cy="1242138"/>
            </a:xfrm>
            <a:custGeom>
              <a:avLst/>
              <a:gdLst>
                <a:gd name="connsiteX0" fmla="*/ 1045028 w 2655206"/>
                <a:gd name="connsiteY0" fmla="*/ 1755986 h 2671362"/>
                <a:gd name="connsiteX1" fmla="*/ 2655206 w 2655206"/>
                <a:gd name="connsiteY1" fmla="*/ 1422158 h 2671362"/>
                <a:gd name="connsiteX2" fmla="*/ 1327603 w 2655206"/>
                <a:gd name="connsiteY2" fmla="*/ 2664296 h 2671362"/>
                <a:gd name="connsiteX3" fmla="*/ 1045028 w 2655206"/>
                <a:gd name="connsiteY3" fmla="*/ 1755986 h 2671362"/>
                <a:gd name="connsiteX4" fmla="*/ 1327603 w 2655206"/>
                <a:gd name="connsiteY4" fmla="*/ 0 h 2671362"/>
                <a:gd name="connsiteX5" fmla="*/ 2655206 w 2655206"/>
                <a:gd name="connsiteY5" fmla="*/ 1242138 h 2671362"/>
                <a:gd name="connsiteX6" fmla="*/ 0 w 2655206"/>
                <a:gd name="connsiteY6" fmla="*/ 1242138 h 2671362"/>
                <a:gd name="connsiteX7" fmla="*/ 1327603 w 2655206"/>
                <a:gd name="connsiteY7" fmla="*/ 0 h 2671362"/>
                <a:gd name="connsiteX0-1" fmla="*/ 1327603 w 2655206"/>
                <a:gd name="connsiteY0-2" fmla="*/ 2664296 h 2664296"/>
                <a:gd name="connsiteX1-3" fmla="*/ 2655206 w 2655206"/>
                <a:gd name="connsiteY1-4" fmla="*/ 1422158 h 2664296"/>
                <a:gd name="connsiteX2-5" fmla="*/ 1327603 w 2655206"/>
                <a:gd name="connsiteY2-6" fmla="*/ 2664296 h 2664296"/>
                <a:gd name="connsiteX3-7" fmla="*/ 1327603 w 2655206"/>
                <a:gd name="connsiteY3-8" fmla="*/ 0 h 2664296"/>
                <a:gd name="connsiteX4-9" fmla="*/ 2655206 w 2655206"/>
                <a:gd name="connsiteY4-10" fmla="*/ 1242138 h 2664296"/>
                <a:gd name="connsiteX5-11" fmla="*/ 0 w 2655206"/>
                <a:gd name="connsiteY5-12" fmla="*/ 1242138 h 2664296"/>
                <a:gd name="connsiteX6-13" fmla="*/ 1327603 w 2655206"/>
                <a:gd name="connsiteY6-14" fmla="*/ 0 h 2664296"/>
                <a:gd name="connsiteX0-15" fmla="*/ 1327603 w 2655206"/>
                <a:gd name="connsiteY0-16" fmla="*/ 0 h 1242138"/>
                <a:gd name="connsiteX1-17" fmla="*/ 2655206 w 2655206"/>
                <a:gd name="connsiteY1-18" fmla="*/ 1242138 h 1242138"/>
                <a:gd name="connsiteX2-19" fmla="*/ 0 w 2655206"/>
                <a:gd name="connsiteY2-20" fmla="*/ 1242138 h 1242138"/>
                <a:gd name="connsiteX3-21" fmla="*/ 1327603 w 2655206"/>
                <a:gd name="connsiteY3-22" fmla="*/ 0 h 1242138"/>
              </a:gdLst>
              <a:ahLst/>
              <a:cxnLst>
                <a:cxn ang="0">
                  <a:pos x="connsiteX0-1" y="connsiteY0-2"/>
                </a:cxn>
                <a:cxn ang="0">
                  <a:pos x="connsiteX1-3" y="connsiteY1-4"/>
                </a:cxn>
                <a:cxn ang="0">
                  <a:pos x="connsiteX2-5" y="connsiteY2-6"/>
                </a:cxn>
                <a:cxn ang="0">
                  <a:pos x="connsiteX3-7" y="connsiteY3-8"/>
                </a:cxn>
              </a:cxnLst>
              <a:rect l="l" t="t" r="r" b="b"/>
              <a:pathLst>
                <a:path w="2655206" h="1242138">
                  <a:moveTo>
                    <a:pt x="1327603" y="0"/>
                  </a:moveTo>
                  <a:cubicBezTo>
                    <a:pt x="2033044" y="0"/>
                    <a:pt x="2610414" y="548333"/>
                    <a:pt x="2655206" y="1242138"/>
                  </a:cubicBezTo>
                  <a:lnTo>
                    <a:pt x="0" y="1242138"/>
                  </a:lnTo>
                  <a:cubicBezTo>
                    <a:pt x="44792" y="548333"/>
                    <a:pt x="622162" y="0"/>
                    <a:pt x="1327603" y="0"/>
                  </a:cubicBezTo>
                  <a:close/>
                </a:path>
              </a:pathLst>
            </a:custGeom>
            <a:solidFill>
              <a:srgbClr val="FF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6" name="椭圆 1"/>
            <p:cNvSpPr/>
            <p:nvPr/>
          </p:nvSpPr>
          <p:spPr>
            <a:xfrm>
              <a:off x="8404007" y="3627022"/>
              <a:ext cx="2655206" cy="1242138"/>
            </a:xfrm>
            <a:custGeom>
              <a:avLst/>
              <a:gdLst>
                <a:gd name="connsiteX0" fmla="*/ 0 w 2655206"/>
                <a:gd name="connsiteY0" fmla="*/ 180020 h 1422158"/>
                <a:gd name="connsiteX1" fmla="*/ 2655206 w 2655206"/>
                <a:gd name="connsiteY1" fmla="*/ 180020 h 1422158"/>
                <a:gd name="connsiteX2" fmla="*/ 1327603 w 2655206"/>
                <a:gd name="connsiteY2" fmla="*/ 1422158 h 1422158"/>
                <a:gd name="connsiteX3" fmla="*/ 0 w 2655206"/>
                <a:gd name="connsiteY3" fmla="*/ 180020 h 1422158"/>
                <a:gd name="connsiteX4" fmla="*/ 0 w 2655206"/>
                <a:gd name="connsiteY4" fmla="*/ 0 h 1422158"/>
                <a:gd name="connsiteX5" fmla="*/ 2655206 w 2655206"/>
                <a:gd name="connsiteY5" fmla="*/ 0 h 1422158"/>
                <a:gd name="connsiteX6" fmla="*/ 0 w 2655206"/>
                <a:gd name="connsiteY6" fmla="*/ 0 h 1422158"/>
                <a:gd name="connsiteX0-1" fmla="*/ 0 w 2655206"/>
                <a:gd name="connsiteY0-2" fmla="*/ 0 h 1242138"/>
                <a:gd name="connsiteX1-3" fmla="*/ 2655206 w 2655206"/>
                <a:gd name="connsiteY1-4" fmla="*/ 0 h 1242138"/>
                <a:gd name="connsiteX2-5" fmla="*/ 1327603 w 2655206"/>
                <a:gd name="connsiteY2-6" fmla="*/ 1242138 h 1242138"/>
                <a:gd name="connsiteX3-7" fmla="*/ 0 w 2655206"/>
                <a:gd name="connsiteY3-8" fmla="*/ 0 h 1242138"/>
              </a:gdLst>
              <a:ahLst/>
              <a:cxnLst>
                <a:cxn ang="0">
                  <a:pos x="connsiteX0-1" y="connsiteY0-2"/>
                </a:cxn>
                <a:cxn ang="0">
                  <a:pos x="connsiteX1-3" y="connsiteY1-4"/>
                </a:cxn>
                <a:cxn ang="0">
                  <a:pos x="connsiteX2-5" y="connsiteY2-6"/>
                </a:cxn>
                <a:cxn ang="0">
                  <a:pos x="connsiteX3-7" y="connsiteY3-8"/>
                </a:cxn>
              </a:cxnLst>
              <a:rect l="l" t="t" r="r" b="b"/>
              <a:pathLst>
                <a:path w="2655206" h="1242138">
                  <a:moveTo>
                    <a:pt x="0" y="0"/>
                  </a:moveTo>
                  <a:lnTo>
                    <a:pt x="2655206" y="0"/>
                  </a:lnTo>
                  <a:cubicBezTo>
                    <a:pt x="2610414" y="693805"/>
                    <a:pt x="2033044" y="1242138"/>
                    <a:pt x="1327603" y="1242138"/>
                  </a:cubicBezTo>
                  <a:cubicBezTo>
                    <a:pt x="622162" y="1242138"/>
                    <a:pt x="44792" y="693805"/>
                    <a:pt x="0" y="0"/>
                  </a:cubicBezTo>
                  <a:close/>
                </a:path>
              </a:pathLst>
            </a:cu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19" name="Group 73"/>
            <p:cNvGrpSpPr/>
            <p:nvPr>
              <p:custDataLst>
                <p:tags r:id="rId1"/>
              </p:custDataLst>
            </p:nvPr>
          </p:nvGrpSpPr>
          <p:grpSpPr>
            <a:xfrm>
              <a:off x="9167718" y="2905458"/>
              <a:ext cx="1127785" cy="451534"/>
              <a:chOff x="683122" y="3143325"/>
              <a:chExt cx="1092016" cy="428533"/>
            </a:xfrm>
          </p:grpSpPr>
          <p:pic>
            <p:nvPicPr>
              <p:cNvPr id="20" name="Picture 74"/>
              <p:cNvPicPr>
                <a:picLocks noChangeAspect="1"/>
              </p:cNvPicPr>
              <p:nvPr/>
            </p:nvPicPr>
            <p:blipFill rotWithShape="1">
              <a:blip r:embed="rId2" cstate="print">
                <a:extLst>
                  <a:ext uri="{28A0092B-C50C-407E-A947-70E740481C1C}">
                    <a14:useLocalDpi xmlns:a14="http://schemas.microsoft.com/office/drawing/2010/main" val="0"/>
                  </a:ext>
                </a:extLst>
              </a:blip>
              <a:srcRect l="27680"/>
              <a:stretch>
                <a:fillRect/>
              </a:stretch>
            </p:blipFill>
            <p:spPr>
              <a:xfrm>
                <a:off x="1022176" y="3143325"/>
                <a:ext cx="752962" cy="428533"/>
              </a:xfrm>
              <a:prstGeom prst="rect">
                <a:avLst/>
              </a:prstGeom>
            </p:spPr>
          </p:pic>
          <p:pic>
            <p:nvPicPr>
              <p:cNvPr id="21" name="Picture 7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83122" y="3224792"/>
                <a:ext cx="339653" cy="265593"/>
              </a:xfrm>
              <a:prstGeom prst="rect">
                <a:avLst/>
              </a:prstGeom>
            </p:spPr>
          </p:pic>
        </p:grpSp>
        <p:pic>
          <p:nvPicPr>
            <p:cNvPr id="23" name="Picture 7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320632" y="4087954"/>
              <a:ext cx="821956" cy="493174"/>
            </a:xfrm>
            <a:prstGeom prst="rect">
              <a:avLst/>
            </a:prstGeom>
          </p:spPr>
        </p:pic>
        <p:sp>
          <p:nvSpPr>
            <p:cNvPr id="24" name="矩形 23"/>
            <p:cNvSpPr/>
            <p:nvPr/>
          </p:nvSpPr>
          <p:spPr>
            <a:xfrm>
              <a:off x="8946780" y="2515182"/>
              <a:ext cx="1569660" cy="369332"/>
            </a:xfrm>
            <a:prstGeom prst="rect">
              <a:avLst/>
            </a:prstGeom>
          </p:spPr>
          <p:txBody>
            <a:bodyPr wrap="none">
              <a:spAutoFit/>
            </a:bodyPr>
            <a:lstStyle/>
            <a:p>
              <a:r>
                <a:rPr lang="zh-CN" altLang="en-US">
                  <a:solidFill>
                    <a:schemeClr val="bg1"/>
                  </a:solidFill>
                  <a:latin typeface="华文黑体" pitchFamily="2" charset="-122"/>
                  <a:ea typeface="华文黑体" pitchFamily="2" charset="-122"/>
                  <a:cs typeface="华文黑体" pitchFamily="2" charset="-122"/>
                </a:rPr>
                <a:t>单击添加标题</a:t>
              </a:r>
              <a:endParaRPr lang="zh-CN" altLang="en-US">
                <a:solidFill>
                  <a:schemeClr val="bg1"/>
                </a:solidFill>
                <a:latin typeface="华文细黑" panose="02010600040101010101" pitchFamily="2" charset="-122"/>
                <a:ea typeface="华文细黑" panose="02010600040101010101" pitchFamily="2" charset="-122"/>
                <a:cs typeface="华文黑体" pitchFamily="2" charset="-122"/>
              </a:endParaRPr>
            </a:p>
          </p:txBody>
        </p:sp>
        <p:sp>
          <p:nvSpPr>
            <p:cNvPr id="25" name="矩形 24"/>
            <p:cNvSpPr/>
            <p:nvPr/>
          </p:nvSpPr>
          <p:spPr>
            <a:xfrm>
              <a:off x="8946780" y="3708031"/>
              <a:ext cx="1569660" cy="369332"/>
            </a:xfrm>
            <a:prstGeom prst="rect">
              <a:avLst/>
            </a:prstGeom>
          </p:spPr>
          <p:txBody>
            <a:bodyPr wrap="none">
              <a:spAutoFit/>
            </a:bodyPr>
            <a:lstStyle/>
            <a:p>
              <a:r>
                <a:rPr lang="zh-CN" altLang="en-US">
                  <a:solidFill>
                    <a:schemeClr val="bg1"/>
                  </a:solidFill>
                  <a:latin typeface="华文黑体" pitchFamily="2" charset="-122"/>
                  <a:ea typeface="华文黑体" pitchFamily="2" charset="-122"/>
                  <a:cs typeface="华文黑体" pitchFamily="2" charset="-122"/>
                </a:rPr>
                <a:t>单击添加标题</a:t>
              </a:r>
              <a:endParaRPr lang="zh-CN" altLang="en-US">
                <a:solidFill>
                  <a:schemeClr val="bg1"/>
                </a:solidFill>
                <a:latin typeface="华文细黑" panose="02010600040101010101" pitchFamily="2" charset="-122"/>
                <a:ea typeface="华文细黑" panose="02010600040101010101" pitchFamily="2" charset="-122"/>
                <a:cs typeface="华文黑体" pitchFamily="2" charset="-122"/>
              </a:endParaRPr>
            </a:p>
          </p:txBody>
        </p:sp>
      </p:grpSp>
      <p:sp>
        <p:nvSpPr>
          <p:cNvPr id="26" name="Freeform 91"/>
          <p:cNvSpPr>
            <a:spLocks noEditPoints="1"/>
          </p:cNvSpPr>
          <p:nvPr/>
        </p:nvSpPr>
        <p:spPr bwMode="auto">
          <a:xfrm>
            <a:off x="1558702" y="1844824"/>
            <a:ext cx="293174" cy="418025"/>
          </a:xfrm>
          <a:custGeom>
            <a:avLst/>
            <a:gdLst>
              <a:gd name="T0" fmla="*/ 8 w 348"/>
              <a:gd name="T1" fmla="*/ 0 h 414"/>
              <a:gd name="T2" fmla="*/ 0 w 348"/>
              <a:gd name="T3" fmla="*/ 406 h 414"/>
              <a:gd name="T4" fmla="*/ 340 w 348"/>
              <a:gd name="T5" fmla="*/ 414 h 414"/>
              <a:gd name="T6" fmla="*/ 348 w 348"/>
              <a:gd name="T7" fmla="*/ 8 h 414"/>
              <a:gd name="T8" fmla="*/ 333 w 348"/>
              <a:gd name="T9" fmla="*/ 399 h 414"/>
              <a:gd name="T10" fmla="*/ 15 w 348"/>
              <a:gd name="T11" fmla="*/ 15 h 414"/>
              <a:gd name="T12" fmla="*/ 333 w 348"/>
              <a:gd name="T13" fmla="*/ 399 h 414"/>
              <a:gd name="T14" fmla="*/ 33 w 348"/>
              <a:gd name="T15" fmla="*/ 43 h 414"/>
              <a:gd name="T16" fmla="*/ 307 w 348"/>
              <a:gd name="T17" fmla="*/ 36 h 414"/>
              <a:gd name="T18" fmla="*/ 315 w 348"/>
              <a:gd name="T19" fmla="*/ 104 h 414"/>
              <a:gd name="T20" fmla="*/ 41 w 348"/>
              <a:gd name="T21" fmla="*/ 111 h 414"/>
              <a:gd name="T22" fmla="*/ 108 w 348"/>
              <a:gd name="T23" fmla="*/ 141 h 414"/>
              <a:gd name="T24" fmla="*/ 123 w 348"/>
              <a:gd name="T25" fmla="*/ 203 h 414"/>
              <a:gd name="T26" fmla="*/ 53 w 348"/>
              <a:gd name="T27" fmla="*/ 210 h 414"/>
              <a:gd name="T28" fmla="*/ 108 w 348"/>
              <a:gd name="T29" fmla="*/ 195 h 414"/>
              <a:gd name="T30" fmla="*/ 198 w 348"/>
              <a:gd name="T31" fmla="*/ 141 h 414"/>
              <a:gd name="T32" fmla="*/ 212 w 348"/>
              <a:gd name="T33" fmla="*/ 203 h 414"/>
              <a:gd name="T34" fmla="*/ 143 w 348"/>
              <a:gd name="T35" fmla="*/ 210 h 414"/>
              <a:gd name="T36" fmla="*/ 198 w 348"/>
              <a:gd name="T37" fmla="*/ 195 h 414"/>
              <a:gd name="T38" fmla="*/ 287 w 348"/>
              <a:gd name="T39" fmla="*/ 141 h 414"/>
              <a:gd name="T40" fmla="*/ 302 w 348"/>
              <a:gd name="T41" fmla="*/ 203 h 414"/>
              <a:gd name="T42" fmla="*/ 233 w 348"/>
              <a:gd name="T43" fmla="*/ 210 h 414"/>
              <a:gd name="T44" fmla="*/ 287 w 348"/>
              <a:gd name="T45" fmla="*/ 195 h 414"/>
              <a:gd name="T46" fmla="*/ 108 w 348"/>
              <a:gd name="T47" fmla="*/ 314 h 414"/>
              <a:gd name="T48" fmla="*/ 123 w 348"/>
              <a:gd name="T49" fmla="*/ 376 h 414"/>
              <a:gd name="T50" fmla="*/ 53 w 348"/>
              <a:gd name="T51" fmla="*/ 384 h 414"/>
              <a:gd name="T52" fmla="*/ 108 w 348"/>
              <a:gd name="T53" fmla="*/ 369 h 414"/>
              <a:gd name="T54" fmla="*/ 198 w 348"/>
              <a:gd name="T55" fmla="*/ 314 h 414"/>
              <a:gd name="T56" fmla="*/ 212 w 348"/>
              <a:gd name="T57" fmla="*/ 376 h 414"/>
              <a:gd name="T58" fmla="*/ 143 w 348"/>
              <a:gd name="T59" fmla="*/ 384 h 414"/>
              <a:gd name="T60" fmla="*/ 198 w 348"/>
              <a:gd name="T61" fmla="*/ 369 h 414"/>
              <a:gd name="T62" fmla="*/ 287 w 348"/>
              <a:gd name="T63" fmla="*/ 314 h 414"/>
              <a:gd name="T64" fmla="*/ 302 w 348"/>
              <a:gd name="T65" fmla="*/ 376 h 414"/>
              <a:gd name="T66" fmla="*/ 233 w 348"/>
              <a:gd name="T67" fmla="*/ 384 h 414"/>
              <a:gd name="T68" fmla="*/ 287 w 348"/>
              <a:gd name="T69" fmla="*/ 369 h 414"/>
              <a:gd name="T70" fmla="*/ 108 w 348"/>
              <a:gd name="T71" fmla="*/ 227 h 414"/>
              <a:gd name="T72" fmla="*/ 123 w 348"/>
              <a:gd name="T73" fmla="*/ 289 h 414"/>
              <a:gd name="T74" fmla="*/ 53 w 348"/>
              <a:gd name="T75" fmla="*/ 297 h 414"/>
              <a:gd name="T76" fmla="*/ 108 w 348"/>
              <a:gd name="T77" fmla="*/ 282 h 414"/>
              <a:gd name="T78" fmla="*/ 198 w 348"/>
              <a:gd name="T79" fmla="*/ 227 h 414"/>
              <a:gd name="T80" fmla="*/ 212 w 348"/>
              <a:gd name="T81" fmla="*/ 289 h 414"/>
              <a:gd name="T82" fmla="*/ 143 w 348"/>
              <a:gd name="T83" fmla="*/ 297 h 414"/>
              <a:gd name="T84" fmla="*/ 198 w 348"/>
              <a:gd name="T85" fmla="*/ 282 h 414"/>
              <a:gd name="T86" fmla="*/ 287 w 348"/>
              <a:gd name="T87" fmla="*/ 227 h 414"/>
              <a:gd name="T88" fmla="*/ 302 w 348"/>
              <a:gd name="T89" fmla="*/ 289 h 414"/>
              <a:gd name="T90" fmla="*/ 233 w 348"/>
              <a:gd name="T91" fmla="*/ 297 h 414"/>
              <a:gd name="T92" fmla="*/ 287 w 348"/>
              <a:gd name="T93" fmla="*/ 282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8" h="414">
                <a:moveTo>
                  <a:pt x="340" y="0"/>
                </a:moveTo>
                <a:cubicBezTo>
                  <a:pt x="8" y="0"/>
                  <a:pt x="8" y="0"/>
                  <a:pt x="8" y="0"/>
                </a:cubicBezTo>
                <a:cubicBezTo>
                  <a:pt x="4" y="0"/>
                  <a:pt x="0" y="4"/>
                  <a:pt x="0" y="8"/>
                </a:cubicBezTo>
                <a:cubicBezTo>
                  <a:pt x="0" y="406"/>
                  <a:pt x="0" y="406"/>
                  <a:pt x="0" y="406"/>
                </a:cubicBezTo>
                <a:cubicBezTo>
                  <a:pt x="0" y="410"/>
                  <a:pt x="4" y="414"/>
                  <a:pt x="8" y="414"/>
                </a:cubicBezTo>
                <a:cubicBezTo>
                  <a:pt x="340" y="414"/>
                  <a:pt x="340" y="414"/>
                  <a:pt x="340" y="414"/>
                </a:cubicBezTo>
                <a:cubicBezTo>
                  <a:pt x="344" y="414"/>
                  <a:pt x="348" y="410"/>
                  <a:pt x="348" y="406"/>
                </a:cubicBezTo>
                <a:cubicBezTo>
                  <a:pt x="348" y="8"/>
                  <a:pt x="348" y="8"/>
                  <a:pt x="348" y="8"/>
                </a:cubicBezTo>
                <a:cubicBezTo>
                  <a:pt x="348" y="4"/>
                  <a:pt x="344" y="0"/>
                  <a:pt x="340" y="0"/>
                </a:cubicBezTo>
                <a:close/>
                <a:moveTo>
                  <a:pt x="333" y="399"/>
                </a:moveTo>
                <a:cubicBezTo>
                  <a:pt x="15" y="399"/>
                  <a:pt x="15" y="399"/>
                  <a:pt x="15" y="399"/>
                </a:cubicBezTo>
                <a:cubicBezTo>
                  <a:pt x="15" y="15"/>
                  <a:pt x="15" y="15"/>
                  <a:pt x="15" y="15"/>
                </a:cubicBezTo>
                <a:cubicBezTo>
                  <a:pt x="333" y="15"/>
                  <a:pt x="333" y="15"/>
                  <a:pt x="333" y="15"/>
                </a:cubicBezTo>
                <a:lnTo>
                  <a:pt x="333" y="399"/>
                </a:lnTo>
                <a:close/>
                <a:moveTo>
                  <a:pt x="33" y="104"/>
                </a:moveTo>
                <a:cubicBezTo>
                  <a:pt x="33" y="43"/>
                  <a:pt x="33" y="43"/>
                  <a:pt x="33" y="43"/>
                </a:cubicBezTo>
                <a:cubicBezTo>
                  <a:pt x="33" y="39"/>
                  <a:pt x="37" y="36"/>
                  <a:pt x="41" y="36"/>
                </a:cubicBezTo>
                <a:cubicBezTo>
                  <a:pt x="307" y="36"/>
                  <a:pt x="307" y="36"/>
                  <a:pt x="307" y="36"/>
                </a:cubicBezTo>
                <a:cubicBezTo>
                  <a:pt x="311" y="36"/>
                  <a:pt x="315" y="39"/>
                  <a:pt x="315" y="43"/>
                </a:cubicBezTo>
                <a:cubicBezTo>
                  <a:pt x="315" y="104"/>
                  <a:pt x="315" y="104"/>
                  <a:pt x="315" y="104"/>
                </a:cubicBezTo>
                <a:cubicBezTo>
                  <a:pt x="315" y="108"/>
                  <a:pt x="311" y="111"/>
                  <a:pt x="307" y="111"/>
                </a:cubicBezTo>
                <a:cubicBezTo>
                  <a:pt x="41" y="111"/>
                  <a:pt x="41" y="111"/>
                  <a:pt x="41" y="111"/>
                </a:cubicBezTo>
                <a:cubicBezTo>
                  <a:pt x="37" y="111"/>
                  <a:pt x="33" y="108"/>
                  <a:pt x="33" y="104"/>
                </a:cubicBezTo>
                <a:close/>
                <a:moveTo>
                  <a:pt x="108" y="141"/>
                </a:moveTo>
                <a:cubicBezTo>
                  <a:pt x="123" y="141"/>
                  <a:pt x="123" y="141"/>
                  <a:pt x="123" y="141"/>
                </a:cubicBezTo>
                <a:cubicBezTo>
                  <a:pt x="123" y="203"/>
                  <a:pt x="123" y="203"/>
                  <a:pt x="123" y="203"/>
                </a:cubicBezTo>
                <a:cubicBezTo>
                  <a:pt x="123" y="207"/>
                  <a:pt x="119" y="210"/>
                  <a:pt x="115" y="210"/>
                </a:cubicBezTo>
                <a:cubicBezTo>
                  <a:pt x="53" y="210"/>
                  <a:pt x="53" y="210"/>
                  <a:pt x="53" y="210"/>
                </a:cubicBezTo>
                <a:cubicBezTo>
                  <a:pt x="53" y="195"/>
                  <a:pt x="53" y="195"/>
                  <a:pt x="53" y="195"/>
                </a:cubicBezTo>
                <a:cubicBezTo>
                  <a:pt x="108" y="195"/>
                  <a:pt x="108" y="195"/>
                  <a:pt x="108" y="195"/>
                </a:cubicBezTo>
                <a:lnTo>
                  <a:pt x="108" y="141"/>
                </a:lnTo>
                <a:close/>
                <a:moveTo>
                  <a:pt x="198" y="141"/>
                </a:moveTo>
                <a:cubicBezTo>
                  <a:pt x="212" y="141"/>
                  <a:pt x="212" y="141"/>
                  <a:pt x="212" y="141"/>
                </a:cubicBezTo>
                <a:cubicBezTo>
                  <a:pt x="212" y="203"/>
                  <a:pt x="212" y="203"/>
                  <a:pt x="212" y="203"/>
                </a:cubicBezTo>
                <a:cubicBezTo>
                  <a:pt x="212" y="207"/>
                  <a:pt x="209" y="210"/>
                  <a:pt x="205" y="210"/>
                </a:cubicBezTo>
                <a:cubicBezTo>
                  <a:pt x="143" y="210"/>
                  <a:pt x="143" y="210"/>
                  <a:pt x="143" y="210"/>
                </a:cubicBezTo>
                <a:cubicBezTo>
                  <a:pt x="143" y="195"/>
                  <a:pt x="143" y="195"/>
                  <a:pt x="143" y="195"/>
                </a:cubicBezTo>
                <a:cubicBezTo>
                  <a:pt x="198" y="195"/>
                  <a:pt x="198" y="195"/>
                  <a:pt x="198" y="195"/>
                </a:cubicBezTo>
                <a:lnTo>
                  <a:pt x="198" y="141"/>
                </a:lnTo>
                <a:close/>
                <a:moveTo>
                  <a:pt x="287" y="141"/>
                </a:moveTo>
                <a:cubicBezTo>
                  <a:pt x="302" y="141"/>
                  <a:pt x="302" y="141"/>
                  <a:pt x="302" y="141"/>
                </a:cubicBezTo>
                <a:cubicBezTo>
                  <a:pt x="302" y="203"/>
                  <a:pt x="302" y="203"/>
                  <a:pt x="302" y="203"/>
                </a:cubicBezTo>
                <a:cubicBezTo>
                  <a:pt x="302" y="207"/>
                  <a:pt x="299" y="210"/>
                  <a:pt x="295" y="210"/>
                </a:cubicBezTo>
                <a:cubicBezTo>
                  <a:pt x="233" y="210"/>
                  <a:pt x="233" y="210"/>
                  <a:pt x="233" y="210"/>
                </a:cubicBezTo>
                <a:cubicBezTo>
                  <a:pt x="233" y="195"/>
                  <a:pt x="233" y="195"/>
                  <a:pt x="233" y="195"/>
                </a:cubicBezTo>
                <a:cubicBezTo>
                  <a:pt x="287" y="195"/>
                  <a:pt x="287" y="195"/>
                  <a:pt x="287" y="195"/>
                </a:cubicBezTo>
                <a:lnTo>
                  <a:pt x="287" y="141"/>
                </a:lnTo>
                <a:close/>
                <a:moveTo>
                  <a:pt x="108" y="314"/>
                </a:moveTo>
                <a:cubicBezTo>
                  <a:pt x="123" y="314"/>
                  <a:pt x="123" y="314"/>
                  <a:pt x="123" y="314"/>
                </a:cubicBezTo>
                <a:cubicBezTo>
                  <a:pt x="123" y="376"/>
                  <a:pt x="123" y="376"/>
                  <a:pt x="123" y="376"/>
                </a:cubicBezTo>
                <a:cubicBezTo>
                  <a:pt x="123" y="380"/>
                  <a:pt x="119" y="384"/>
                  <a:pt x="115" y="384"/>
                </a:cubicBezTo>
                <a:cubicBezTo>
                  <a:pt x="53" y="384"/>
                  <a:pt x="53" y="384"/>
                  <a:pt x="53" y="384"/>
                </a:cubicBezTo>
                <a:cubicBezTo>
                  <a:pt x="53" y="369"/>
                  <a:pt x="53" y="369"/>
                  <a:pt x="53" y="369"/>
                </a:cubicBezTo>
                <a:cubicBezTo>
                  <a:pt x="108" y="369"/>
                  <a:pt x="108" y="369"/>
                  <a:pt x="108" y="369"/>
                </a:cubicBezTo>
                <a:lnTo>
                  <a:pt x="108" y="314"/>
                </a:lnTo>
                <a:close/>
                <a:moveTo>
                  <a:pt x="198" y="314"/>
                </a:moveTo>
                <a:cubicBezTo>
                  <a:pt x="212" y="314"/>
                  <a:pt x="212" y="314"/>
                  <a:pt x="212" y="314"/>
                </a:cubicBezTo>
                <a:cubicBezTo>
                  <a:pt x="212" y="376"/>
                  <a:pt x="212" y="376"/>
                  <a:pt x="212" y="376"/>
                </a:cubicBezTo>
                <a:cubicBezTo>
                  <a:pt x="212" y="380"/>
                  <a:pt x="209" y="384"/>
                  <a:pt x="205" y="384"/>
                </a:cubicBezTo>
                <a:cubicBezTo>
                  <a:pt x="143" y="384"/>
                  <a:pt x="143" y="384"/>
                  <a:pt x="143" y="384"/>
                </a:cubicBezTo>
                <a:cubicBezTo>
                  <a:pt x="143" y="369"/>
                  <a:pt x="143" y="369"/>
                  <a:pt x="143" y="369"/>
                </a:cubicBezTo>
                <a:cubicBezTo>
                  <a:pt x="198" y="369"/>
                  <a:pt x="198" y="369"/>
                  <a:pt x="198" y="369"/>
                </a:cubicBezTo>
                <a:lnTo>
                  <a:pt x="198" y="314"/>
                </a:lnTo>
                <a:close/>
                <a:moveTo>
                  <a:pt x="287" y="314"/>
                </a:moveTo>
                <a:cubicBezTo>
                  <a:pt x="302" y="314"/>
                  <a:pt x="302" y="314"/>
                  <a:pt x="302" y="314"/>
                </a:cubicBezTo>
                <a:cubicBezTo>
                  <a:pt x="302" y="376"/>
                  <a:pt x="302" y="376"/>
                  <a:pt x="302" y="376"/>
                </a:cubicBezTo>
                <a:cubicBezTo>
                  <a:pt x="302" y="380"/>
                  <a:pt x="299" y="384"/>
                  <a:pt x="295" y="384"/>
                </a:cubicBezTo>
                <a:cubicBezTo>
                  <a:pt x="233" y="384"/>
                  <a:pt x="233" y="384"/>
                  <a:pt x="233" y="384"/>
                </a:cubicBezTo>
                <a:cubicBezTo>
                  <a:pt x="233" y="369"/>
                  <a:pt x="233" y="369"/>
                  <a:pt x="233" y="369"/>
                </a:cubicBezTo>
                <a:cubicBezTo>
                  <a:pt x="287" y="369"/>
                  <a:pt x="287" y="369"/>
                  <a:pt x="287" y="369"/>
                </a:cubicBezTo>
                <a:lnTo>
                  <a:pt x="287" y="314"/>
                </a:lnTo>
                <a:close/>
                <a:moveTo>
                  <a:pt x="108" y="227"/>
                </a:moveTo>
                <a:cubicBezTo>
                  <a:pt x="123" y="227"/>
                  <a:pt x="123" y="227"/>
                  <a:pt x="123" y="227"/>
                </a:cubicBezTo>
                <a:cubicBezTo>
                  <a:pt x="123" y="289"/>
                  <a:pt x="123" y="289"/>
                  <a:pt x="123" y="289"/>
                </a:cubicBezTo>
                <a:cubicBezTo>
                  <a:pt x="123" y="293"/>
                  <a:pt x="119" y="297"/>
                  <a:pt x="115" y="297"/>
                </a:cubicBezTo>
                <a:cubicBezTo>
                  <a:pt x="53" y="297"/>
                  <a:pt x="53" y="297"/>
                  <a:pt x="53" y="297"/>
                </a:cubicBezTo>
                <a:cubicBezTo>
                  <a:pt x="53" y="282"/>
                  <a:pt x="53" y="282"/>
                  <a:pt x="53" y="282"/>
                </a:cubicBezTo>
                <a:cubicBezTo>
                  <a:pt x="108" y="282"/>
                  <a:pt x="108" y="282"/>
                  <a:pt x="108" y="282"/>
                </a:cubicBezTo>
                <a:lnTo>
                  <a:pt x="108" y="227"/>
                </a:lnTo>
                <a:close/>
                <a:moveTo>
                  <a:pt x="198" y="227"/>
                </a:moveTo>
                <a:cubicBezTo>
                  <a:pt x="212" y="227"/>
                  <a:pt x="212" y="227"/>
                  <a:pt x="212" y="227"/>
                </a:cubicBezTo>
                <a:cubicBezTo>
                  <a:pt x="212" y="289"/>
                  <a:pt x="212" y="289"/>
                  <a:pt x="212" y="289"/>
                </a:cubicBezTo>
                <a:cubicBezTo>
                  <a:pt x="212" y="293"/>
                  <a:pt x="209" y="297"/>
                  <a:pt x="205" y="297"/>
                </a:cubicBezTo>
                <a:cubicBezTo>
                  <a:pt x="143" y="297"/>
                  <a:pt x="143" y="297"/>
                  <a:pt x="143" y="297"/>
                </a:cubicBezTo>
                <a:cubicBezTo>
                  <a:pt x="143" y="282"/>
                  <a:pt x="143" y="282"/>
                  <a:pt x="143" y="282"/>
                </a:cubicBezTo>
                <a:cubicBezTo>
                  <a:pt x="198" y="282"/>
                  <a:pt x="198" y="282"/>
                  <a:pt x="198" y="282"/>
                </a:cubicBezTo>
                <a:lnTo>
                  <a:pt x="198" y="227"/>
                </a:lnTo>
                <a:close/>
                <a:moveTo>
                  <a:pt x="287" y="227"/>
                </a:moveTo>
                <a:cubicBezTo>
                  <a:pt x="302" y="227"/>
                  <a:pt x="302" y="227"/>
                  <a:pt x="302" y="227"/>
                </a:cubicBezTo>
                <a:cubicBezTo>
                  <a:pt x="302" y="289"/>
                  <a:pt x="302" y="289"/>
                  <a:pt x="302" y="289"/>
                </a:cubicBezTo>
                <a:cubicBezTo>
                  <a:pt x="302" y="293"/>
                  <a:pt x="299" y="297"/>
                  <a:pt x="295" y="297"/>
                </a:cubicBezTo>
                <a:cubicBezTo>
                  <a:pt x="233" y="297"/>
                  <a:pt x="233" y="297"/>
                  <a:pt x="233" y="297"/>
                </a:cubicBezTo>
                <a:cubicBezTo>
                  <a:pt x="233" y="282"/>
                  <a:pt x="233" y="282"/>
                  <a:pt x="233" y="282"/>
                </a:cubicBezTo>
                <a:cubicBezTo>
                  <a:pt x="287" y="282"/>
                  <a:pt x="287" y="282"/>
                  <a:pt x="287" y="282"/>
                </a:cubicBezTo>
                <a:lnTo>
                  <a:pt x="287" y="227"/>
                </a:lnTo>
                <a:close/>
              </a:path>
            </a:pathLst>
          </a:custGeom>
          <a:solidFill>
            <a:schemeClr val="bg1"/>
          </a:solidFill>
          <a:ln>
            <a:noFill/>
          </a:ln>
        </p:spPr>
        <p:txBody>
          <a:bodyPr vert="horz" wrap="square" lIns="68571" tIns="34286" rIns="68571" bIns="34286" numCol="1" anchor="t" anchorCtr="0" compatLnSpc="1"/>
          <a:lstStyle/>
          <a:p>
            <a:endParaRPr lang="en-US"/>
          </a:p>
        </p:txBody>
      </p:sp>
      <p:sp>
        <p:nvSpPr>
          <p:cNvPr id="27" name="Freeform 80"/>
          <p:cNvSpPr>
            <a:spLocks noEditPoints="1"/>
          </p:cNvSpPr>
          <p:nvPr/>
        </p:nvSpPr>
        <p:spPr bwMode="auto">
          <a:xfrm>
            <a:off x="1558702" y="4072196"/>
            <a:ext cx="293174" cy="416743"/>
          </a:xfrm>
          <a:custGeom>
            <a:avLst/>
            <a:gdLst>
              <a:gd name="T0" fmla="*/ 273 w 280"/>
              <a:gd name="T1" fmla="*/ 0 h 413"/>
              <a:gd name="T2" fmla="*/ 7 w 280"/>
              <a:gd name="T3" fmla="*/ 0 h 413"/>
              <a:gd name="T4" fmla="*/ 0 w 280"/>
              <a:gd name="T5" fmla="*/ 7 h 413"/>
              <a:gd name="T6" fmla="*/ 0 w 280"/>
              <a:gd name="T7" fmla="*/ 406 h 413"/>
              <a:gd name="T8" fmla="*/ 7 w 280"/>
              <a:gd name="T9" fmla="*/ 413 h 413"/>
              <a:gd name="T10" fmla="*/ 273 w 280"/>
              <a:gd name="T11" fmla="*/ 413 h 413"/>
              <a:gd name="T12" fmla="*/ 280 w 280"/>
              <a:gd name="T13" fmla="*/ 406 h 413"/>
              <a:gd name="T14" fmla="*/ 280 w 280"/>
              <a:gd name="T15" fmla="*/ 7 h 413"/>
              <a:gd name="T16" fmla="*/ 273 w 280"/>
              <a:gd name="T17" fmla="*/ 0 h 413"/>
              <a:gd name="T18" fmla="*/ 266 w 280"/>
              <a:gd name="T19" fmla="*/ 398 h 413"/>
              <a:gd name="T20" fmla="*/ 14 w 280"/>
              <a:gd name="T21" fmla="*/ 398 h 413"/>
              <a:gd name="T22" fmla="*/ 14 w 280"/>
              <a:gd name="T23" fmla="*/ 14 h 413"/>
              <a:gd name="T24" fmla="*/ 266 w 280"/>
              <a:gd name="T25" fmla="*/ 14 h 413"/>
              <a:gd name="T26" fmla="*/ 266 w 280"/>
              <a:gd name="T27" fmla="*/ 398 h 413"/>
              <a:gd name="T28" fmla="*/ 108 w 280"/>
              <a:gd name="T29" fmla="*/ 81 h 413"/>
              <a:gd name="T30" fmla="*/ 174 w 280"/>
              <a:gd name="T31" fmla="*/ 81 h 413"/>
              <a:gd name="T32" fmla="*/ 198 w 280"/>
              <a:gd name="T33" fmla="*/ 57 h 413"/>
              <a:gd name="T34" fmla="*/ 174 w 280"/>
              <a:gd name="T35" fmla="*/ 33 h 413"/>
              <a:gd name="T36" fmla="*/ 108 w 280"/>
              <a:gd name="T37" fmla="*/ 33 h 413"/>
              <a:gd name="T38" fmla="*/ 84 w 280"/>
              <a:gd name="T39" fmla="*/ 57 h 413"/>
              <a:gd name="T40" fmla="*/ 108 w 280"/>
              <a:gd name="T41" fmla="*/ 81 h 413"/>
              <a:gd name="T42" fmla="*/ 108 w 280"/>
              <a:gd name="T43" fmla="*/ 48 h 413"/>
              <a:gd name="T44" fmla="*/ 174 w 280"/>
              <a:gd name="T45" fmla="*/ 48 h 413"/>
              <a:gd name="T46" fmla="*/ 184 w 280"/>
              <a:gd name="T47" fmla="*/ 57 h 413"/>
              <a:gd name="T48" fmla="*/ 174 w 280"/>
              <a:gd name="T49" fmla="*/ 66 h 413"/>
              <a:gd name="T50" fmla="*/ 108 w 280"/>
              <a:gd name="T51" fmla="*/ 66 h 413"/>
              <a:gd name="T52" fmla="*/ 99 w 280"/>
              <a:gd name="T53" fmla="*/ 57 h 413"/>
              <a:gd name="T54" fmla="*/ 108 w 280"/>
              <a:gd name="T55" fmla="*/ 48 h 413"/>
              <a:gd name="T56" fmla="*/ 140 w 280"/>
              <a:gd name="T57" fmla="*/ 207 h 413"/>
              <a:gd name="T58" fmla="*/ 73 w 280"/>
              <a:gd name="T59" fmla="*/ 207 h 413"/>
              <a:gd name="T60" fmla="*/ 73 w 280"/>
              <a:gd name="T61" fmla="*/ 140 h 413"/>
              <a:gd name="T62" fmla="*/ 140 w 280"/>
              <a:gd name="T63" fmla="*/ 140 h 413"/>
              <a:gd name="T64" fmla="*/ 140 w 280"/>
              <a:gd name="T65" fmla="*/ 207 h 413"/>
              <a:gd name="T66" fmla="*/ 206 w 280"/>
              <a:gd name="T67" fmla="*/ 280 h 413"/>
              <a:gd name="T68" fmla="*/ 74 w 280"/>
              <a:gd name="T69" fmla="*/ 280 h 413"/>
              <a:gd name="T70" fmla="*/ 74 w 280"/>
              <a:gd name="T71" fmla="*/ 266 h 413"/>
              <a:gd name="T72" fmla="*/ 206 w 280"/>
              <a:gd name="T73" fmla="*/ 266 h 413"/>
              <a:gd name="T74" fmla="*/ 206 w 280"/>
              <a:gd name="T75" fmla="*/ 280 h 413"/>
              <a:gd name="T76" fmla="*/ 75 w 280"/>
              <a:gd name="T77" fmla="*/ 232 h 413"/>
              <a:gd name="T78" fmla="*/ 207 w 280"/>
              <a:gd name="T79" fmla="*/ 232 h 413"/>
              <a:gd name="T80" fmla="*/ 207 w 280"/>
              <a:gd name="T81" fmla="*/ 247 h 413"/>
              <a:gd name="T82" fmla="*/ 75 w 280"/>
              <a:gd name="T83" fmla="*/ 247 h 413"/>
              <a:gd name="T84" fmla="*/ 75 w 280"/>
              <a:gd name="T85" fmla="*/ 232 h 413"/>
              <a:gd name="T86" fmla="*/ 74 w 280"/>
              <a:gd name="T87" fmla="*/ 313 h 413"/>
              <a:gd name="T88" fmla="*/ 74 w 280"/>
              <a:gd name="T89" fmla="*/ 299 h 413"/>
              <a:gd name="T90" fmla="*/ 206 w 280"/>
              <a:gd name="T91" fmla="*/ 299 h 413"/>
              <a:gd name="T92" fmla="*/ 206 w 280"/>
              <a:gd name="T93" fmla="*/ 313 h 413"/>
              <a:gd name="T94" fmla="*/ 74 w 280"/>
              <a:gd name="T95" fmla="*/ 313 h 413"/>
              <a:gd name="T96" fmla="*/ 206 w 280"/>
              <a:gd name="T97" fmla="*/ 347 h 413"/>
              <a:gd name="T98" fmla="*/ 73 w 280"/>
              <a:gd name="T99" fmla="*/ 347 h 413"/>
              <a:gd name="T100" fmla="*/ 73 w 280"/>
              <a:gd name="T101" fmla="*/ 332 h 413"/>
              <a:gd name="T102" fmla="*/ 206 w 280"/>
              <a:gd name="T103" fmla="*/ 332 h 413"/>
              <a:gd name="T104" fmla="*/ 206 w 280"/>
              <a:gd name="T105" fmla="*/ 347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80" h="413">
                <a:moveTo>
                  <a:pt x="273" y="0"/>
                </a:moveTo>
                <a:cubicBezTo>
                  <a:pt x="7" y="0"/>
                  <a:pt x="7" y="0"/>
                  <a:pt x="7" y="0"/>
                </a:cubicBezTo>
                <a:cubicBezTo>
                  <a:pt x="3" y="0"/>
                  <a:pt x="0" y="3"/>
                  <a:pt x="0" y="7"/>
                </a:cubicBezTo>
                <a:cubicBezTo>
                  <a:pt x="0" y="406"/>
                  <a:pt x="0" y="406"/>
                  <a:pt x="0" y="406"/>
                </a:cubicBezTo>
                <a:cubicBezTo>
                  <a:pt x="0" y="410"/>
                  <a:pt x="3" y="413"/>
                  <a:pt x="7" y="413"/>
                </a:cubicBezTo>
                <a:cubicBezTo>
                  <a:pt x="273" y="413"/>
                  <a:pt x="273" y="413"/>
                  <a:pt x="273" y="413"/>
                </a:cubicBezTo>
                <a:cubicBezTo>
                  <a:pt x="277" y="413"/>
                  <a:pt x="280" y="410"/>
                  <a:pt x="280" y="406"/>
                </a:cubicBezTo>
                <a:cubicBezTo>
                  <a:pt x="280" y="7"/>
                  <a:pt x="280" y="7"/>
                  <a:pt x="280" y="7"/>
                </a:cubicBezTo>
                <a:cubicBezTo>
                  <a:pt x="280" y="3"/>
                  <a:pt x="277" y="0"/>
                  <a:pt x="273" y="0"/>
                </a:cubicBezTo>
                <a:close/>
                <a:moveTo>
                  <a:pt x="266" y="398"/>
                </a:moveTo>
                <a:cubicBezTo>
                  <a:pt x="14" y="398"/>
                  <a:pt x="14" y="398"/>
                  <a:pt x="14" y="398"/>
                </a:cubicBezTo>
                <a:cubicBezTo>
                  <a:pt x="14" y="14"/>
                  <a:pt x="14" y="14"/>
                  <a:pt x="14" y="14"/>
                </a:cubicBezTo>
                <a:cubicBezTo>
                  <a:pt x="266" y="14"/>
                  <a:pt x="266" y="14"/>
                  <a:pt x="266" y="14"/>
                </a:cubicBezTo>
                <a:lnTo>
                  <a:pt x="266" y="398"/>
                </a:lnTo>
                <a:close/>
                <a:moveTo>
                  <a:pt x="108" y="81"/>
                </a:moveTo>
                <a:cubicBezTo>
                  <a:pt x="174" y="81"/>
                  <a:pt x="174" y="81"/>
                  <a:pt x="174" y="81"/>
                </a:cubicBezTo>
                <a:cubicBezTo>
                  <a:pt x="187" y="81"/>
                  <a:pt x="198" y="70"/>
                  <a:pt x="198" y="57"/>
                </a:cubicBezTo>
                <a:cubicBezTo>
                  <a:pt x="198" y="44"/>
                  <a:pt x="187" y="33"/>
                  <a:pt x="174" y="33"/>
                </a:cubicBezTo>
                <a:cubicBezTo>
                  <a:pt x="108" y="33"/>
                  <a:pt x="108" y="33"/>
                  <a:pt x="108" y="33"/>
                </a:cubicBezTo>
                <a:cubicBezTo>
                  <a:pt x="95" y="33"/>
                  <a:pt x="84" y="44"/>
                  <a:pt x="84" y="57"/>
                </a:cubicBezTo>
                <a:cubicBezTo>
                  <a:pt x="84" y="70"/>
                  <a:pt x="95" y="81"/>
                  <a:pt x="108" y="81"/>
                </a:cubicBezTo>
                <a:close/>
                <a:moveTo>
                  <a:pt x="108" y="48"/>
                </a:moveTo>
                <a:cubicBezTo>
                  <a:pt x="174" y="48"/>
                  <a:pt x="174" y="48"/>
                  <a:pt x="174" y="48"/>
                </a:cubicBezTo>
                <a:cubicBezTo>
                  <a:pt x="179" y="48"/>
                  <a:pt x="184" y="52"/>
                  <a:pt x="184" y="57"/>
                </a:cubicBezTo>
                <a:cubicBezTo>
                  <a:pt x="184" y="62"/>
                  <a:pt x="179" y="66"/>
                  <a:pt x="174" y="66"/>
                </a:cubicBezTo>
                <a:cubicBezTo>
                  <a:pt x="108" y="66"/>
                  <a:pt x="108" y="66"/>
                  <a:pt x="108" y="66"/>
                </a:cubicBezTo>
                <a:cubicBezTo>
                  <a:pt x="103" y="66"/>
                  <a:pt x="99" y="62"/>
                  <a:pt x="99" y="57"/>
                </a:cubicBezTo>
                <a:cubicBezTo>
                  <a:pt x="99" y="52"/>
                  <a:pt x="103" y="48"/>
                  <a:pt x="108" y="48"/>
                </a:cubicBezTo>
                <a:close/>
                <a:moveTo>
                  <a:pt x="140" y="207"/>
                </a:moveTo>
                <a:cubicBezTo>
                  <a:pt x="73" y="207"/>
                  <a:pt x="73" y="207"/>
                  <a:pt x="73" y="207"/>
                </a:cubicBezTo>
                <a:cubicBezTo>
                  <a:pt x="73" y="140"/>
                  <a:pt x="73" y="140"/>
                  <a:pt x="73" y="140"/>
                </a:cubicBezTo>
                <a:cubicBezTo>
                  <a:pt x="140" y="140"/>
                  <a:pt x="140" y="140"/>
                  <a:pt x="140" y="140"/>
                </a:cubicBezTo>
                <a:lnTo>
                  <a:pt x="140" y="207"/>
                </a:lnTo>
                <a:close/>
                <a:moveTo>
                  <a:pt x="206" y="280"/>
                </a:moveTo>
                <a:cubicBezTo>
                  <a:pt x="74" y="280"/>
                  <a:pt x="74" y="280"/>
                  <a:pt x="74" y="280"/>
                </a:cubicBezTo>
                <a:cubicBezTo>
                  <a:pt x="74" y="266"/>
                  <a:pt x="74" y="266"/>
                  <a:pt x="74" y="266"/>
                </a:cubicBezTo>
                <a:cubicBezTo>
                  <a:pt x="206" y="266"/>
                  <a:pt x="206" y="266"/>
                  <a:pt x="206" y="266"/>
                </a:cubicBezTo>
                <a:lnTo>
                  <a:pt x="206" y="280"/>
                </a:lnTo>
                <a:close/>
                <a:moveTo>
                  <a:pt x="75" y="232"/>
                </a:moveTo>
                <a:cubicBezTo>
                  <a:pt x="207" y="232"/>
                  <a:pt x="207" y="232"/>
                  <a:pt x="207" y="232"/>
                </a:cubicBezTo>
                <a:cubicBezTo>
                  <a:pt x="207" y="247"/>
                  <a:pt x="207" y="247"/>
                  <a:pt x="207" y="247"/>
                </a:cubicBezTo>
                <a:cubicBezTo>
                  <a:pt x="75" y="247"/>
                  <a:pt x="75" y="247"/>
                  <a:pt x="75" y="247"/>
                </a:cubicBezTo>
                <a:lnTo>
                  <a:pt x="75" y="232"/>
                </a:lnTo>
                <a:close/>
                <a:moveTo>
                  <a:pt x="74" y="313"/>
                </a:moveTo>
                <a:cubicBezTo>
                  <a:pt x="74" y="299"/>
                  <a:pt x="74" y="299"/>
                  <a:pt x="74" y="299"/>
                </a:cubicBezTo>
                <a:cubicBezTo>
                  <a:pt x="206" y="299"/>
                  <a:pt x="206" y="299"/>
                  <a:pt x="206" y="299"/>
                </a:cubicBezTo>
                <a:cubicBezTo>
                  <a:pt x="206" y="313"/>
                  <a:pt x="206" y="313"/>
                  <a:pt x="206" y="313"/>
                </a:cubicBezTo>
                <a:lnTo>
                  <a:pt x="74" y="313"/>
                </a:lnTo>
                <a:close/>
                <a:moveTo>
                  <a:pt x="206" y="347"/>
                </a:moveTo>
                <a:cubicBezTo>
                  <a:pt x="73" y="347"/>
                  <a:pt x="73" y="347"/>
                  <a:pt x="73" y="347"/>
                </a:cubicBezTo>
                <a:cubicBezTo>
                  <a:pt x="73" y="332"/>
                  <a:pt x="73" y="332"/>
                  <a:pt x="73" y="332"/>
                </a:cubicBezTo>
                <a:cubicBezTo>
                  <a:pt x="206" y="332"/>
                  <a:pt x="206" y="332"/>
                  <a:pt x="206" y="332"/>
                </a:cubicBezTo>
                <a:lnTo>
                  <a:pt x="206" y="347"/>
                </a:lnTo>
                <a:close/>
              </a:path>
            </a:pathLst>
          </a:custGeom>
          <a:solidFill>
            <a:schemeClr val="bg1"/>
          </a:solidFill>
          <a:ln>
            <a:noFill/>
          </a:ln>
        </p:spPr>
        <p:txBody>
          <a:bodyPr vert="horz" wrap="square" lIns="68571" tIns="34286" rIns="68571" bIns="34286" numCol="1" anchor="t" anchorCtr="0" compatLnSpc="1"/>
          <a:lstStyle/>
          <a:p>
            <a:endParaRPr lang="en-US"/>
          </a:p>
        </p:txBody>
      </p:sp>
      <p:sp>
        <p:nvSpPr>
          <p:cNvPr id="28" name="TextBox 27"/>
          <p:cNvSpPr txBox="1"/>
          <p:nvPr/>
        </p:nvSpPr>
        <p:spPr>
          <a:xfrm>
            <a:off x="1846734" y="1844824"/>
            <a:ext cx="1951812" cy="400110"/>
          </a:xfrm>
          <a:prstGeom prst="rect">
            <a:avLst/>
          </a:prstGeom>
          <a:noFill/>
        </p:spPr>
        <p:txBody>
          <a:bodyPr wrap="square" rtlCol="0">
            <a:spAutoFit/>
          </a:bodyPr>
          <a:lstStyle/>
          <a:p>
            <a:r>
              <a:rPr lang="zh-CN" altLang="en-US" sz="2000" dirty="0" smtClean="0">
                <a:solidFill>
                  <a:schemeClr val="bg1"/>
                </a:solidFill>
                <a:latin typeface="华文黑体" pitchFamily="2" charset="-122"/>
                <a:ea typeface="华文黑体" pitchFamily="2" charset="-122"/>
                <a:cs typeface="华文黑体" pitchFamily="2" charset="-122"/>
              </a:rPr>
              <a:t>单击添加标题</a:t>
            </a:r>
            <a:endParaRPr lang="zh-CN" altLang="en-US" sz="2000" dirty="0">
              <a:solidFill>
                <a:schemeClr val="bg1"/>
              </a:solidFill>
              <a:latin typeface="华文细黑" panose="02010600040101010101" pitchFamily="2" charset="-122"/>
              <a:ea typeface="华文细黑" panose="02010600040101010101" pitchFamily="2" charset="-122"/>
              <a:cs typeface="华文黑体" pitchFamily="2" charset="-122"/>
            </a:endParaRPr>
          </a:p>
        </p:txBody>
      </p:sp>
      <p:sp>
        <p:nvSpPr>
          <p:cNvPr id="29" name="TextBox 28"/>
          <p:cNvSpPr txBox="1"/>
          <p:nvPr/>
        </p:nvSpPr>
        <p:spPr>
          <a:xfrm>
            <a:off x="1486694" y="2328788"/>
            <a:ext cx="4176464" cy="523220"/>
          </a:xfrm>
          <a:prstGeom prst="rect">
            <a:avLst/>
          </a:prstGeom>
          <a:noFill/>
        </p:spPr>
        <p:txBody>
          <a:bodyPr wrap="square" rtlCol="0">
            <a:spAutoFit/>
          </a:bodyPr>
          <a:lstStyle/>
          <a:p>
            <a:r>
              <a:rPr lang="zh-CN" altLang="en-US" sz="1400" dirty="0" smtClean="0">
                <a:solidFill>
                  <a:schemeClr val="bg1"/>
                </a:solidFill>
                <a:latin typeface="华文细黑" panose="02010600040101010101" pitchFamily="2" charset="-122"/>
                <a:ea typeface="华文细黑" panose="02010600040101010101" pitchFamily="2" charset="-122"/>
                <a:cs typeface="华文黑体" pitchFamily="2" charset="-122"/>
              </a:rPr>
              <a:t>单击添加文本单击添加文本单击添加文本单击添加文本单击</a:t>
            </a:r>
            <a:r>
              <a:rPr lang="zh-CN" altLang="en-US" sz="1400" dirty="0">
                <a:solidFill>
                  <a:schemeClr val="bg1"/>
                </a:solidFill>
                <a:latin typeface="华文细黑" panose="02010600040101010101" pitchFamily="2" charset="-122"/>
                <a:ea typeface="华文细黑" panose="02010600040101010101" pitchFamily="2" charset="-122"/>
                <a:cs typeface="华文黑体" pitchFamily="2" charset="-122"/>
              </a:rPr>
              <a:t>添加</a:t>
            </a:r>
            <a:r>
              <a:rPr lang="zh-CN" altLang="en-US" sz="1400" dirty="0" smtClean="0">
                <a:solidFill>
                  <a:schemeClr val="bg1"/>
                </a:solidFill>
                <a:latin typeface="华文细黑" panose="02010600040101010101" pitchFamily="2" charset="-122"/>
                <a:ea typeface="华文细黑" panose="02010600040101010101" pitchFamily="2" charset="-122"/>
                <a:cs typeface="华文黑体" pitchFamily="2" charset="-122"/>
              </a:rPr>
              <a:t>文本单击添加</a:t>
            </a:r>
            <a:r>
              <a:rPr lang="zh-CN" altLang="en-US" sz="1400" dirty="0">
                <a:solidFill>
                  <a:schemeClr val="bg1"/>
                </a:solidFill>
                <a:latin typeface="华文细黑" panose="02010600040101010101" pitchFamily="2" charset="-122"/>
                <a:ea typeface="华文细黑" panose="02010600040101010101" pitchFamily="2" charset="-122"/>
                <a:cs typeface="华文黑体" pitchFamily="2" charset="-122"/>
              </a:rPr>
              <a:t>文本单击添加</a:t>
            </a:r>
            <a:r>
              <a:rPr lang="zh-CN" altLang="en-US" sz="1400" dirty="0" smtClean="0">
                <a:solidFill>
                  <a:schemeClr val="bg1"/>
                </a:solidFill>
                <a:latin typeface="华文细黑" panose="02010600040101010101" pitchFamily="2" charset="-122"/>
                <a:ea typeface="华文细黑" panose="02010600040101010101" pitchFamily="2" charset="-122"/>
                <a:cs typeface="华文黑体" pitchFamily="2" charset="-122"/>
              </a:rPr>
              <a:t>文本</a:t>
            </a:r>
            <a:endParaRPr lang="zh-CN" altLang="en-US" sz="1400" dirty="0">
              <a:solidFill>
                <a:schemeClr val="bg1"/>
              </a:solidFill>
              <a:latin typeface="华文细黑" panose="02010600040101010101" pitchFamily="2" charset="-122"/>
              <a:ea typeface="华文细黑" panose="02010600040101010101" pitchFamily="2" charset="-122"/>
              <a:cs typeface="华文黑体" pitchFamily="2" charset="-122"/>
            </a:endParaRPr>
          </a:p>
        </p:txBody>
      </p:sp>
      <p:sp>
        <p:nvSpPr>
          <p:cNvPr id="30" name="TextBox 29"/>
          <p:cNvSpPr txBox="1"/>
          <p:nvPr/>
        </p:nvSpPr>
        <p:spPr>
          <a:xfrm>
            <a:off x="1846734" y="4078580"/>
            <a:ext cx="1951812" cy="400110"/>
          </a:xfrm>
          <a:prstGeom prst="rect">
            <a:avLst/>
          </a:prstGeom>
          <a:noFill/>
        </p:spPr>
        <p:txBody>
          <a:bodyPr wrap="square" rtlCol="0">
            <a:spAutoFit/>
          </a:bodyPr>
          <a:lstStyle/>
          <a:p>
            <a:r>
              <a:rPr lang="zh-CN" altLang="en-US" sz="2000" smtClean="0">
                <a:solidFill>
                  <a:schemeClr val="bg1"/>
                </a:solidFill>
                <a:latin typeface="华文黑体" pitchFamily="2" charset="-122"/>
                <a:ea typeface="华文黑体" pitchFamily="2" charset="-122"/>
                <a:cs typeface="华文黑体" pitchFamily="2" charset="-122"/>
              </a:rPr>
              <a:t>单击添加标题</a:t>
            </a:r>
            <a:endParaRPr lang="zh-CN" altLang="en-US" sz="2000">
              <a:solidFill>
                <a:schemeClr val="bg1"/>
              </a:solidFill>
              <a:latin typeface="华文细黑" panose="02010600040101010101" pitchFamily="2" charset="-122"/>
              <a:ea typeface="华文细黑" panose="02010600040101010101" pitchFamily="2" charset="-122"/>
              <a:cs typeface="华文黑体" pitchFamily="2" charset="-122"/>
            </a:endParaRPr>
          </a:p>
        </p:txBody>
      </p:sp>
      <p:sp>
        <p:nvSpPr>
          <p:cNvPr id="31" name="TextBox 30"/>
          <p:cNvSpPr txBox="1"/>
          <p:nvPr/>
        </p:nvSpPr>
        <p:spPr>
          <a:xfrm>
            <a:off x="1486694" y="4562544"/>
            <a:ext cx="4176464" cy="523220"/>
          </a:xfrm>
          <a:prstGeom prst="rect">
            <a:avLst/>
          </a:prstGeom>
          <a:noFill/>
        </p:spPr>
        <p:txBody>
          <a:bodyPr wrap="square" rtlCol="0">
            <a:spAutoFit/>
          </a:bodyPr>
          <a:lstStyle/>
          <a:p>
            <a:r>
              <a:rPr lang="zh-CN" altLang="en-US" sz="1400" dirty="0" smtClean="0">
                <a:solidFill>
                  <a:schemeClr val="bg1"/>
                </a:solidFill>
                <a:latin typeface="华文细黑" panose="02010600040101010101" pitchFamily="2" charset="-122"/>
                <a:ea typeface="华文细黑" panose="02010600040101010101" pitchFamily="2" charset="-122"/>
                <a:cs typeface="华文黑体" pitchFamily="2" charset="-122"/>
              </a:rPr>
              <a:t>单击添加文本单击添加文本单击添加文本单击添加文本单击</a:t>
            </a:r>
            <a:r>
              <a:rPr lang="zh-CN" altLang="en-US" sz="1400" dirty="0">
                <a:solidFill>
                  <a:schemeClr val="bg1"/>
                </a:solidFill>
                <a:latin typeface="华文细黑" panose="02010600040101010101" pitchFamily="2" charset="-122"/>
                <a:ea typeface="华文细黑" panose="02010600040101010101" pitchFamily="2" charset="-122"/>
                <a:cs typeface="华文黑体" pitchFamily="2" charset="-122"/>
              </a:rPr>
              <a:t>添加</a:t>
            </a:r>
            <a:r>
              <a:rPr lang="zh-CN" altLang="en-US" sz="1400" dirty="0" smtClean="0">
                <a:solidFill>
                  <a:schemeClr val="bg1"/>
                </a:solidFill>
                <a:latin typeface="华文细黑" panose="02010600040101010101" pitchFamily="2" charset="-122"/>
                <a:ea typeface="华文细黑" panose="02010600040101010101" pitchFamily="2" charset="-122"/>
                <a:cs typeface="华文黑体" pitchFamily="2" charset="-122"/>
              </a:rPr>
              <a:t>文本单击添加</a:t>
            </a:r>
            <a:r>
              <a:rPr lang="zh-CN" altLang="en-US" sz="1400" dirty="0">
                <a:solidFill>
                  <a:schemeClr val="bg1"/>
                </a:solidFill>
                <a:latin typeface="华文细黑" panose="02010600040101010101" pitchFamily="2" charset="-122"/>
                <a:ea typeface="华文细黑" panose="02010600040101010101" pitchFamily="2" charset="-122"/>
                <a:cs typeface="华文黑体" pitchFamily="2" charset="-122"/>
              </a:rPr>
              <a:t>文本单击添加</a:t>
            </a:r>
            <a:r>
              <a:rPr lang="zh-CN" altLang="en-US" sz="1400" dirty="0" smtClean="0">
                <a:solidFill>
                  <a:schemeClr val="bg1"/>
                </a:solidFill>
                <a:latin typeface="华文细黑" panose="02010600040101010101" pitchFamily="2" charset="-122"/>
                <a:ea typeface="华文细黑" panose="02010600040101010101" pitchFamily="2" charset="-122"/>
                <a:cs typeface="华文黑体" pitchFamily="2" charset="-122"/>
              </a:rPr>
              <a:t>文本</a:t>
            </a:r>
            <a:endParaRPr lang="zh-CN" altLang="en-US" sz="1400" dirty="0">
              <a:solidFill>
                <a:schemeClr val="bg1"/>
              </a:solidFill>
              <a:latin typeface="华文细黑" panose="02010600040101010101" pitchFamily="2" charset="-122"/>
              <a:ea typeface="华文细黑" panose="02010600040101010101" pitchFamily="2" charset="-122"/>
              <a:cs typeface="华文黑体" pitchFamily="2" charset="-122"/>
            </a:endParaRPr>
          </a:p>
        </p:txBody>
      </p:sp>
      <p:grpSp>
        <p:nvGrpSpPr>
          <p:cNvPr id="43" name="组合 42"/>
          <p:cNvGrpSpPr/>
          <p:nvPr/>
        </p:nvGrpSpPr>
        <p:grpSpPr>
          <a:xfrm>
            <a:off x="1558702" y="1628800"/>
            <a:ext cx="8244916" cy="720080"/>
            <a:chOff x="1558702" y="1628800"/>
            <a:chExt cx="8244916" cy="720080"/>
          </a:xfrm>
        </p:grpSpPr>
        <p:cxnSp>
          <p:nvCxnSpPr>
            <p:cNvPr id="7" name="直接连接符 6"/>
            <p:cNvCxnSpPr/>
            <p:nvPr/>
          </p:nvCxnSpPr>
          <p:spPr>
            <a:xfrm>
              <a:off x="1558702" y="1628800"/>
              <a:ext cx="8172908" cy="648072"/>
            </a:xfrm>
            <a:prstGeom prst="bentConnector3">
              <a:avLst>
                <a:gd name="adj1" fmla="val 99935"/>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sp>
          <p:nvSpPr>
            <p:cNvPr id="39" name="椭圆 38"/>
            <p:cNvSpPr/>
            <p:nvPr/>
          </p:nvSpPr>
          <p:spPr>
            <a:xfrm>
              <a:off x="9659602" y="2204864"/>
              <a:ext cx="144016" cy="14401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42" name="组合 41"/>
          <p:cNvGrpSpPr/>
          <p:nvPr/>
        </p:nvGrpSpPr>
        <p:grpSpPr>
          <a:xfrm flipV="1">
            <a:off x="1558702" y="4797152"/>
            <a:ext cx="8244916" cy="720080"/>
            <a:chOff x="1558702" y="5301208"/>
            <a:chExt cx="8244916" cy="720080"/>
          </a:xfrm>
        </p:grpSpPr>
        <p:cxnSp>
          <p:nvCxnSpPr>
            <p:cNvPr id="40" name="直接连接符 6"/>
            <p:cNvCxnSpPr/>
            <p:nvPr/>
          </p:nvCxnSpPr>
          <p:spPr>
            <a:xfrm>
              <a:off x="1558702" y="5301208"/>
              <a:ext cx="8172908" cy="648072"/>
            </a:xfrm>
            <a:prstGeom prst="bentConnector3">
              <a:avLst>
                <a:gd name="adj1" fmla="val 99935"/>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sp>
          <p:nvSpPr>
            <p:cNvPr id="41" name="椭圆 40"/>
            <p:cNvSpPr/>
            <p:nvPr/>
          </p:nvSpPr>
          <p:spPr>
            <a:xfrm>
              <a:off x="9659602" y="5877272"/>
              <a:ext cx="144016" cy="14401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32" name="圆角矩形 31"/>
          <p:cNvSpPr/>
          <p:nvPr/>
        </p:nvSpPr>
        <p:spPr>
          <a:xfrm>
            <a:off x="8894702" y="260648"/>
            <a:ext cx="2673112" cy="600163"/>
          </a:xfrm>
          <a:prstGeom prst="roundRect">
            <a:avLst/>
          </a:prstGeom>
          <a:solidFill>
            <a:srgbClr val="FFFFFF"/>
          </a:solidFill>
          <a:ln>
            <a:noFill/>
          </a:ln>
          <a:effectLst>
            <a:reflection blurRad="6350" stA="25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3" name="TextBox 32"/>
          <p:cNvSpPr txBox="1"/>
          <p:nvPr/>
        </p:nvSpPr>
        <p:spPr>
          <a:xfrm>
            <a:off x="9061707" y="260648"/>
            <a:ext cx="2339102" cy="523220"/>
          </a:xfrm>
          <a:prstGeom prst="rect">
            <a:avLst/>
          </a:prstGeom>
          <a:noFill/>
        </p:spPr>
        <p:txBody>
          <a:bodyPr wrap="none" rtlCol="0" anchor="ctr">
            <a:spAutoFit/>
          </a:bodyPr>
          <a:lstStyle>
            <a:defPPr>
              <a:defRPr lang="zh-CN"/>
            </a:defPPr>
            <a:lvl1pPr algn="ctr">
              <a:defRPr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anose="02010600040101010101" pitchFamily="2" charset="-122"/>
                <a:cs typeface="华文黑体" pitchFamily="2" charset="-122"/>
              </a:defRPr>
            </a:lvl1pPr>
          </a:lstStyle>
          <a:p>
            <a:r>
              <a:rPr lang="zh-CN" altLang="en-US" sz="2800" dirty="0"/>
              <a:t>点击添加标题</a:t>
            </a:r>
            <a:endParaRPr lang="zh-CN" altLang="en-US" sz="2800" dirty="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2"/>
                                        </p:tgtEl>
                                        <p:attrNameLst>
                                          <p:attrName>style.visibility</p:attrName>
                                        </p:attrNameLst>
                                      </p:cBhvr>
                                      <p:to>
                                        <p:strVal val="visible"/>
                                      </p:to>
                                    </p:set>
                                    <p:animEffect transition="in" filter="fade">
                                      <p:cBhvr>
                                        <p:cTn id="7" dur="300"/>
                                        <p:tgtEl>
                                          <p:spTgt spid="32"/>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3"/>
                                        </p:tgtEl>
                                        <p:attrNameLst>
                                          <p:attrName>style.visibility</p:attrName>
                                        </p:attrNameLst>
                                      </p:cBhvr>
                                      <p:to>
                                        <p:strVal val="visible"/>
                                      </p:to>
                                    </p:set>
                                    <p:animEffect transition="in" filter="fade">
                                      <p:cBhvr>
                                        <p:cTn id="10" dur="300"/>
                                        <p:tgtEl>
                                          <p:spTgt spid="33"/>
                                        </p:tgtEl>
                                      </p:cBhvr>
                                    </p:animEffect>
                                  </p:childTnLst>
                                </p:cTn>
                              </p:par>
                            </p:childTnLst>
                          </p:cTn>
                        </p:par>
                        <p:par>
                          <p:cTn id="11" fill="hold">
                            <p:stCondLst>
                              <p:cond delay="500"/>
                            </p:stCondLst>
                            <p:childTnLst>
                              <p:par>
                                <p:cTn id="12" presetID="53" presetClass="entr" presetSubtype="16" fill="hold" nodeType="afterEffect">
                                  <p:stCondLst>
                                    <p:cond delay="0"/>
                                  </p:stCondLst>
                                  <p:childTnLst>
                                    <p:set>
                                      <p:cBhvr>
                                        <p:cTn id="13" dur="1" fill="hold">
                                          <p:stCondLst>
                                            <p:cond delay="0"/>
                                          </p:stCondLst>
                                        </p:cTn>
                                        <p:tgtEl>
                                          <p:spTgt spid="44"/>
                                        </p:tgtEl>
                                        <p:attrNameLst>
                                          <p:attrName>style.visibility</p:attrName>
                                        </p:attrNameLst>
                                      </p:cBhvr>
                                      <p:to>
                                        <p:strVal val="visible"/>
                                      </p:to>
                                    </p:set>
                                    <p:anim calcmode="lin" valueType="num">
                                      <p:cBhvr>
                                        <p:cTn id="14" dur="500" fill="hold"/>
                                        <p:tgtEl>
                                          <p:spTgt spid="44"/>
                                        </p:tgtEl>
                                        <p:attrNameLst>
                                          <p:attrName>ppt_w</p:attrName>
                                        </p:attrNameLst>
                                      </p:cBhvr>
                                      <p:tavLst>
                                        <p:tav tm="0">
                                          <p:val>
                                            <p:fltVal val="0"/>
                                          </p:val>
                                        </p:tav>
                                        <p:tav tm="100000">
                                          <p:val>
                                            <p:strVal val="#ppt_w"/>
                                          </p:val>
                                        </p:tav>
                                      </p:tavLst>
                                    </p:anim>
                                    <p:anim calcmode="lin" valueType="num">
                                      <p:cBhvr>
                                        <p:cTn id="15" dur="500" fill="hold"/>
                                        <p:tgtEl>
                                          <p:spTgt spid="44"/>
                                        </p:tgtEl>
                                        <p:attrNameLst>
                                          <p:attrName>ppt_h</p:attrName>
                                        </p:attrNameLst>
                                      </p:cBhvr>
                                      <p:tavLst>
                                        <p:tav tm="0">
                                          <p:val>
                                            <p:fltVal val="0"/>
                                          </p:val>
                                        </p:tav>
                                        <p:tav tm="100000">
                                          <p:val>
                                            <p:strVal val="#ppt_h"/>
                                          </p:val>
                                        </p:tav>
                                      </p:tavLst>
                                    </p:anim>
                                    <p:animEffect transition="in" filter="fade">
                                      <p:cBhvr>
                                        <p:cTn id="16" dur="500"/>
                                        <p:tgtEl>
                                          <p:spTgt spid="44"/>
                                        </p:tgtEl>
                                      </p:cBhvr>
                                    </p:animEffect>
                                  </p:childTnLst>
                                </p:cTn>
                              </p:par>
                              <p:par>
                                <p:cTn id="17" presetID="22" presetClass="entr" presetSubtype="2" fill="hold" grpId="0" nodeType="withEffect">
                                  <p:stCondLst>
                                    <p:cond delay="500"/>
                                  </p:stCondLst>
                                  <p:childTnLst>
                                    <p:set>
                                      <p:cBhvr>
                                        <p:cTn id="18" dur="1" fill="hold">
                                          <p:stCondLst>
                                            <p:cond delay="0"/>
                                          </p:stCondLst>
                                        </p:cTn>
                                        <p:tgtEl>
                                          <p:spTgt spid="4"/>
                                        </p:tgtEl>
                                        <p:attrNameLst>
                                          <p:attrName>style.visibility</p:attrName>
                                        </p:attrNameLst>
                                      </p:cBhvr>
                                      <p:to>
                                        <p:strVal val="visible"/>
                                      </p:to>
                                    </p:set>
                                    <p:animEffect transition="in" filter="wipe(right)">
                                      <p:cBhvr>
                                        <p:cTn id="19" dur="500"/>
                                        <p:tgtEl>
                                          <p:spTgt spid="4"/>
                                        </p:tgtEl>
                                      </p:cBhvr>
                                    </p:animEffect>
                                  </p:childTnLst>
                                </p:cTn>
                              </p:par>
                              <p:par>
                                <p:cTn id="20" presetID="22" presetClass="entr" presetSubtype="2" fill="hold" grpId="0" nodeType="withEffect">
                                  <p:stCondLst>
                                    <p:cond delay="500"/>
                                  </p:stCondLst>
                                  <p:childTnLst>
                                    <p:set>
                                      <p:cBhvr>
                                        <p:cTn id="21" dur="1" fill="hold">
                                          <p:stCondLst>
                                            <p:cond delay="0"/>
                                          </p:stCondLst>
                                        </p:cTn>
                                        <p:tgtEl>
                                          <p:spTgt spid="13"/>
                                        </p:tgtEl>
                                        <p:attrNameLst>
                                          <p:attrName>style.visibility</p:attrName>
                                        </p:attrNameLst>
                                      </p:cBhvr>
                                      <p:to>
                                        <p:strVal val="visible"/>
                                      </p:to>
                                    </p:set>
                                    <p:animEffect transition="in" filter="wipe(right)">
                                      <p:cBhvr>
                                        <p:cTn id="22" dur="500"/>
                                        <p:tgtEl>
                                          <p:spTgt spid="13"/>
                                        </p:tgtEl>
                                      </p:cBhvr>
                                    </p:animEffect>
                                  </p:childTnLst>
                                </p:cTn>
                              </p:par>
                              <p:par>
                                <p:cTn id="23" presetID="22" presetClass="entr" presetSubtype="2" fill="hold" nodeType="withEffect">
                                  <p:stCondLst>
                                    <p:cond delay="500"/>
                                  </p:stCondLst>
                                  <p:childTnLst>
                                    <p:set>
                                      <p:cBhvr>
                                        <p:cTn id="24" dur="1" fill="hold">
                                          <p:stCondLst>
                                            <p:cond delay="0"/>
                                          </p:stCondLst>
                                        </p:cTn>
                                        <p:tgtEl>
                                          <p:spTgt spid="43"/>
                                        </p:tgtEl>
                                        <p:attrNameLst>
                                          <p:attrName>style.visibility</p:attrName>
                                        </p:attrNameLst>
                                      </p:cBhvr>
                                      <p:to>
                                        <p:strVal val="visible"/>
                                      </p:to>
                                    </p:set>
                                    <p:animEffect transition="in" filter="wipe(right)">
                                      <p:cBhvr>
                                        <p:cTn id="25" dur="500"/>
                                        <p:tgtEl>
                                          <p:spTgt spid="43"/>
                                        </p:tgtEl>
                                      </p:cBhvr>
                                    </p:animEffect>
                                  </p:childTnLst>
                                </p:cTn>
                              </p:par>
                              <p:par>
                                <p:cTn id="26" presetID="22" presetClass="entr" presetSubtype="2" fill="hold" nodeType="withEffect">
                                  <p:stCondLst>
                                    <p:cond delay="500"/>
                                  </p:stCondLst>
                                  <p:childTnLst>
                                    <p:set>
                                      <p:cBhvr>
                                        <p:cTn id="27" dur="1" fill="hold">
                                          <p:stCondLst>
                                            <p:cond delay="0"/>
                                          </p:stCondLst>
                                        </p:cTn>
                                        <p:tgtEl>
                                          <p:spTgt spid="42"/>
                                        </p:tgtEl>
                                        <p:attrNameLst>
                                          <p:attrName>style.visibility</p:attrName>
                                        </p:attrNameLst>
                                      </p:cBhvr>
                                      <p:to>
                                        <p:strVal val="visible"/>
                                      </p:to>
                                    </p:set>
                                    <p:animEffect transition="in" filter="wipe(right)">
                                      <p:cBhvr>
                                        <p:cTn id="28" dur="500"/>
                                        <p:tgtEl>
                                          <p:spTgt spid="42"/>
                                        </p:tgtEl>
                                      </p:cBhvr>
                                    </p:animEffect>
                                  </p:childTnLst>
                                </p:cTn>
                              </p:par>
                              <p:par>
                                <p:cTn id="29" presetID="22" presetClass="entr" presetSubtype="2" fill="hold" grpId="0" nodeType="withEffect">
                                  <p:stCondLst>
                                    <p:cond delay="800"/>
                                  </p:stCondLst>
                                  <p:childTnLst>
                                    <p:set>
                                      <p:cBhvr>
                                        <p:cTn id="30" dur="1" fill="hold">
                                          <p:stCondLst>
                                            <p:cond delay="0"/>
                                          </p:stCondLst>
                                        </p:cTn>
                                        <p:tgtEl>
                                          <p:spTgt spid="29"/>
                                        </p:tgtEl>
                                        <p:attrNameLst>
                                          <p:attrName>style.visibility</p:attrName>
                                        </p:attrNameLst>
                                      </p:cBhvr>
                                      <p:to>
                                        <p:strVal val="visible"/>
                                      </p:to>
                                    </p:set>
                                    <p:animEffect transition="in" filter="wipe(right)">
                                      <p:cBhvr>
                                        <p:cTn id="31" dur="500"/>
                                        <p:tgtEl>
                                          <p:spTgt spid="29"/>
                                        </p:tgtEl>
                                      </p:cBhvr>
                                    </p:animEffect>
                                  </p:childTnLst>
                                </p:cTn>
                              </p:par>
                              <p:par>
                                <p:cTn id="32" presetID="22" presetClass="entr" presetSubtype="2" fill="hold" grpId="0" nodeType="withEffect">
                                  <p:stCondLst>
                                    <p:cond delay="800"/>
                                  </p:stCondLst>
                                  <p:childTnLst>
                                    <p:set>
                                      <p:cBhvr>
                                        <p:cTn id="33" dur="1" fill="hold">
                                          <p:stCondLst>
                                            <p:cond delay="0"/>
                                          </p:stCondLst>
                                        </p:cTn>
                                        <p:tgtEl>
                                          <p:spTgt spid="31"/>
                                        </p:tgtEl>
                                        <p:attrNameLst>
                                          <p:attrName>style.visibility</p:attrName>
                                        </p:attrNameLst>
                                      </p:cBhvr>
                                      <p:to>
                                        <p:strVal val="visible"/>
                                      </p:to>
                                    </p:set>
                                    <p:animEffect transition="in" filter="wipe(right)">
                                      <p:cBhvr>
                                        <p:cTn id="34" dur="500"/>
                                        <p:tgtEl>
                                          <p:spTgt spid="31"/>
                                        </p:tgtEl>
                                      </p:cBhvr>
                                    </p:animEffect>
                                  </p:childTnLst>
                                </p:cTn>
                              </p:par>
                              <p:par>
                                <p:cTn id="35" presetID="22" presetClass="entr" presetSubtype="2" fill="hold" grpId="0" nodeType="withEffect">
                                  <p:stCondLst>
                                    <p:cond delay="1000"/>
                                  </p:stCondLst>
                                  <p:childTnLst>
                                    <p:set>
                                      <p:cBhvr>
                                        <p:cTn id="36" dur="1" fill="hold">
                                          <p:stCondLst>
                                            <p:cond delay="0"/>
                                          </p:stCondLst>
                                        </p:cTn>
                                        <p:tgtEl>
                                          <p:spTgt spid="28"/>
                                        </p:tgtEl>
                                        <p:attrNameLst>
                                          <p:attrName>style.visibility</p:attrName>
                                        </p:attrNameLst>
                                      </p:cBhvr>
                                      <p:to>
                                        <p:strVal val="visible"/>
                                      </p:to>
                                    </p:set>
                                    <p:animEffect transition="in" filter="wipe(right)">
                                      <p:cBhvr>
                                        <p:cTn id="37" dur="500"/>
                                        <p:tgtEl>
                                          <p:spTgt spid="28"/>
                                        </p:tgtEl>
                                      </p:cBhvr>
                                    </p:animEffect>
                                  </p:childTnLst>
                                </p:cTn>
                              </p:par>
                              <p:par>
                                <p:cTn id="38" presetID="22" presetClass="entr" presetSubtype="2" fill="hold" grpId="0" nodeType="withEffect">
                                  <p:stCondLst>
                                    <p:cond delay="1000"/>
                                  </p:stCondLst>
                                  <p:childTnLst>
                                    <p:set>
                                      <p:cBhvr>
                                        <p:cTn id="39" dur="1" fill="hold">
                                          <p:stCondLst>
                                            <p:cond delay="0"/>
                                          </p:stCondLst>
                                        </p:cTn>
                                        <p:tgtEl>
                                          <p:spTgt spid="30"/>
                                        </p:tgtEl>
                                        <p:attrNameLst>
                                          <p:attrName>style.visibility</p:attrName>
                                        </p:attrNameLst>
                                      </p:cBhvr>
                                      <p:to>
                                        <p:strVal val="visible"/>
                                      </p:to>
                                    </p:set>
                                    <p:animEffect transition="in" filter="wipe(right)">
                                      <p:cBhvr>
                                        <p:cTn id="40" dur="500"/>
                                        <p:tgtEl>
                                          <p:spTgt spid="30"/>
                                        </p:tgtEl>
                                      </p:cBhvr>
                                    </p:animEffect>
                                  </p:childTnLst>
                                </p:cTn>
                              </p:par>
                              <p:par>
                                <p:cTn id="41" presetID="22" presetClass="entr" presetSubtype="2" fill="hold" grpId="0" nodeType="withEffect">
                                  <p:stCondLst>
                                    <p:cond delay="1000"/>
                                  </p:stCondLst>
                                  <p:childTnLst>
                                    <p:set>
                                      <p:cBhvr>
                                        <p:cTn id="42" dur="1" fill="hold">
                                          <p:stCondLst>
                                            <p:cond delay="0"/>
                                          </p:stCondLst>
                                        </p:cTn>
                                        <p:tgtEl>
                                          <p:spTgt spid="26"/>
                                        </p:tgtEl>
                                        <p:attrNameLst>
                                          <p:attrName>style.visibility</p:attrName>
                                        </p:attrNameLst>
                                      </p:cBhvr>
                                      <p:to>
                                        <p:strVal val="visible"/>
                                      </p:to>
                                    </p:set>
                                    <p:animEffect transition="in" filter="wipe(right)">
                                      <p:cBhvr>
                                        <p:cTn id="43" dur="500"/>
                                        <p:tgtEl>
                                          <p:spTgt spid="26"/>
                                        </p:tgtEl>
                                      </p:cBhvr>
                                    </p:animEffect>
                                  </p:childTnLst>
                                </p:cTn>
                              </p:par>
                              <p:par>
                                <p:cTn id="44" presetID="22" presetClass="entr" presetSubtype="2" fill="hold" grpId="0" nodeType="withEffect">
                                  <p:stCondLst>
                                    <p:cond delay="1000"/>
                                  </p:stCondLst>
                                  <p:childTnLst>
                                    <p:set>
                                      <p:cBhvr>
                                        <p:cTn id="45" dur="1" fill="hold">
                                          <p:stCondLst>
                                            <p:cond delay="0"/>
                                          </p:stCondLst>
                                        </p:cTn>
                                        <p:tgtEl>
                                          <p:spTgt spid="27"/>
                                        </p:tgtEl>
                                        <p:attrNameLst>
                                          <p:attrName>style.visibility</p:attrName>
                                        </p:attrNameLst>
                                      </p:cBhvr>
                                      <p:to>
                                        <p:strVal val="visible"/>
                                      </p:to>
                                    </p:set>
                                    <p:animEffect transition="in" filter="wipe(right)">
                                      <p:cBhvr>
                                        <p:cTn id="46" dur="5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13" grpId="0" animBg="1"/>
      <p:bldP spid="26" grpId="0" animBg="1"/>
      <p:bldP spid="27" grpId="0" animBg="1"/>
      <p:bldP spid="28" grpId="0"/>
      <p:bldP spid="29" grpId="0"/>
      <p:bldP spid="30" grpId="0"/>
      <p:bldP spid="31" grpId="0"/>
      <p:bldP spid="32" grpId="0" animBg="1"/>
      <p:bldP spid="33"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矩形 33" hidden="1"/>
          <p:cNvSpPr/>
          <p:nvPr/>
        </p:nvSpPr>
        <p:spPr>
          <a:xfrm>
            <a:off x="2584817" y="2133288"/>
            <a:ext cx="936104" cy="6551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smtClean="0">
                <a:solidFill>
                  <a:srgbClr val="B0F533"/>
                </a:solidFill>
                <a:latin typeface="Gill Sans MT Pro Light" pitchFamily="34" charset="0"/>
              </a:rPr>
              <a:t>1</a:t>
            </a:r>
            <a:endParaRPr lang="zh-CN" altLang="en-US" sz="3600">
              <a:solidFill>
                <a:srgbClr val="B0F533"/>
              </a:solidFill>
              <a:latin typeface="Gill Sans MT Pro Light" pitchFamily="34" charset="0"/>
            </a:endParaRPr>
          </a:p>
        </p:txBody>
      </p:sp>
      <p:sp>
        <p:nvSpPr>
          <p:cNvPr id="35" name="矩形 34" hidden="1"/>
          <p:cNvSpPr/>
          <p:nvPr/>
        </p:nvSpPr>
        <p:spPr>
          <a:xfrm>
            <a:off x="3621305" y="2133288"/>
            <a:ext cx="5984291" cy="655104"/>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smtClean="0">
                <a:latin typeface="华文黑体" pitchFamily="2" charset="-122"/>
                <a:ea typeface="华文黑体" pitchFamily="2" charset="-122"/>
                <a:cs typeface="华文黑体" pitchFamily="2" charset="-122"/>
              </a:rPr>
              <a:t>                     点击添加标题</a:t>
            </a:r>
            <a:endParaRPr lang="zh-CN" altLang="en-US" sz="2800">
              <a:latin typeface="华文黑体" pitchFamily="2" charset="-122"/>
              <a:ea typeface="华文黑体" pitchFamily="2" charset="-122"/>
              <a:cs typeface="华文黑体" pitchFamily="2" charset="-122"/>
            </a:endParaRPr>
          </a:p>
        </p:txBody>
      </p:sp>
      <p:pic>
        <p:nvPicPr>
          <p:cNvPr id="5122" name="Picture 2" descr="D:\360data\重要数据\桌面\gic5382919.jpg"/>
          <p:cNvPicPr>
            <a:picLocks noChangeAspect="1" noChangeArrowheads="1"/>
          </p:cNvPicPr>
          <p:nvPr/>
        </p:nvPicPr>
        <p:blipFill>
          <a:blip r:embed="rId1" cstate="print">
            <a:extLst>
              <a:ext uri="{28A0092B-C50C-407E-A947-70E740481C1C}">
                <a14:useLocalDpi xmlns:a14="http://schemas.microsoft.com/office/drawing/2010/main" val="0"/>
              </a:ext>
            </a:extLst>
          </a:blip>
          <a:srcRect/>
          <a:stretch>
            <a:fillRect/>
          </a:stretch>
        </p:blipFill>
        <p:spPr bwMode="auto">
          <a:xfrm>
            <a:off x="17236" y="1700808"/>
            <a:ext cx="5645922" cy="3764802"/>
          </a:xfrm>
          <a:prstGeom prst="rect">
            <a:avLst/>
          </a:prstGeom>
          <a:noFill/>
          <a:extLst>
            <a:ext uri="{909E8E84-426E-40DD-AFC4-6F175D3DCCD1}">
              <a14:hiddenFill xmlns:a14="http://schemas.microsoft.com/office/drawing/2010/main">
                <a:solidFill>
                  <a:srgbClr val="FFFFFF"/>
                </a:solidFill>
              </a14:hiddenFill>
            </a:ext>
          </a:extLst>
        </p:spPr>
      </p:pic>
      <p:grpSp>
        <p:nvGrpSpPr>
          <p:cNvPr id="3" name="组合 2"/>
          <p:cNvGrpSpPr/>
          <p:nvPr/>
        </p:nvGrpSpPr>
        <p:grpSpPr>
          <a:xfrm>
            <a:off x="5663158" y="1700808"/>
            <a:ext cx="6527255" cy="3896699"/>
            <a:chOff x="5663158" y="1700808"/>
            <a:chExt cx="6527255" cy="3896699"/>
          </a:xfrm>
        </p:grpSpPr>
        <p:sp>
          <p:nvSpPr>
            <p:cNvPr id="2" name="矩形 1"/>
            <p:cNvSpPr/>
            <p:nvPr/>
          </p:nvSpPr>
          <p:spPr>
            <a:xfrm>
              <a:off x="5663158" y="1700808"/>
              <a:ext cx="6527255" cy="3764802"/>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 name="矩形 10"/>
            <p:cNvSpPr/>
            <p:nvPr/>
          </p:nvSpPr>
          <p:spPr>
            <a:xfrm>
              <a:off x="5663158" y="5465610"/>
              <a:ext cx="6527255" cy="131897"/>
            </a:xfrm>
            <a:prstGeom prst="rect">
              <a:avLst/>
            </a:prstGeom>
            <a:solidFill>
              <a:srgbClr val="FF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15" name="TextBox 14"/>
          <p:cNvSpPr txBox="1"/>
          <p:nvPr/>
        </p:nvSpPr>
        <p:spPr>
          <a:xfrm>
            <a:off x="6436666" y="2028937"/>
            <a:ext cx="4771108" cy="3108543"/>
          </a:xfrm>
          <a:prstGeom prst="rect">
            <a:avLst/>
          </a:prstGeom>
          <a:noFill/>
        </p:spPr>
        <p:txBody>
          <a:bodyPr wrap="square" rtlCol="0">
            <a:spAutoFit/>
          </a:bodyPr>
          <a:lstStyle/>
          <a:p>
            <a:pPr>
              <a:buSzPct val="50000"/>
            </a:pPr>
            <a:r>
              <a:rPr lang="zh-CN" altLang="en-US" sz="2400" dirty="0" smtClean="0">
                <a:solidFill>
                  <a:schemeClr val="bg1"/>
                </a:solidFill>
                <a:latin typeface="华文黑体" pitchFamily="2" charset="-122"/>
                <a:ea typeface="华文黑体" pitchFamily="2" charset="-122"/>
                <a:cs typeface="华文黑体" pitchFamily="2" charset="-122"/>
              </a:rPr>
              <a:t>   单击添加标题</a:t>
            </a:r>
            <a:endParaRPr lang="en-US" altLang="zh-CN" sz="2400" dirty="0" smtClean="0">
              <a:solidFill>
                <a:schemeClr val="bg1"/>
              </a:solidFill>
              <a:latin typeface="华文黑体" pitchFamily="2" charset="-122"/>
              <a:ea typeface="华文黑体" pitchFamily="2" charset="-122"/>
              <a:cs typeface="华文黑体" pitchFamily="2" charset="-122"/>
            </a:endParaRPr>
          </a:p>
          <a:p>
            <a:pPr marL="171450" indent="-171450">
              <a:buSzPct val="50000"/>
              <a:buFont typeface="Wingdings" panose="05000000000000000000" pitchFamily="2" charset="2"/>
              <a:buChar char="l"/>
            </a:pPr>
            <a:endParaRPr lang="en-US" altLang="zh-CN" sz="1000" dirty="0" smtClean="0">
              <a:solidFill>
                <a:schemeClr val="bg1"/>
              </a:solidFill>
              <a:latin typeface="华文黑体" pitchFamily="2" charset="-122"/>
              <a:ea typeface="华文黑体" pitchFamily="2" charset="-122"/>
              <a:cs typeface="华文黑体" pitchFamily="2" charset="-122"/>
            </a:endParaRPr>
          </a:p>
          <a:p>
            <a:pPr marL="285750" indent="-285750">
              <a:buSzPct val="50000"/>
              <a:buFont typeface="Wingdings" panose="05000000000000000000" pitchFamily="2" charset="2"/>
              <a:buChar char="l"/>
            </a:pPr>
            <a:r>
              <a:rPr lang="zh-CN" altLang="en-US" dirty="0" smtClean="0">
                <a:solidFill>
                  <a:schemeClr val="bg1"/>
                </a:solidFill>
                <a:latin typeface="华文细黑" panose="02010600040101010101" pitchFamily="2" charset="-122"/>
                <a:ea typeface="华文细黑" panose="02010600040101010101" pitchFamily="2" charset="-122"/>
                <a:cs typeface="华文黑体" pitchFamily="2" charset="-122"/>
              </a:rPr>
              <a:t>单击添加文本单击添加文本单击添加文本单击添加文本单击</a:t>
            </a:r>
            <a:r>
              <a:rPr lang="zh-CN" altLang="en-US" dirty="0">
                <a:solidFill>
                  <a:schemeClr val="bg1"/>
                </a:solidFill>
                <a:latin typeface="华文细黑" panose="02010600040101010101" pitchFamily="2" charset="-122"/>
                <a:ea typeface="华文细黑" panose="02010600040101010101" pitchFamily="2" charset="-122"/>
                <a:cs typeface="华文黑体" pitchFamily="2" charset="-122"/>
              </a:rPr>
              <a:t>添加</a:t>
            </a:r>
            <a:r>
              <a:rPr lang="zh-CN" altLang="en-US" dirty="0" smtClean="0">
                <a:solidFill>
                  <a:schemeClr val="bg1"/>
                </a:solidFill>
                <a:latin typeface="华文细黑" panose="02010600040101010101" pitchFamily="2" charset="-122"/>
                <a:ea typeface="华文细黑" panose="02010600040101010101" pitchFamily="2" charset="-122"/>
                <a:cs typeface="华文黑体" pitchFamily="2" charset="-122"/>
              </a:rPr>
              <a:t>文本</a:t>
            </a:r>
            <a:endParaRPr lang="en-US" altLang="zh-CN" dirty="0" smtClean="0">
              <a:solidFill>
                <a:schemeClr val="bg1"/>
              </a:solidFill>
              <a:latin typeface="华文细黑" panose="02010600040101010101" pitchFamily="2" charset="-122"/>
              <a:ea typeface="华文细黑" panose="02010600040101010101" pitchFamily="2" charset="-122"/>
              <a:cs typeface="华文黑体" pitchFamily="2" charset="-122"/>
            </a:endParaRPr>
          </a:p>
          <a:p>
            <a:pPr marL="285750" indent="-285750">
              <a:buSzPct val="50000"/>
              <a:buFont typeface="Wingdings" panose="05000000000000000000" pitchFamily="2" charset="2"/>
              <a:buChar char="l"/>
            </a:pPr>
            <a:endParaRPr lang="en-US" altLang="zh-CN" dirty="0">
              <a:solidFill>
                <a:schemeClr val="bg1"/>
              </a:solidFill>
              <a:latin typeface="华文细黑" panose="02010600040101010101" pitchFamily="2" charset="-122"/>
              <a:ea typeface="华文细黑" panose="02010600040101010101" pitchFamily="2" charset="-122"/>
              <a:cs typeface="华文黑体" pitchFamily="2" charset="-122"/>
            </a:endParaRPr>
          </a:p>
          <a:p>
            <a:pPr marL="285750" indent="-285750">
              <a:buSzPct val="50000"/>
              <a:buFont typeface="Wingdings" panose="05000000000000000000" pitchFamily="2" charset="2"/>
              <a:buChar char="l"/>
            </a:pPr>
            <a:r>
              <a:rPr lang="zh-CN" altLang="en-US" dirty="0" smtClean="0">
                <a:solidFill>
                  <a:schemeClr val="bg1"/>
                </a:solidFill>
                <a:latin typeface="华文细黑" panose="02010600040101010101" pitchFamily="2" charset="-122"/>
                <a:ea typeface="华文细黑" panose="02010600040101010101" pitchFamily="2" charset="-122"/>
                <a:cs typeface="华文黑体" pitchFamily="2" charset="-122"/>
              </a:rPr>
              <a:t>单击添加</a:t>
            </a:r>
            <a:r>
              <a:rPr lang="zh-CN" altLang="en-US" dirty="0">
                <a:solidFill>
                  <a:schemeClr val="bg1"/>
                </a:solidFill>
                <a:latin typeface="华文细黑" panose="02010600040101010101" pitchFamily="2" charset="-122"/>
                <a:ea typeface="华文细黑" panose="02010600040101010101" pitchFamily="2" charset="-122"/>
                <a:cs typeface="华文黑体" pitchFamily="2" charset="-122"/>
              </a:rPr>
              <a:t>文本单击添加文本单击添加</a:t>
            </a:r>
            <a:r>
              <a:rPr lang="zh-CN" altLang="en-US" dirty="0" smtClean="0">
                <a:solidFill>
                  <a:schemeClr val="bg1"/>
                </a:solidFill>
                <a:latin typeface="华文细黑" panose="02010600040101010101" pitchFamily="2" charset="-122"/>
                <a:ea typeface="华文细黑" panose="02010600040101010101" pitchFamily="2" charset="-122"/>
                <a:cs typeface="华文黑体" pitchFamily="2" charset="-122"/>
              </a:rPr>
              <a:t>文本</a:t>
            </a:r>
            <a:r>
              <a:rPr lang="zh-CN" altLang="en-US" dirty="0">
                <a:solidFill>
                  <a:schemeClr val="bg1"/>
                </a:solidFill>
                <a:latin typeface="华文细黑" panose="02010600040101010101" pitchFamily="2" charset="-122"/>
                <a:ea typeface="华文细黑" panose="02010600040101010101" pitchFamily="2" charset="-122"/>
                <a:cs typeface="华文黑体" pitchFamily="2" charset="-122"/>
              </a:rPr>
              <a:t>单击添加文本单击添加</a:t>
            </a:r>
            <a:r>
              <a:rPr lang="zh-CN" altLang="en-US" dirty="0" smtClean="0">
                <a:solidFill>
                  <a:schemeClr val="bg1"/>
                </a:solidFill>
                <a:latin typeface="华文细黑" panose="02010600040101010101" pitchFamily="2" charset="-122"/>
                <a:ea typeface="华文细黑" panose="02010600040101010101" pitchFamily="2" charset="-122"/>
                <a:cs typeface="华文黑体" pitchFamily="2" charset="-122"/>
              </a:rPr>
              <a:t>文本单击</a:t>
            </a:r>
            <a:r>
              <a:rPr lang="zh-CN" altLang="en-US" dirty="0">
                <a:solidFill>
                  <a:schemeClr val="bg1"/>
                </a:solidFill>
                <a:latin typeface="华文细黑" panose="02010600040101010101" pitchFamily="2" charset="-122"/>
                <a:ea typeface="华文细黑" panose="02010600040101010101" pitchFamily="2" charset="-122"/>
                <a:cs typeface="华文黑体" pitchFamily="2" charset="-122"/>
              </a:rPr>
              <a:t>添加文本单击添加</a:t>
            </a:r>
            <a:r>
              <a:rPr lang="zh-CN" altLang="en-US" dirty="0" smtClean="0">
                <a:solidFill>
                  <a:schemeClr val="bg1"/>
                </a:solidFill>
                <a:latin typeface="华文细黑" panose="02010600040101010101" pitchFamily="2" charset="-122"/>
                <a:ea typeface="华文细黑" panose="02010600040101010101" pitchFamily="2" charset="-122"/>
                <a:cs typeface="华文黑体" pitchFamily="2" charset="-122"/>
              </a:rPr>
              <a:t>文本</a:t>
            </a:r>
            <a:r>
              <a:rPr lang="zh-CN" altLang="en-US" dirty="0">
                <a:solidFill>
                  <a:schemeClr val="bg1"/>
                </a:solidFill>
                <a:latin typeface="华文细黑" panose="02010600040101010101" pitchFamily="2" charset="-122"/>
                <a:ea typeface="华文细黑" panose="02010600040101010101" pitchFamily="2" charset="-122"/>
                <a:cs typeface="华文黑体" pitchFamily="2" charset="-122"/>
              </a:rPr>
              <a:t>单击添加</a:t>
            </a:r>
            <a:r>
              <a:rPr lang="zh-CN" altLang="en-US" dirty="0" smtClean="0">
                <a:solidFill>
                  <a:schemeClr val="bg1"/>
                </a:solidFill>
                <a:latin typeface="华文细黑" panose="02010600040101010101" pitchFamily="2" charset="-122"/>
                <a:ea typeface="华文细黑" panose="02010600040101010101" pitchFamily="2" charset="-122"/>
                <a:cs typeface="华文黑体" pitchFamily="2" charset="-122"/>
              </a:rPr>
              <a:t>文本</a:t>
            </a:r>
            <a:endParaRPr lang="en-US" altLang="zh-CN" dirty="0" smtClean="0">
              <a:solidFill>
                <a:schemeClr val="bg1"/>
              </a:solidFill>
              <a:latin typeface="华文细黑" panose="02010600040101010101" pitchFamily="2" charset="-122"/>
              <a:ea typeface="华文细黑" panose="02010600040101010101" pitchFamily="2" charset="-122"/>
              <a:cs typeface="华文黑体" pitchFamily="2" charset="-122"/>
            </a:endParaRPr>
          </a:p>
          <a:p>
            <a:pPr marL="285750" indent="-285750">
              <a:buSzPct val="50000"/>
              <a:buFont typeface="Wingdings" panose="05000000000000000000" pitchFamily="2" charset="2"/>
              <a:buChar char="l"/>
            </a:pPr>
            <a:endParaRPr lang="en-US" altLang="zh-CN" dirty="0">
              <a:solidFill>
                <a:schemeClr val="bg1"/>
              </a:solidFill>
              <a:latin typeface="华文细黑" panose="02010600040101010101" pitchFamily="2" charset="-122"/>
              <a:ea typeface="华文细黑" panose="02010600040101010101" pitchFamily="2" charset="-122"/>
              <a:cs typeface="华文黑体" pitchFamily="2" charset="-122"/>
            </a:endParaRPr>
          </a:p>
          <a:p>
            <a:pPr marL="285750" indent="-285750">
              <a:buSzPct val="50000"/>
              <a:buFont typeface="Wingdings" panose="05000000000000000000" pitchFamily="2" charset="2"/>
              <a:buChar char="l"/>
            </a:pPr>
            <a:r>
              <a:rPr lang="zh-CN" altLang="en-US" dirty="0">
                <a:solidFill>
                  <a:schemeClr val="bg1"/>
                </a:solidFill>
                <a:latin typeface="华文细黑" panose="02010600040101010101" pitchFamily="2" charset="-122"/>
                <a:ea typeface="华文细黑" panose="02010600040101010101" pitchFamily="2" charset="-122"/>
                <a:cs typeface="华文黑体" pitchFamily="2" charset="-122"/>
              </a:rPr>
              <a:t>单击添加</a:t>
            </a:r>
            <a:r>
              <a:rPr lang="zh-CN" altLang="en-US" dirty="0" smtClean="0">
                <a:solidFill>
                  <a:schemeClr val="bg1"/>
                </a:solidFill>
                <a:latin typeface="华文细黑" panose="02010600040101010101" pitchFamily="2" charset="-122"/>
                <a:ea typeface="华文细黑" panose="02010600040101010101" pitchFamily="2" charset="-122"/>
                <a:cs typeface="华文黑体" pitchFamily="2" charset="-122"/>
              </a:rPr>
              <a:t>文本</a:t>
            </a:r>
            <a:r>
              <a:rPr lang="zh-CN" altLang="en-US" dirty="0">
                <a:solidFill>
                  <a:schemeClr val="bg1"/>
                </a:solidFill>
                <a:latin typeface="华文细黑" panose="02010600040101010101" pitchFamily="2" charset="-122"/>
                <a:ea typeface="华文细黑" panose="02010600040101010101" pitchFamily="2" charset="-122"/>
                <a:cs typeface="华文黑体" pitchFamily="2" charset="-122"/>
              </a:rPr>
              <a:t>单击添加</a:t>
            </a:r>
            <a:r>
              <a:rPr lang="zh-CN" altLang="en-US" dirty="0" smtClean="0">
                <a:solidFill>
                  <a:schemeClr val="bg1"/>
                </a:solidFill>
                <a:latin typeface="华文细黑" panose="02010600040101010101" pitchFamily="2" charset="-122"/>
                <a:ea typeface="华文细黑" panose="02010600040101010101" pitchFamily="2" charset="-122"/>
                <a:cs typeface="华文黑体" pitchFamily="2" charset="-122"/>
              </a:rPr>
              <a:t>文本</a:t>
            </a:r>
            <a:r>
              <a:rPr lang="zh-CN" altLang="en-US" dirty="0">
                <a:solidFill>
                  <a:schemeClr val="bg1"/>
                </a:solidFill>
                <a:latin typeface="华文细黑" panose="02010600040101010101" pitchFamily="2" charset="-122"/>
                <a:ea typeface="华文细黑" panose="02010600040101010101" pitchFamily="2" charset="-122"/>
                <a:cs typeface="华文黑体" pitchFamily="2" charset="-122"/>
              </a:rPr>
              <a:t>单击添加</a:t>
            </a:r>
            <a:r>
              <a:rPr lang="zh-CN" altLang="en-US" dirty="0" smtClean="0">
                <a:solidFill>
                  <a:schemeClr val="bg1"/>
                </a:solidFill>
                <a:latin typeface="华文细黑" panose="02010600040101010101" pitchFamily="2" charset="-122"/>
                <a:ea typeface="华文细黑" panose="02010600040101010101" pitchFamily="2" charset="-122"/>
                <a:cs typeface="华文黑体" pitchFamily="2" charset="-122"/>
              </a:rPr>
              <a:t>文本</a:t>
            </a:r>
            <a:r>
              <a:rPr lang="zh-CN" altLang="en-US" dirty="0">
                <a:solidFill>
                  <a:schemeClr val="bg1"/>
                </a:solidFill>
                <a:latin typeface="华文细黑" panose="02010600040101010101" pitchFamily="2" charset="-122"/>
                <a:ea typeface="华文细黑" panose="02010600040101010101" pitchFamily="2" charset="-122"/>
                <a:cs typeface="华文黑体" pitchFamily="2" charset="-122"/>
              </a:rPr>
              <a:t>单击添加</a:t>
            </a:r>
            <a:r>
              <a:rPr lang="zh-CN" altLang="en-US" dirty="0" smtClean="0">
                <a:solidFill>
                  <a:schemeClr val="bg1"/>
                </a:solidFill>
                <a:latin typeface="华文细黑" panose="02010600040101010101" pitchFamily="2" charset="-122"/>
                <a:ea typeface="华文细黑" panose="02010600040101010101" pitchFamily="2" charset="-122"/>
                <a:cs typeface="华文黑体" pitchFamily="2" charset="-122"/>
              </a:rPr>
              <a:t>文本</a:t>
            </a:r>
            <a:r>
              <a:rPr lang="zh-CN" altLang="en-US" dirty="0">
                <a:solidFill>
                  <a:schemeClr val="bg1"/>
                </a:solidFill>
                <a:latin typeface="华文细黑" panose="02010600040101010101" pitchFamily="2" charset="-122"/>
                <a:ea typeface="华文细黑" panose="02010600040101010101" pitchFamily="2" charset="-122"/>
                <a:cs typeface="华文黑体" pitchFamily="2" charset="-122"/>
              </a:rPr>
              <a:t>单击添加</a:t>
            </a:r>
            <a:r>
              <a:rPr lang="zh-CN" altLang="en-US" dirty="0" smtClean="0">
                <a:solidFill>
                  <a:schemeClr val="bg1"/>
                </a:solidFill>
                <a:latin typeface="华文细黑" panose="02010600040101010101" pitchFamily="2" charset="-122"/>
                <a:ea typeface="华文细黑" panose="02010600040101010101" pitchFamily="2" charset="-122"/>
                <a:cs typeface="华文黑体" pitchFamily="2" charset="-122"/>
              </a:rPr>
              <a:t>文本</a:t>
            </a:r>
            <a:r>
              <a:rPr lang="zh-CN" altLang="en-US" dirty="0">
                <a:solidFill>
                  <a:schemeClr val="bg1"/>
                </a:solidFill>
                <a:latin typeface="华文细黑" panose="02010600040101010101" pitchFamily="2" charset="-122"/>
                <a:ea typeface="华文细黑" panose="02010600040101010101" pitchFamily="2" charset="-122"/>
                <a:cs typeface="华文黑体" pitchFamily="2" charset="-122"/>
              </a:rPr>
              <a:t>单击添加文本</a:t>
            </a:r>
            <a:endParaRPr lang="zh-CN" altLang="en-US" dirty="0">
              <a:solidFill>
                <a:schemeClr val="bg1"/>
              </a:solidFill>
              <a:latin typeface="华文细黑" panose="02010600040101010101" pitchFamily="2" charset="-122"/>
              <a:ea typeface="华文细黑" panose="02010600040101010101" pitchFamily="2" charset="-122"/>
              <a:cs typeface="华文黑体" pitchFamily="2" charset="-122"/>
            </a:endParaRPr>
          </a:p>
        </p:txBody>
      </p:sp>
      <p:sp>
        <p:nvSpPr>
          <p:cNvPr id="13" name="圆角矩形 12"/>
          <p:cNvSpPr/>
          <p:nvPr/>
        </p:nvSpPr>
        <p:spPr>
          <a:xfrm>
            <a:off x="8894702" y="260648"/>
            <a:ext cx="2673112" cy="600163"/>
          </a:xfrm>
          <a:prstGeom prst="roundRect">
            <a:avLst/>
          </a:prstGeom>
          <a:solidFill>
            <a:srgbClr val="FFFFFF"/>
          </a:solidFill>
          <a:ln>
            <a:noFill/>
          </a:ln>
          <a:effectLst>
            <a:reflection blurRad="6350" stA="25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6" name="TextBox 15"/>
          <p:cNvSpPr txBox="1"/>
          <p:nvPr/>
        </p:nvSpPr>
        <p:spPr>
          <a:xfrm>
            <a:off x="9061707" y="260648"/>
            <a:ext cx="2339102" cy="523220"/>
          </a:xfrm>
          <a:prstGeom prst="rect">
            <a:avLst/>
          </a:prstGeom>
          <a:noFill/>
        </p:spPr>
        <p:txBody>
          <a:bodyPr wrap="none" rtlCol="0" anchor="ctr">
            <a:spAutoFit/>
          </a:bodyPr>
          <a:lstStyle>
            <a:defPPr>
              <a:defRPr lang="zh-CN"/>
            </a:defPPr>
            <a:lvl1pPr algn="ctr">
              <a:defRPr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anose="02010600040101010101" pitchFamily="2" charset="-122"/>
                <a:cs typeface="华文黑体" pitchFamily="2" charset="-122"/>
              </a:defRPr>
            </a:lvl1pPr>
          </a:lstStyle>
          <a:p>
            <a:r>
              <a:rPr lang="zh-CN" altLang="en-US" sz="2800"/>
              <a:t>点击添加标题</a:t>
            </a:r>
            <a:endParaRPr lang="zh-CN" altLang="en-US" sz="2800"/>
          </a:p>
        </p:txBody>
      </p:sp>
    </p:spTree>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300"/>
                                        <p:tgtEl>
                                          <p:spTgt spid="1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6"/>
                                        </p:tgtEl>
                                        <p:attrNameLst>
                                          <p:attrName>style.visibility</p:attrName>
                                        </p:attrNameLst>
                                      </p:cBhvr>
                                      <p:to>
                                        <p:strVal val="visible"/>
                                      </p:to>
                                    </p:set>
                                    <p:animEffect transition="in" filter="fade">
                                      <p:cBhvr>
                                        <p:cTn id="10" dur="300"/>
                                        <p:tgtEl>
                                          <p:spTgt spid="16"/>
                                        </p:tgtEl>
                                      </p:cBhvr>
                                    </p:animEffect>
                                  </p:childTnLst>
                                </p:cTn>
                              </p:par>
                            </p:childTnLst>
                          </p:cTn>
                        </p:par>
                        <p:par>
                          <p:cTn id="11" fill="hold">
                            <p:stCondLst>
                              <p:cond delay="500"/>
                            </p:stCondLst>
                            <p:childTnLst>
                              <p:par>
                                <p:cTn id="12" presetID="12" presetClass="entr" presetSubtype="8" fill="hold" nodeType="afterEffect">
                                  <p:stCondLst>
                                    <p:cond delay="0"/>
                                  </p:stCondLst>
                                  <p:childTnLst>
                                    <p:set>
                                      <p:cBhvr>
                                        <p:cTn id="13" dur="1" fill="hold">
                                          <p:stCondLst>
                                            <p:cond delay="0"/>
                                          </p:stCondLst>
                                        </p:cTn>
                                        <p:tgtEl>
                                          <p:spTgt spid="5122"/>
                                        </p:tgtEl>
                                        <p:attrNameLst>
                                          <p:attrName>style.visibility</p:attrName>
                                        </p:attrNameLst>
                                      </p:cBhvr>
                                      <p:to>
                                        <p:strVal val="visible"/>
                                      </p:to>
                                    </p:set>
                                    <p:anim calcmode="lin" valueType="num">
                                      <p:cBhvr additive="base">
                                        <p:cTn id="14" dur="500"/>
                                        <p:tgtEl>
                                          <p:spTgt spid="5122"/>
                                        </p:tgtEl>
                                        <p:attrNameLst>
                                          <p:attrName>ppt_x</p:attrName>
                                        </p:attrNameLst>
                                      </p:cBhvr>
                                      <p:tavLst>
                                        <p:tav tm="0">
                                          <p:val>
                                            <p:strVal val="#ppt_x-#ppt_w*1.125000"/>
                                          </p:val>
                                        </p:tav>
                                        <p:tav tm="100000">
                                          <p:val>
                                            <p:strVal val="#ppt_x"/>
                                          </p:val>
                                        </p:tav>
                                      </p:tavLst>
                                    </p:anim>
                                    <p:animEffect transition="in" filter="wipe(right)">
                                      <p:cBhvr>
                                        <p:cTn id="15" dur="500"/>
                                        <p:tgtEl>
                                          <p:spTgt spid="5122"/>
                                        </p:tgtEl>
                                      </p:cBhvr>
                                    </p:animEffect>
                                  </p:childTnLst>
                                </p:cTn>
                              </p:par>
                              <p:par>
                                <p:cTn id="16" presetID="12" presetClass="entr" presetSubtype="2" fill="hold" nodeType="withEffect">
                                  <p:stCondLst>
                                    <p:cond delay="0"/>
                                  </p:stCondLst>
                                  <p:childTnLst>
                                    <p:set>
                                      <p:cBhvr>
                                        <p:cTn id="17" dur="1" fill="hold">
                                          <p:stCondLst>
                                            <p:cond delay="0"/>
                                          </p:stCondLst>
                                        </p:cTn>
                                        <p:tgtEl>
                                          <p:spTgt spid="3"/>
                                        </p:tgtEl>
                                        <p:attrNameLst>
                                          <p:attrName>style.visibility</p:attrName>
                                        </p:attrNameLst>
                                      </p:cBhvr>
                                      <p:to>
                                        <p:strVal val="visible"/>
                                      </p:to>
                                    </p:set>
                                    <p:anim calcmode="lin" valueType="num">
                                      <p:cBhvr additive="base">
                                        <p:cTn id="18" dur="500"/>
                                        <p:tgtEl>
                                          <p:spTgt spid="3"/>
                                        </p:tgtEl>
                                        <p:attrNameLst>
                                          <p:attrName>ppt_x</p:attrName>
                                        </p:attrNameLst>
                                      </p:cBhvr>
                                      <p:tavLst>
                                        <p:tav tm="0">
                                          <p:val>
                                            <p:strVal val="#ppt_x+#ppt_w*1.125000"/>
                                          </p:val>
                                        </p:tav>
                                        <p:tav tm="100000">
                                          <p:val>
                                            <p:strVal val="#ppt_x"/>
                                          </p:val>
                                        </p:tav>
                                      </p:tavLst>
                                    </p:anim>
                                    <p:animEffect transition="in" filter="wipe(left)">
                                      <p:cBhvr>
                                        <p:cTn id="19" dur="500"/>
                                        <p:tgtEl>
                                          <p:spTgt spid="3"/>
                                        </p:tgtEl>
                                      </p:cBhvr>
                                    </p:animEffect>
                                  </p:childTnLst>
                                </p:cTn>
                              </p:par>
                            </p:childTnLst>
                          </p:cTn>
                        </p:par>
                        <p:par>
                          <p:cTn id="20" fill="hold">
                            <p:stCondLst>
                              <p:cond delay="1000"/>
                            </p:stCondLst>
                            <p:childTnLst>
                              <p:par>
                                <p:cTn id="21" presetID="53" presetClass="entr" presetSubtype="16" fill="hold" grpId="0" nodeType="afterEffect">
                                  <p:stCondLst>
                                    <p:cond delay="0"/>
                                  </p:stCondLst>
                                  <p:childTnLst>
                                    <p:set>
                                      <p:cBhvr>
                                        <p:cTn id="22" dur="1" fill="hold">
                                          <p:stCondLst>
                                            <p:cond delay="0"/>
                                          </p:stCondLst>
                                        </p:cTn>
                                        <p:tgtEl>
                                          <p:spTgt spid="15"/>
                                        </p:tgtEl>
                                        <p:attrNameLst>
                                          <p:attrName>style.visibility</p:attrName>
                                        </p:attrNameLst>
                                      </p:cBhvr>
                                      <p:to>
                                        <p:strVal val="visible"/>
                                      </p:to>
                                    </p:set>
                                    <p:anim calcmode="lin" valueType="num">
                                      <p:cBhvr>
                                        <p:cTn id="23" dur="500" fill="hold"/>
                                        <p:tgtEl>
                                          <p:spTgt spid="15"/>
                                        </p:tgtEl>
                                        <p:attrNameLst>
                                          <p:attrName>ppt_w</p:attrName>
                                        </p:attrNameLst>
                                      </p:cBhvr>
                                      <p:tavLst>
                                        <p:tav tm="0">
                                          <p:val>
                                            <p:fltVal val="0"/>
                                          </p:val>
                                        </p:tav>
                                        <p:tav tm="100000">
                                          <p:val>
                                            <p:strVal val="#ppt_w"/>
                                          </p:val>
                                        </p:tav>
                                      </p:tavLst>
                                    </p:anim>
                                    <p:anim calcmode="lin" valueType="num">
                                      <p:cBhvr>
                                        <p:cTn id="24" dur="500" fill="hold"/>
                                        <p:tgtEl>
                                          <p:spTgt spid="15"/>
                                        </p:tgtEl>
                                        <p:attrNameLst>
                                          <p:attrName>ppt_h</p:attrName>
                                        </p:attrNameLst>
                                      </p:cBhvr>
                                      <p:tavLst>
                                        <p:tav tm="0">
                                          <p:val>
                                            <p:fltVal val="0"/>
                                          </p:val>
                                        </p:tav>
                                        <p:tav tm="100000">
                                          <p:val>
                                            <p:strVal val="#ppt_h"/>
                                          </p:val>
                                        </p:tav>
                                      </p:tavLst>
                                    </p:anim>
                                    <p:animEffect transition="in" filter="fade">
                                      <p:cBhvr>
                                        <p:cTn id="25"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13" grpId="0" animBg="1"/>
      <p:bldP spid="16"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矩形 33" hidden="1"/>
          <p:cNvSpPr/>
          <p:nvPr/>
        </p:nvSpPr>
        <p:spPr>
          <a:xfrm>
            <a:off x="2584817" y="2133288"/>
            <a:ext cx="936104" cy="6551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smtClean="0">
                <a:solidFill>
                  <a:srgbClr val="B0F533"/>
                </a:solidFill>
                <a:latin typeface="Gill Sans MT Pro Light" pitchFamily="34" charset="0"/>
              </a:rPr>
              <a:t>1</a:t>
            </a:r>
            <a:endParaRPr lang="zh-CN" altLang="en-US" sz="3600">
              <a:solidFill>
                <a:srgbClr val="B0F533"/>
              </a:solidFill>
              <a:latin typeface="Gill Sans MT Pro Light" pitchFamily="34" charset="0"/>
            </a:endParaRPr>
          </a:p>
        </p:txBody>
      </p:sp>
      <p:sp>
        <p:nvSpPr>
          <p:cNvPr id="35" name="矩形 34" hidden="1"/>
          <p:cNvSpPr/>
          <p:nvPr/>
        </p:nvSpPr>
        <p:spPr>
          <a:xfrm>
            <a:off x="3621305" y="2133288"/>
            <a:ext cx="5984291" cy="655104"/>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smtClean="0">
                <a:latin typeface="华文黑体" pitchFamily="2" charset="-122"/>
                <a:ea typeface="华文黑体" pitchFamily="2" charset="-122"/>
                <a:cs typeface="华文黑体" pitchFamily="2" charset="-122"/>
              </a:rPr>
              <a:t>                     点击添加标题</a:t>
            </a:r>
            <a:endParaRPr lang="zh-CN" altLang="en-US" sz="2800">
              <a:latin typeface="华文黑体" pitchFamily="2" charset="-122"/>
              <a:ea typeface="华文黑体" pitchFamily="2" charset="-122"/>
              <a:cs typeface="华文黑体" pitchFamily="2" charset="-122"/>
            </a:endParaRPr>
          </a:p>
        </p:txBody>
      </p:sp>
      <p:sp>
        <p:nvSpPr>
          <p:cNvPr id="2" name="矩形 1"/>
          <p:cNvSpPr/>
          <p:nvPr/>
        </p:nvSpPr>
        <p:spPr>
          <a:xfrm>
            <a:off x="0" y="3645024"/>
            <a:ext cx="12190413" cy="3212976"/>
          </a:xfrm>
          <a:prstGeom prst="rect">
            <a:avLst/>
          </a:prstGeom>
          <a:solidFill>
            <a:srgbClr val="17375E">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7" name="组合 6"/>
          <p:cNvGrpSpPr/>
          <p:nvPr/>
        </p:nvGrpSpPr>
        <p:grpSpPr>
          <a:xfrm>
            <a:off x="6527254" y="5691736"/>
            <a:ext cx="648072" cy="648072"/>
            <a:chOff x="5015086" y="4458775"/>
            <a:chExt cx="648072" cy="648072"/>
          </a:xfrm>
          <a:effectLst>
            <a:outerShdw blurRad="50800" dist="38100" dir="2700000" algn="tl" rotWithShape="0">
              <a:prstClr val="black">
                <a:alpha val="40000"/>
              </a:prstClr>
            </a:outerShdw>
          </a:effectLst>
        </p:grpSpPr>
        <p:sp>
          <p:nvSpPr>
            <p:cNvPr id="10" name="圆角矩形 9"/>
            <p:cNvSpPr/>
            <p:nvPr/>
          </p:nvSpPr>
          <p:spPr>
            <a:xfrm>
              <a:off x="5015086" y="4458775"/>
              <a:ext cx="648072" cy="648072"/>
            </a:xfrm>
            <a:prstGeom prst="roundRect">
              <a:avLst/>
            </a:prstGeom>
            <a:no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bg1"/>
                </a:solidFill>
              </a:endParaRPr>
            </a:p>
          </p:txBody>
        </p:sp>
        <p:sp>
          <p:nvSpPr>
            <p:cNvPr id="11" name="Freeform 9"/>
            <p:cNvSpPr/>
            <p:nvPr/>
          </p:nvSpPr>
          <p:spPr bwMode="auto">
            <a:xfrm flipH="1">
              <a:off x="5077517" y="4618932"/>
              <a:ext cx="523211" cy="327759"/>
            </a:xfrm>
            <a:custGeom>
              <a:avLst/>
              <a:gdLst>
                <a:gd name="T0" fmla="*/ 262 w 320"/>
                <a:gd name="T1" fmla="*/ 70 h 200"/>
                <a:gd name="T2" fmla="*/ 163 w 320"/>
                <a:gd name="T3" fmla="*/ 0 h 200"/>
                <a:gd name="T4" fmla="*/ 63 w 320"/>
                <a:gd name="T5" fmla="*/ 94 h 200"/>
                <a:gd name="T6" fmla="*/ 54 w 320"/>
                <a:gd name="T7" fmla="*/ 93 h 200"/>
                <a:gd name="T8" fmla="*/ 0 w 320"/>
                <a:gd name="T9" fmla="*/ 146 h 200"/>
                <a:gd name="T10" fmla="*/ 43 w 320"/>
                <a:gd name="T11" fmla="*/ 200 h 200"/>
                <a:gd name="T12" fmla="*/ 251 w 320"/>
                <a:gd name="T13" fmla="*/ 200 h 200"/>
                <a:gd name="T14" fmla="*/ 320 w 320"/>
                <a:gd name="T15" fmla="*/ 134 h 200"/>
                <a:gd name="T16" fmla="*/ 262 w 320"/>
                <a:gd name="T17" fmla="*/ 7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0" h="200">
                  <a:moveTo>
                    <a:pt x="262" y="70"/>
                  </a:moveTo>
                  <a:cubicBezTo>
                    <a:pt x="249" y="29"/>
                    <a:pt x="209" y="0"/>
                    <a:pt x="163" y="0"/>
                  </a:cubicBezTo>
                  <a:cubicBezTo>
                    <a:pt x="108" y="0"/>
                    <a:pt x="66" y="41"/>
                    <a:pt x="63" y="94"/>
                  </a:cubicBezTo>
                  <a:cubicBezTo>
                    <a:pt x="60" y="94"/>
                    <a:pt x="57" y="93"/>
                    <a:pt x="54" y="93"/>
                  </a:cubicBezTo>
                  <a:cubicBezTo>
                    <a:pt x="24" y="93"/>
                    <a:pt x="0" y="117"/>
                    <a:pt x="0" y="146"/>
                  </a:cubicBezTo>
                  <a:cubicBezTo>
                    <a:pt x="0" y="171"/>
                    <a:pt x="19" y="195"/>
                    <a:pt x="43" y="200"/>
                  </a:cubicBezTo>
                  <a:cubicBezTo>
                    <a:pt x="251" y="200"/>
                    <a:pt x="251" y="200"/>
                    <a:pt x="251" y="200"/>
                  </a:cubicBezTo>
                  <a:cubicBezTo>
                    <a:pt x="287" y="200"/>
                    <a:pt x="320" y="170"/>
                    <a:pt x="320" y="134"/>
                  </a:cubicBezTo>
                  <a:cubicBezTo>
                    <a:pt x="320" y="101"/>
                    <a:pt x="295" y="74"/>
                    <a:pt x="262" y="70"/>
                  </a:cubicBezTo>
                  <a:close/>
                </a:path>
              </a:pathLst>
            </a:custGeom>
            <a:solidFill>
              <a:schemeClr val="bg1"/>
            </a:solidFill>
            <a:ln>
              <a:noFill/>
            </a:ln>
          </p:spPr>
          <p:txBody>
            <a:bodyPr vert="horz" wrap="square" lIns="91440" tIns="45720" rIns="91440" bIns="45720" numCol="1" anchor="t" anchorCtr="0" compatLnSpc="1"/>
            <a:lstStyle/>
            <a:p>
              <a:endParaRPr lang="zh-CN" altLang="en-US">
                <a:solidFill>
                  <a:sysClr val="windowText" lastClr="000000"/>
                </a:solidFill>
                <a:latin typeface="Calibri" panose="020F0502020204030204"/>
                <a:ea typeface="宋体" panose="02010600030101010101" pitchFamily="2" charset="-122"/>
              </a:endParaRPr>
            </a:p>
          </p:txBody>
        </p:sp>
      </p:grpSp>
      <p:grpSp>
        <p:nvGrpSpPr>
          <p:cNvPr id="8" name="组合 7"/>
          <p:cNvGrpSpPr/>
          <p:nvPr/>
        </p:nvGrpSpPr>
        <p:grpSpPr>
          <a:xfrm>
            <a:off x="6527254" y="4394188"/>
            <a:ext cx="648072" cy="648072"/>
            <a:chOff x="3623667" y="4387744"/>
            <a:chExt cx="648072" cy="648072"/>
          </a:xfrm>
          <a:effectLst>
            <a:outerShdw blurRad="50800" dist="38100" dir="2700000" algn="tl" rotWithShape="0">
              <a:prstClr val="black">
                <a:alpha val="40000"/>
              </a:prstClr>
            </a:outerShdw>
          </a:effectLst>
        </p:grpSpPr>
        <p:sp>
          <p:nvSpPr>
            <p:cNvPr id="15" name="圆角矩形 14"/>
            <p:cNvSpPr/>
            <p:nvPr/>
          </p:nvSpPr>
          <p:spPr>
            <a:xfrm>
              <a:off x="3623667" y="4387744"/>
              <a:ext cx="648072" cy="648072"/>
            </a:xfrm>
            <a:prstGeom prst="roundRect">
              <a:avLst/>
            </a:prstGeom>
            <a:no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bg1"/>
                </a:solidFill>
              </a:endParaRPr>
            </a:p>
          </p:txBody>
        </p:sp>
        <p:sp>
          <p:nvSpPr>
            <p:cNvPr id="16" name="Freeform 41"/>
            <p:cNvSpPr>
              <a:spLocks noEditPoints="1"/>
            </p:cNvSpPr>
            <p:nvPr/>
          </p:nvSpPr>
          <p:spPr bwMode="auto">
            <a:xfrm>
              <a:off x="3738218" y="4502295"/>
              <a:ext cx="418970" cy="418970"/>
            </a:xfrm>
            <a:custGeom>
              <a:avLst/>
              <a:gdLst>
                <a:gd name="T0" fmla="*/ 128 w 256"/>
                <a:gd name="T1" fmla="*/ 0 h 256"/>
                <a:gd name="T2" fmla="*/ 0 w 256"/>
                <a:gd name="T3" fmla="*/ 128 h 256"/>
                <a:gd name="T4" fmla="*/ 128 w 256"/>
                <a:gd name="T5" fmla="*/ 256 h 256"/>
                <a:gd name="T6" fmla="*/ 256 w 256"/>
                <a:gd name="T7" fmla="*/ 128 h 256"/>
                <a:gd name="T8" fmla="*/ 128 w 256"/>
                <a:gd name="T9" fmla="*/ 0 h 256"/>
                <a:gd name="T10" fmla="*/ 135 w 256"/>
                <a:gd name="T11" fmla="*/ 200 h 256"/>
                <a:gd name="T12" fmla="*/ 119 w 256"/>
                <a:gd name="T13" fmla="*/ 200 h 256"/>
                <a:gd name="T14" fmla="*/ 112 w 256"/>
                <a:gd name="T15" fmla="*/ 192 h 256"/>
                <a:gd name="T16" fmla="*/ 111 w 256"/>
                <a:gd name="T17" fmla="*/ 176 h 256"/>
                <a:gd name="T18" fmla="*/ 119 w 256"/>
                <a:gd name="T19" fmla="*/ 168 h 256"/>
                <a:gd name="T20" fmla="*/ 135 w 256"/>
                <a:gd name="T21" fmla="*/ 168 h 256"/>
                <a:gd name="T22" fmla="*/ 143 w 256"/>
                <a:gd name="T23" fmla="*/ 176 h 256"/>
                <a:gd name="T24" fmla="*/ 144 w 256"/>
                <a:gd name="T25" fmla="*/ 192 h 256"/>
                <a:gd name="T26" fmla="*/ 135 w 256"/>
                <a:gd name="T27" fmla="*/ 200 h 256"/>
                <a:gd name="T28" fmla="*/ 170 w 256"/>
                <a:gd name="T29" fmla="*/ 109 h 256"/>
                <a:gd name="T30" fmla="*/ 154 w 256"/>
                <a:gd name="T31" fmla="*/ 125 h 256"/>
                <a:gd name="T32" fmla="*/ 145 w 256"/>
                <a:gd name="T33" fmla="*/ 132 h 256"/>
                <a:gd name="T34" fmla="*/ 144 w 256"/>
                <a:gd name="T35" fmla="*/ 135 h 256"/>
                <a:gd name="T36" fmla="*/ 143 w 256"/>
                <a:gd name="T37" fmla="*/ 144 h 256"/>
                <a:gd name="T38" fmla="*/ 135 w 256"/>
                <a:gd name="T39" fmla="*/ 152 h 256"/>
                <a:gd name="T40" fmla="*/ 120 w 256"/>
                <a:gd name="T41" fmla="*/ 152 h 256"/>
                <a:gd name="T42" fmla="*/ 112 w 256"/>
                <a:gd name="T43" fmla="*/ 144 h 256"/>
                <a:gd name="T44" fmla="*/ 112 w 256"/>
                <a:gd name="T45" fmla="*/ 140 h 256"/>
                <a:gd name="T46" fmla="*/ 115 w 256"/>
                <a:gd name="T47" fmla="*/ 124 h 256"/>
                <a:gd name="T48" fmla="*/ 123 w 256"/>
                <a:gd name="T49" fmla="*/ 113 h 256"/>
                <a:gd name="T50" fmla="*/ 134 w 256"/>
                <a:gd name="T51" fmla="*/ 104 h 256"/>
                <a:gd name="T52" fmla="*/ 143 w 256"/>
                <a:gd name="T53" fmla="*/ 96 h 256"/>
                <a:gd name="T54" fmla="*/ 144 w 256"/>
                <a:gd name="T55" fmla="*/ 93 h 256"/>
                <a:gd name="T56" fmla="*/ 140 w 256"/>
                <a:gd name="T57" fmla="*/ 86 h 256"/>
                <a:gd name="T58" fmla="*/ 128 w 256"/>
                <a:gd name="T59" fmla="*/ 83 h 256"/>
                <a:gd name="T60" fmla="*/ 117 w 256"/>
                <a:gd name="T61" fmla="*/ 86 h 256"/>
                <a:gd name="T62" fmla="*/ 111 w 256"/>
                <a:gd name="T63" fmla="*/ 97 h 256"/>
                <a:gd name="T64" fmla="*/ 103 w 256"/>
                <a:gd name="T65" fmla="*/ 104 h 256"/>
                <a:gd name="T66" fmla="*/ 103 w 256"/>
                <a:gd name="T67" fmla="*/ 104 h 256"/>
                <a:gd name="T68" fmla="*/ 87 w 256"/>
                <a:gd name="T69" fmla="*/ 102 h 256"/>
                <a:gd name="T70" fmla="*/ 81 w 256"/>
                <a:gd name="T71" fmla="*/ 99 h 256"/>
                <a:gd name="T72" fmla="*/ 80 w 256"/>
                <a:gd name="T73" fmla="*/ 93 h 256"/>
                <a:gd name="T74" fmla="*/ 95 w 256"/>
                <a:gd name="T75" fmla="*/ 66 h 256"/>
                <a:gd name="T76" fmla="*/ 128 w 256"/>
                <a:gd name="T77" fmla="*/ 56 h 256"/>
                <a:gd name="T78" fmla="*/ 162 w 256"/>
                <a:gd name="T79" fmla="*/ 66 h 256"/>
                <a:gd name="T80" fmla="*/ 176 w 256"/>
                <a:gd name="T81" fmla="*/ 92 h 256"/>
                <a:gd name="T82" fmla="*/ 170 w 256"/>
                <a:gd name="T83" fmla="*/ 109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56" h="256">
                  <a:moveTo>
                    <a:pt x="128" y="0"/>
                  </a:moveTo>
                  <a:cubicBezTo>
                    <a:pt x="57" y="0"/>
                    <a:pt x="0" y="57"/>
                    <a:pt x="0" y="128"/>
                  </a:cubicBezTo>
                  <a:cubicBezTo>
                    <a:pt x="0" y="199"/>
                    <a:pt x="57" y="256"/>
                    <a:pt x="128" y="256"/>
                  </a:cubicBezTo>
                  <a:cubicBezTo>
                    <a:pt x="199" y="256"/>
                    <a:pt x="256" y="199"/>
                    <a:pt x="256" y="128"/>
                  </a:cubicBezTo>
                  <a:cubicBezTo>
                    <a:pt x="256" y="57"/>
                    <a:pt x="199" y="0"/>
                    <a:pt x="128" y="0"/>
                  </a:cubicBezTo>
                  <a:close/>
                  <a:moveTo>
                    <a:pt x="135" y="200"/>
                  </a:moveTo>
                  <a:cubicBezTo>
                    <a:pt x="119" y="200"/>
                    <a:pt x="119" y="200"/>
                    <a:pt x="119" y="200"/>
                  </a:cubicBezTo>
                  <a:cubicBezTo>
                    <a:pt x="115" y="200"/>
                    <a:pt x="112" y="196"/>
                    <a:pt x="112" y="192"/>
                  </a:cubicBezTo>
                  <a:cubicBezTo>
                    <a:pt x="111" y="176"/>
                    <a:pt x="111" y="176"/>
                    <a:pt x="111" y="176"/>
                  </a:cubicBezTo>
                  <a:cubicBezTo>
                    <a:pt x="111" y="171"/>
                    <a:pt x="115" y="168"/>
                    <a:pt x="119" y="168"/>
                  </a:cubicBezTo>
                  <a:cubicBezTo>
                    <a:pt x="135" y="168"/>
                    <a:pt x="135" y="168"/>
                    <a:pt x="135" y="168"/>
                  </a:cubicBezTo>
                  <a:cubicBezTo>
                    <a:pt x="140" y="168"/>
                    <a:pt x="143" y="172"/>
                    <a:pt x="143" y="176"/>
                  </a:cubicBezTo>
                  <a:cubicBezTo>
                    <a:pt x="144" y="192"/>
                    <a:pt x="144" y="192"/>
                    <a:pt x="144" y="192"/>
                  </a:cubicBezTo>
                  <a:cubicBezTo>
                    <a:pt x="144" y="196"/>
                    <a:pt x="140" y="200"/>
                    <a:pt x="135" y="200"/>
                  </a:cubicBezTo>
                  <a:close/>
                  <a:moveTo>
                    <a:pt x="170" y="109"/>
                  </a:moveTo>
                  <a:cubicBezTo>
                    <a:pt x="167" y="114"/>
                    <a:pt x="162" y="119"/>
                    <a:pt x="154" y="125"/>
                  </a:cubicBezTo>
                  <a:cubicBezTo>
                    <a:pt x="148" y="130"/>
                    <a:pt x="146" y="132"/>
                    <a:pt x="145" y="132"/>
                  </a:cubicBezTo>
                  <a:cubicBezTo>
                    <a:pt x="145" y="133"/>
                    <a:pt x="144" y="134"/>
                    <a:pt x="144" y="135"/>
                  </a:cubicBezTo>
                  <a:cubicBezTo>
                    <a:pt x="143" y="136"/>
                    <a:pt x="143" y="138"/>
                    <a:pt x="143" y="144"/>
                  </a:cubicBezTo>
                  <a:cubicBezTo>
                    <a:pt x="143" y="149"/>
                    <a:pt x="139" y="152"/>
                    <a:pt x="135" y="152"/>
                  </a:cubicBezTo>
                  <a:cubicBezTo>
                    <a:pt x="120" y="152"/>
                    <a:pt x="120" y="152"/>
                    <a:pt x="120" y="152"/>
                  </a:cubicBezTo>
                  <a:cubicBezTo>
                    <a:pt x="116" y="152"/>
                    <a:pt x="112" y="149"/>
                    <a:pt x="112" y="144"/>
                  </a:cubicBezTo>
                  <a:cubicBezTo>
                    <a:pt x="112" y="140"/>
                    <a:pt x="112" y="140"/>
                    <a:pt x="112" y="140"/>
                  </a:cubicBezTo>
                  <a:cubicBezTo>
                    <a:pt x="112" y="134"/>
                    <a:pt x="113" y="129"/>
                    <a:pt x="115" y="124"/>
                  </a:cubicBezTo>
                  <a:cubicBezTo>
                    <a:pt x="117" y="120"/>
                    <a:pt x="119" y="117"/>
                    <a:pt x="123" y="113"/>
                  </a:cubicBezTo>
                  <a:cubicBezTo>
                    <a:pt x="125" y="111"/>
                    <a:pt x="129" y="108"/>
                    <a:pt x="134" y="104"/>
                  </a:cubicBezTo>
                  <a:cubicBezTo>
                    <a:pt x="141" y="99"/>
                    <a:pt x="142" y="97"/>
                    <a:pt x="143" y="96"/>
                  </a:cubicBezTo>
                  <a:cubicBezTo>
                    <a:pt x="144" y="95"/>
                    <a:pt x="144" y="94"/>
                    <a:pt x="144" y="93"/>
                  </a:cubicBezTo>
                  <a:cubicBezTo>
                    <a:pt x="144" y="92"/>
                    <a:pt x="143" y="89"/>
                    <a:pt x="140" y="86"/>
                  </a:cubicBezTo>
                  <a:cubicBezTo>
                    <a:pt x="137" y="84"/>
                    <a:pt x="132" y="83"/>
                    <a:pt x="128" y="83"/>
                  </a:cubicBezTo>
                  <a:cubicBezTo>
                    <a:pt x="124" y="83"/>
                    <a:pt x="120" y="84"/>
                    <a:pt x="117" y="86"/>
                  </a:cubicBezTo>
                  <a:cubicBezTo>
                    <a:pt x="114" y="88"/>
                    <a:pt x="112" y="92"/>
                    <a:pt x="111" y="97"/>
                  </a:cubicBezTo>
                  <a:cubicBezTo>
                    <a:pt x="111" y="101"/>
                    <a:pt x="107" y="104"/>
                    <a:pt x="103" y="104"/>
                  </a:cubicBezTo>
                  <a:cubicBezTo>
                    <a:pt x="103" y="104"/>
                    <a:pt x="103" y="104"/>
                    <a:pt x="103" y="104"/>
                  </a:cubicBezTo>
                  <a:cubicBezTo>
                    <a:pt x="87" y="102"/>
                    <a:pt x="87" y="102"/>
                    <a:pt x="87" y="102"/>
                  </a:cubicBezTo>
                  <a:cubicBezTo>
                    <a:pt x="85" y="102"/>
                    <a:pt x="83" y="101"/>
                    <a:pt x="81" y="99"/>
                  </a:cubicBezTo>
                  <a:cubicBezTo>
                    <a:pt x="80" y="97"/>
                    <a:pt x="79" y="95"/>
                    <a:pt x="80" y="93"/>
                  </a:cubicBezTo>
                  <a:cubicBezTo>
                    <a:pt x="82" y="81"/>
                    <a:pt x="87" y="72"/>
                    <a:pt x="95" y="66"/>
                  </a:cubicBezTo>
                  <a:cubicBezTo>
                    <a:pt x="104" y="59"/>
                    <a:pt x="115" y="56"/>
                    <a:pt x="128" y="56"/>
                  </a:cubicBezTo>
                  <a:cubicBezTo>
                    <a:pt x="142" y="56"/>
                    <a:pt x="153" y="60"/>
                    <a:pt x="162" y="66"/>
                  </a:cubicBezTo>
                  <a:cubicBezTo>
                    <a:pt x="171" y="73"/>
                    <a:pt x="176" y="82"/>
                    <a:pt x="176" y="92"/>
                  </a:cubicBezTo>
                  <a:cubicBezTo>
                    <a:pt x="176" y="99"/>
                    <a:pt x="174" y="104"/>
                    <a:pt x="170" y="109"/>
                  </a:cubicBezTo>
                  <a:close/>
                </a:path>
              </a:pathLst>
            </a:custGeom>
            <a:solidFill>
              <a:schemeClr val="bg1"/>
            </a:solidFill>
            <a:ln>
              <a:noFill/>
            </a:ln>
          </p:spPr>
          <p:txBody>
            <a:bodyPr vert="horz" wrap="square" lIns="91440" tIns="45720" rIns="91440" bIns="45720" numCol="1" anchor="t" anchorCtr="0" compatLnSpc="1"/>
            <a:lstStyle/>
            <a:p>
              <a:endParaRPr lang="zh-CN" altLang="en-US">
                <a:solidFill>
                  <a:sysClr val="windowText" lastClr="000000"/>
                </a:solidFill>
                <a:latin typeface="Calibri" panose="020F0502020204030204"/>
                <a:ea typeface="宋体" panose="02010600030101010101" pitchFamily="2" charset="-122"/>
              </a:endParaRPr>
            </a:p>
          </p:txBody>
        </p:sp>
      </p:grpSp>
      <p:grpSp>
        <p:nvGrpSpPr>
          <p:cNvPr id="4" name="组合 3"/>
          <p:cNvGrpSpPr/>
          <p:nvPr/>
        </p:nvGrpSpPr>
        <p:grpSpPr>
          <a:xfrm>
            <a:off x="1637819" y="4394188"/>
            <a:ext cx="648072" cy="648072"/>
            <a:chOff x="1065827" y="4321157"/>
            <a:chExt cx="648072" cy="648072"/>
          </a:xfrm>
          <a:effectLst>
            <a:outerShdw blurRad="50800" dist="38100" dir="2700000" algn="tl" rotWithShape="0">
              <a:prstClr val="black">
                <a:alpha val="40000"/>
              </a:prstClr>
            </a:outerShdw>
          </a:effectLst>
        </p:grpSpPr>
        <p:sp>
          <p:nvSpPr>
            <p:cNvPr id="18" name="圆角矩形 17"/>
            <p:cNvSpPr/>
            <p:nvPr/>
          </p:nvSpPr>
          <p:spPr>
            <a:xfrm>
              <a:off x="1065827" y="4321157"/>
              <a:ext cx="648072" cy="648072"/>
            </a:xfrm>
            <a:prstGeom prst="roundRect">
              <a:avLst/>
            </a:prstGeom>
            <a:no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bg1"/>
                </a:solidFill>
              </a:endParaRPr>
            </a:p>
          </p:txBody>
        </p:sp>
        <p:sp>
          <p:nvSpPr>
            <p:cNvPr id="19" name="Freeform 45"/>
            <p:cNvSpPr/>
            <p:nvPr/>
          </p:nvSpPr>
          <p:spPr bwMode="auto">
            <a:xfrm flipH="1">
              <a:off x="1180378" y="4435708"/>
              <a:ext cx="418970" cy="418970"/>
            </a:xfrm>
            <a:custGeom>
              <a:avLst/>
              <a:gdLst>
                <a:gd name="T0" fmla="*/ 240 w 256"/>
                <a:gd name="T1" fmla="*/ 88 h 256"/>
                <a:gd name="T2" fmla="*/ 168 w 256"/>
                <a:gd name="T3" fmla="*/ 88 h 256"/>
                <a:gd name="T4" fmla="*/ 168 w 256"/>
                <a:gd name="T5" fmla="*/ 16 h 256"/>
                <a:gd name="T6" fmla="*/ 152 w 256"/>
                <a:gd name="T7" fmla="*/ 0 h 256"/>
                <a:gd name="T8" fmla="*/ 104 w 256"/>
                <a:gd name="T9" fmla="*/ 0 h 256"/>
                <a:gd name="T10" fmla="*/ 88 w 256"/>
                <a:gd name="T11" fmla="*/ 16 h 256"/>
                <a:gd name="T12" fmla="*/ 88 w 256"/>
                <a:gd name="T13" fmla="*/ 88 h 256"/>
                <a:gd name="T14" fmla="*/ 16 w 256"/>
                <a:gd name="T15" fmla="*/ 88 h 256"/>
                <a:gd name="T16" fmla="*/ 0 w 256"/>
                <a:gd name="T17" fmla="*/ 104 h 256"/>
                <a:gd name="T18" fmla="*/ 0 w 256"/>
                <a:gd name="T19" fmla="*/ 152 h 256"/>
                <a:gd name="T20" fmla="*/ 16 w 256"/>
                <a:gd name="T21" fmla="*/ 168 h 256"/>
                <a:gd name="T22" fmla="*/ 88 w 256"/>
                <a:gd name="T23" fmla="*/ 168 h 256"/>
                <a:gd name="T24" fmla="*/ 88 w 256"/>
                <a:gd name="T25" fmla="*/ 240 h 256"/>
                <a:gd name="T26" fmla="*/ 104 w 256"/>
                <a:gd name="T27" fmla="*/ 256 h 256"/>
                <a:gd name="T28" fmla="*/ 152 w 256"/>
                <a:gd name="T29" fmla="*/ 256 h 256"/>
                <a:gd name="T30" fmla="*/ 168 w 256"/>
                <a:gd name="T31" fmla="*/ 240 h 256"/>
                <a:gd name="T32" fmla="*/ 168 w 256"/>
                <a:gd name="T33" fmla="*/ 168 h 256"/>
                <a:gd name="T34" fmla="*/ 240 w 256"/>
                <a:gd name="T35" fmla="*/ 168 h 256"/>
                <a:gd name="T36" fmla="*/ 256 w 256"/>
                <a:gd name="T37" fmla="*/ 152 h 256"/>
                <a:gd name="T38" fmla="*/ 256 w 256"/>
                <a:gd name="T39" fmla="*/ 104 h 256"/>
                <a:gd name="T40" fmla="*/ 240 w 256"/>
                <a:gd name="T41" fmla="*/ 88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56" h="256">
                  <a:moveTo>
                    <a:pt x="240" y="88"/>
                  </a:moveTo>
                  <a:cubicBezTo>
                    <a:pt x="168" y="88"/>
                    <a:pt x="168" y="88"/>
                    <a:pt x="168" y="88"/>
                  </a:cubicBezTo>
                  <a:cubicBezTo>
                    <a:pt x="168" y="16"/>
                    <a:pt x="168" y="16"/>
                    <a:pt x="168" y="16"/>
                  </a:cubicBezTo>
                  <a:cubicBezTo>
                    <a:pt x="168" y="7"/>
                    <a:pt x="161" y="0"/>
                    <a:pt x="152" y="0"/>
                  </a:cubicBezTo>
                  <a:cubicBezTo>
                    <a:pt x="104" y="0"/>
                    <a:pt x="104" y="0"/>
                    <a:pt x="104" y="0"/>
                  </a:cubicBezTo>
                  <a:cubicBezTo>
                    <a:pt x="95" y="0"/>
                    <a:pt x="88" y="7"/>
                    <a:pt x="88" y="16"/>
                  </a:cubicBezTo>
                  <a:cubicBezTo>
                    <a:pt x="88" y="88"/>
                    <a:pt x="88" y="88"/>
                    <a:pt x="88" y="88"/>
                  </a:cubicBezTo>
                  <a:cubicBezTo>
                    <a:pt x="16" y="88"/>
                    <a:pt x="16" y="88"/>
                    <a:pt x="16" y="88"/>
                  </a:cubicBezTo>
                  <a:cubicBezTo>
                    <a:pt x="7" y="88"/>
                    <a:pt x="0" y="95"/>
                    <a:pt x="0" y="104"/>
                  </a:cubicBezTo>
                  <a:cubicBezTo>
                    <a:pt x="0" y="152"/>
                    <a:pt x="0" y="152"/>
                    <a:pt x="0" y="152"/>
                  </a:cubicBezTo>
                  <a:cubicBezTo>
                    <a:pt x="0" y="161"/>
                    <a:pt x="7" y="168"/>
                    <a:pt x="16" y="168"/>
                  </a:cubicBezTo>
                  <a:cubicBezTo>
                    <a:pt x="88" y="168"/>
                    <a:pt x="88" y="168"/>
                    <a:pt x="88" y="168"/>
                  </a:cubicBezTo>
                  <a:cubicBezTo>
                    <a:pt x="88" y="240"/>
                    <a:pt x="88" y="240"/>
                    <a:pt x="88" y="240"/>
                  </a:cubicBezTo>
                  <a:cubicBezTo>
                    <a:pt x="88" y="249"/>
                    <a:pt x="95" y="256"/>
                    <a:pt x="104" y="256"/>
                  </a:cubicBezTo>
                  <a:cubicBezTo>
                    <a:pt x="152" y="256"/>
                    <a:pt x="152" y="256"/>
                    <a:pt x="152" y="256"/>
                  </a:cubicBezTo>
                  <a:cubicBezTo>
                    <a:pt x="161" y="256"/>
                    <a:pt x="168" y="249"/>
                    <a:pt x="168" y="240"/>
                  </a:cubicBezTo>
                  <a:cubicBezTo>
                    <a:pt x="168" y="168"/>
                    <a:pt x="168" y="168"/>
                    <a:pt x="168" y="168"/>
                  </a:cubicBezTo>
                  <a:cubicBezTo>
                    <a:pt x="240" y="168"/>
                    <a:pt x="240" y="168"/>
                    <a:pt x="240" y="168"/>
                  </a:cubicBezTo>
                  <a:cubicBezTo>
                    <a:pt x="249" y="168"/>
                    <a:pt x="256" y="161"/>
                    <a:pt x="256" y="152"/>
                  </a:cubicBezTo>
                  <a:cubicBezTo>
                    <a:pt x="256" y="104"/>
                    <a:pt x="256" y="104"/>
                    <a:pt x="256" y="104"/>
                  </a:cubicBezTo>
                  <a:cubicBezTo>
                    <a:pt x="256" y="95"/>
                    <a:pt x="249" y="88"/>
                    <a:pt x="240" y="88"/>
                  </a:cubicBezTo>
                  <a:close/>
                </a:path>
              </a:pathLst>
            </a:custGeom>
            <a:solidFill>
              <a:schemeClr val="bg1"/>
            </a:solidFill>
            <a:ln>
              <a:noFill/>
            </a:ln>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ysClr val="windowText" lastClr="000000"/>
                </a:solidFill>
                <a:effectLst/>
                <a:uLnTx/>
                <a:uFillTx/>
                <a:latin typeface="Calibri" panose="020F0502020204030204"/>
                <a:ea typeface="宋体" panose="02010600030101010101" pitchFamily="2" charset="-122"/>
              </a:endParaRPr>
            </a:p>
          </p:txBody>
        </p:sp>
      </p:grpSp>
      <p:grpSp>
        <p:nvGrpSpPr>
          <p:cNvPr id="6" name="组合 5"/>
          <p:cNvGrpSpPr/>
          <p:nvPr/>
        </p:nvGrpSpPr>
        <p:grpSpPr>
          <a:xfrm>
            <a:off x="1637819" y="5691736"/>
            <a:ext cx="648072" cy="648072"/>
            <a:chOff x="2068571" y="4294095"/>
            <a:chExt cx="648072" cy="648072"/>
          </a:xfrm>
          <a:effectLst>
            <a:outerShdw blurRad="50800" dist="38100" dir="2700000" algn="tl" rotWithShape="0">
              <a:prstClr val="black">
                <a:alpha val="40000"/>
              </a:prstClr>
            </a:outerShdw>
          </a:effectLst>
        </p:grpSpPr>
        <p:sp>
          <p:nvSpPr>
            <p:cNvPr id="21" name="圆角矩形 20"/>
            <p:cNvSpPr/>
            <p:nvPr/>
          </p:nvSpPr>
          <p:spPr>
            <a:xfrm>
              <a:off x="2068571" y="4294095"/>
              <a:ext cx="648072" cy="648072"/>
            </a:xfrm>
            <a:prstGeom prst="roundRect">
              <a:avLst/>
            </a:prstGeom>
            <a:no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bg1"/>
                </a:solidFill>
              </a:endParaRPr>
            </a:p>
          </p:txBody>
        </p:sp>
        <p:sp>
          <p:nvSpPr>
            <p:cNvPr id="23" name="Freeform 50"/>
            <p:cNvSpPr>
              <a:spLocks noEditPoints="1"/>
            </p:cNvSpPr>
            <p:nvPr/>
          </p:nvSpPr>
          <p:spPr bwMode="auto">
            <a:xfrm flipH="1">
              <a:off x="2190162" y="4453451"/>
              <a:ext cx="411930" cy="329360"/>
            </a:xfrm>
            <a:custGeom>
              <a:avLst/>
              <a:gdLst>
                <a:gd name="T0" fmla="*/ 0 w 208"/>
                <a:gd name="T1" fmla="*/ 168 h 184"/>
                <a:gd name="T2" fmla="*/ 16 w 208"/>
                <a:gd name="T3" fmla="*/ 184 h 184"/>
                <a:gd name="T4" fmla="*/ 192 w 208"/>
                <a:gd name="T5" fmla="*/ 184 h 184"/>
                <a:gd name="T6" fmla="*/ 208 w 208"/>
                <a:gd name="T7" fmla="*/ 168 h 184"/>
                <a:gd name="T8" fmla="*/ 208 w 208"/>
                <a:gd name="T9" fmla="*/ 0 h 184"/>
                <a:gd name="T10" fmla="*/ 0 w 208"/>
                <a:gd name="T11" fmla="*/ 0 h 184"/>
                <a:gd name="T12" fmla="*/ 0 w 208"/>
                <a:gd name="T13" fmla="*/ 168 h 184"/>
                <a:gd name="T14" fmla="*/ 160 w 208"/>
                <a:gd name="T15" fmla="*/ 16 h 184"/>
                <a:gd name="T16" fmla="*/ 176 w 208"/>
                <a:gd name="T17" fmla="*/ 16 h 184"/>
                <a:gd name="T18" fmla="*/ 176 w 208"/>
                <a:gd name="T19" fmla="*/ 152 h 184"/>
                <a:gd name="T20" fmla="*/ 160 w 208"/>
                <a:gd name="T21" fmla="*/ 152 h 184"/>
                <a:gd name="T22" fmla="*/ 160 w 208"/>
                <a:gd name="T23" fmla="*/ 16 h 184"/>
                <a:gd name="T24" fmla="*/ 128 w 208"/>
                <a:gd name="T25" fmla="*/ 16 h 184"/>
                <a:gd name="T26" fmla="*/ 144 w 208"/>
                <a:gd name="T27" fmla="*/ 16 h 184"/>
                <a:gd name="T28" fmla="*/ 144 w 208"/>
                <a:gd name="T29" fmla="*/ 152 h 184"/>
                <a:gd name="T30" fmla="*/ 128 w 208"/>
                <a:gd name="T31" fmla="*/ 152 h 184"/>
                <a:gd name="T32" fmla="*/ 128 w 208"/>
                <a:gd name="T33" fmla="*/ 16 h 184"/>
                <a:gd name="T34" fmla="*/ 96 w 208"/>
                <a:gd name="T35" fmla="*/ 16 h 184"/>
                <a:gd name="T36" fmla="*/ 112 w 208"/>
                <a:gd name="T37" fmla="*/ 16 h 184"/>
                <a:gd name="T38" fmla="*/ 112 w 208"/>
                <a:gd name="T39" fmla="*/ 152 h 184"/>
                <a:gd name="T40" fmla="*/ 96 w 208"/>
                <a:gd name="T41" fmla="*/ 152 h 184"/>
                <a:gd name="T42" fmla="*/ 96 w 208"/>
                <a:gd name="T43" fmla="*/ 16 h 184"/>
                <a:gd name="T44" fmla="*/ 64 w 208"/>
                <a:gd name="T45" fmla="*/ 16 h 184"/>
                <a:gd name="T46" fmla="*/ 80 w 208"/>
                <a:gd name="T47" fmla="*/ 16 h 184"/>
                <a:gd name="T48" fmla="*/ 80 w 208"/>
                <a:gd name="T49" fmla="*/ 152 h 184"/>
                <a:gd name="T50" fmla="*/ 64 w 208"/>
                <a:gd name="T51" fmla="*/ 152 h 184"/>
                <a:gd name="T52" fmla="*/ 64 w 208"/>
                <a:gd name="T53" fmla="*/ 16 h 184"/>
                <a:gd name="T54" fmla="*/ 32 w 208"/>
                <a:gd name="T55" fmla="*/ 16 h 184"/>
                <a:gd name="T56" fmla="*/ 48 w 208"/>
                <a:gd name="T57" fmla="*/ 16 h 184"/>
                <a:gd name="T58" fmla="*/ 48 w 208"/>
                <a:gd name="T59" fmla="*/ 152 h 184"/>
                <a:gd name="T60" fmla="*/ 32 w 208"/>
                <a:gd name="T61" fmla="*/ 152 h 184"/>
                <a:gd name="T62" fmla="*/ 32 w 208"/>
                <a:gd name="T63" fmla="*/ 16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08" h="184">
                  <a:moveTo>
                    <a:pt x="0" y="168"/>
                  </a:moveTo>
                  <a:cubicBezTo>
                    <a:pt x="0" y="177"/>
                    <a:pt x="7" y="184"/>
                    <a:pt x="16" y="184"/>
                  </a:cubicBezTo>
                  <a:cubicBezTo>
                    <a:pt x="192" y="184"/>
                    <a:pt x="192" y="184"/>
                    <a:pt x="192" y="184"/>
                  </a:cubicBezTo>
                  <a:cubicBezTo>
                    <a:pt x="201" y="184"/>
                    <a:pt x="208" y="177"/>
                    <a:pt x="208" y="168"/>
                  </a:cubicBezTo>
                  <a:cubicBezTo>
                    <a:pt x="208" y="0"/>
                    <a:pt x="208" y="0"/>
                    <a:pt x="208" y="0"/>
                  </a:cubicBezTo>
                  <a:cubicBezTo>
                    <a:pt x="0" y="0"/>
                    <a:pt x="0" y="0"/>
                    <a:pt x="0" y="0"/>
                  </a:cubicBezTo>
                  <a:lnTo>
                    <a:pt x="0" y="168"/>
                  </a:lnTo>
                  <a:close/>
                  <a:moveTo>
                    <a:pt x="160" y="16"/>
                  </a:moveTo>
                  <a:cubicBezTo>
                    <a:pt x="176" y="16"/>
                    <a:pt x="176" y="16"/>
                    <a:pt x="176" y="16"/>
                  </a:cubicBezTo>
                  <a:cubicBezTo>
                    <a:pt x="176" y="152"/>
                    <a:pt x="176" y="152"/>
                    <a:pt x="176" y="152"/>
                  </a:cubicBezTo>
                  <a:cubicBezTo>
                    <a:pt x="160" y="152"/>
                    <a:pt x="160" y="152"/>
                    <a:pt x="160" y="152"/>
                  </a:cubicBezTo>
                  <a:lnTo>
                    <a:pt x="160" y="16"/>
                  </a:lnTo>
                  <a:close/>
                  <a:moveTo>
                    <a:pt x="128" y="16"/>
                  </a:moveTo>
                  <a:cubicBezTo>
                    <a:pt x="144" y="16"/>
                    <a:pt x="144" y="16"/>
                    <a:pt x="144" y="16"/>
                  </a:cubicBezTo>
                  <a:cubicBezTo>
                    <a:pt x="144" y="152"/>
                    <a:pt x="144" y="152"/>
                    <a:pt x="144" y="152"/>
                  </a:cubicBezTo>
                  <a:cubicBezTo>
                    <a:pt x="128" y="152"/>
                    <a:pt x="128" y="152"/>
                    <a:pt x="128" y="152"/>
                  </a:cubicBezTo>
                  <a:lnTo>
                    <a:pt x="128" y="16"/>
                  </a:lnTo>
                  <a:close/>
                  <a:moveTo>
                    <a:pt x="96" y="16"/>
                  </a:moveTo>
                  <a:cubicBezTo>
                    <a:pt x="112" y="16"/>
                    <a:pt x="112" y="16"/>
                    <a:pt x="112" y="16"/>
                  </a:cubicBezTo>
                  <a:cubicBezTo>
                    <a:pt x="112" y="152"/>
                    <a:pt x="112" y="152"/>
                    <a:pt x="112" y="152"/>
                  </a:cubicBezTo>
                  <a:cubicBezTo>
                    <a:pt x="96" y="152"/>
                    <a:pt x="96" y="152"/>
                    <a:pt x="96" y="152"/>
                  </a:cubicBezTo>
                  <a:lnTo>
                    <a:pt x="96" y="16"/>
                  </a:lnTo>
                  <a:close/>
                  <a:moveTo>
                    <a:pt x="64" y="16"/>
                  </a:moveTo>
                  <a:cubicBezTo>
                    <a:pt x="80" y="16"/>
                    <a:pt x="80" y="16"/>
                    <a:pt x="80" y="16"/>
                  </a:cubicBezTo>
                  <a:cubicBezTo>
                    <a:pt x="80" y="152"/>
                    <a:pt x="80" y="152"/>
                    <a:pt x="80" y="152"/>
                  </a:cubicBezTo>
                  <a:cubicBezTo>
                    <a:pt x="64" y="152"/>
                    <a:pt x="64" y="152"/>
                    <a:pt x="64" y="152"/>
                  </a:cubicBezTo>
                  <a:lnTo>
                    <a:pt x="64" y="16"/>
                  </a:lnTo>
                  <a:close/>
                  <a:moveTo>
                    <a:pt x="32" y="16"/>
                  </a:moveTo>
                  <a:cubicBezTo>
                    <a:pt x="48" y="16"/>
                    <a:pt x="48" y="16"/>
                    <a:pt x="48" y="16"/>
                  </a:cubicBezTo>
                  <a:cubicBezTo>
                    <a:pt x="48" y="152"/>
                    <a:pt x="48" y="152"/>
                    <a:pt x="48" y="152"/>
                  </a:cubicBezTo>
                  <a:cubicBezTo>
                    <a:pt x="32" y="152"/>
                    <a:pt x="32" y="152"/>
                    <a:pt x="32" y="152"/>
                  </a:cubicBezTo>
                  <a:lnTo>
                    <a:pt x="32" y="16"/>
                  </a:lnTo>
                  <a:close/>
                </a:path>
              </a:pathLst>
            </a:custGeom>
            <a:solidFill>
              <a:schemeClr val="bg1"/>
            </a:solidFill>
            <a:ln>
              <a:noFill/>
            </a:ln>
          </p:spPr>
          <p:txBody>
            <a:bodyPr vert="horz" wrap="square" lIns="91440" tIns="45720" rIns="91440" bIns="45720" numCol="1" anchor="t" anchorCtr="0" compatLnSpc="1"/>
            <a:lstStyle/>
            <a:p>
              <a:endParaRPr lang="zh-CN" altLang="en-US">
                <a:solidFill>
                  <a:sysClr val="windowText" lastClr="000000"/>
                </a:solidFill>
                <a:latin typeface="Calibri" panose="020F0502020204030204"/>
                <a:ea typeface="宋体" panose="02010600030101010101" pitchFamily="2" charset="-122"/>
              </a:endParaRPr>
            </a:p>
          </p:txBody>
        </p:sp>
      </p:grpSp>
      <p:sp>
        <p:nvSpPr>
          <p:cNvPr id="27" name="TextBox 26"/>
          <p:cNvSpPr txBox="1"/>
          <p:nvPr/>
        </p:nvSpPr>
        <p:spPr>
          <a:xfrm>
            <a:off x="2393492" y="4323584"/>
            <a:ext cx="1951812" cy="400110"/>
          </a:xfrm>
          <a:prstGeom prst="rect">
            <a:avLst/>
          </a:prstGeom>
          <a:noFill/>
        </p:spPr>
        <p:txBody>
          <a:bodyPr wrap="square" rtlCol="0">
            <a:spAutoFit/>
          </a:bodyPr>
          <a:lstStyle/>
          <a:p>
            <a:r>
              <a:rPr lang="zh-CN" altLang="en-US" sz="2000" smtClean="0">
                <a:solidFill>
                  <a:schemeClr val="bg1"/>
                </a:solidFill>
                <a:latin typeface="华文黑体" pitchFamily="2" charset="-122"/>
                <a:ea typeface="华文黑体" pitchFamily="2" charset="-122"/>
                <a:cs typeface="华文黑体" pitchFamily="2" charset="-122"/>
              </a:rPr>
              <a:t>单击添加标题</a:t>
            </a:r>
            <a:endParaRPr lang="zh-CN" altLang="en-US" sz="2000">
              <a:solidFill>
                <a:schemeClr val="bg1"/>
              </a:solidFill>
              <a:latin typeface="华文细黑" panose="02010600040101010101" pitchFamily="2" charset="-122"/>
              <a:ea typeface="华文细黑" panose="02010600040101010101" pitchFamily="2" charset="-122"/>
              <a:cs typeface="华文黑体" pitchFamily="2" charset="-122"/>
            </a:endParaRPr>
          </a:p>
        </p:txBody>
      </p:sp>
      <p:sp>
        <p:nvSpPr>
          <p:cNvPr id="28" name="TextBox 27"/>
          <p:cNvSpPr txBox="1"/>
          <p:nvPr/>
        </p:nvSpPr>
        <p:spPr>
          <a:xfrm>
            <a:off x="2416791" y="4710046"/>
            <a:ext cx="3390383" cy="523220"/>
          </a:xfrm>
          <a:prstGeom prst="rect">
            <a:avLst/>
          </a:prstGeom>
          <a:noFill/>
        </p:spPr>
        <p:txBody>
          <a:bodyPr wrap="square" rtlCol="0">
            <a:spAutoFit/>
          </a:bodyPr>
          <a:lstStyle/>
          <a:p>
            <a:r>
              <a:rPr lang="zh-CN" altLang="en-US" sz="1400" dirty="0" smtClean="0">
                <a:solidFill>
                  <a:schemeClr val="bg1"/>
                </a:solidFill>
                <a:latin typeface="华文细黑" panose="02010600040101010101" pitchFamily="2" charset="-122"/>
                <a:ea typeface="华文细黑" panose="02010600040101010101" pitchFamily="2" charset="-122"/>
                <a:cs typeface="华文黑体" pitchFamily="2" charset="-122"/>
              </a:rPr>
              <a:t>单击添加文本单击添加文本单击添加文本单击添加文本单击</a:t>
            </a:r>
            <a:r>
              <a:rPr lang="zh-CN" altLang="en-US" sz="1400" dirty="0">
                <a:solidFill>
                  <a:schemeClr val="bg1"/>
                </a:solidFill>
                <a:latin typeface="华文细黑" panose="02010600040101010101" pitchFamily="2" charset="-122"/>
                <a:ea typeface="华文细黑" panose="02010600040101010101" pitchFamily="2" charset="-122"/>
                <a:cs typeface="华文黑体" pitchFamily="2" charset="-122"/>
              </a:rPr>
              <a:t>添加</a:t>
            </a:r>
            <a:r>
              <a:rPr lang="zh-CN" altLang="en-US" sz="1400" dirty="0" smtClean="0">
                <a:solidFill>
                  <a:schemeClr val="bg1"/>
                </a:solidFill>
                <a:latin typeface="华文细黑" panose="02010600040101010101" pitchFamily="2" charset="-122"/>
                <a:ea typeface="华文细黑" panose="02010600040101010101" pitchFamily="2" charset="-122"/>
                <a:cs typeface="华文黑体" pitchFamily="2" charset="-122"/>
              </a:rPr>
              <a:t>文本</a:t>
            </a:r>
            <a:endParaRPr lang="zh-CN" altLang="en-US" sz="1400" dirty="0">
              <a:solidFill>
                <a:schemeClr val="bg1"/>
              </a:solidFill>
              <a:latin typeface="华文细黑" panose="02010600040101010101" pitchFamily="2" charset="-122"/>
              <a:ea typeface="华文细黑" panose="02010600040101010101" pitchFamily="2" charset="-122"/>
              <a:cs typeface="华文黑体" pitchFamily="2" charset="-122"/>
            </a:endParaRPr>
          </a:p>
        </p:txBody>
      </p:sp>
      <p:sp>
        <p:nvSpPr>
          <p:cNvPr id="29" name="TextBox 28"/>
          <p:cNvSpPr txBox="1"/>
          <p:nvPr/>
        </p:nvSpPr>
        <p:spPr>
          <a:xfrm>
            <a:off x="7343464" y="4323584"/>
            <a:ext cx="1951812" cy="400110"/>
          </a:xfrm>
          <a:prstGeom prst="rect">
            <a:avLst/>
          </a:prstGeom>
          <a:noFill/>
        </p:spPr>
        <p:txBody>
          <a:bodyPr wrap="square" rtlCol="0">
            <a:spAutoFit/>
          </a:bodyPr>
          <a:lstStyle/>
          <a:p>
            <a:r>
              <a:rPr lang="zh-CN" altLang="en-US" sz="2000" smtClean="0">
                <a:solidFill>
                  <a:schemeClr val="bg1"/>
                </a:solidFill>
                <a:latin typeface="华文黑体" pitchFamily="2" charset="-122"/>
                <a:ea typeface="华文黑体" pitchFamily="2" charset="-122"/>
                <a:cs typeface="华文黑体" pitchFamily="2" charset="-122"/>
              </a:rPr>
              <a:t>单击添加标题</a:t>
            </a:r>
            <a:endParaRPr lang="zh-CN" altLang="en-US" sz="2000">
              <a:solidFill>
                <a:schemeClr val="bg1"/>
              </a:solidFill>
              <a:latin typeface="华文细黑" panose="02010600040101010101" pitchFamily="2" charset="-122"/>
              <a:ea typeface="华文细黑" panose="02010600040101010101" pitchFamily="2" charset="-122"/>
              <a:cs typeface="华文黑体" pitchFamily="2" charset="-122"/>
            </a:endParaRPr>
          </a:p>
        </p:txBody>
      </p:sp>
      <p:sp>
        <p:nvSpPr>
          <p:cNvPr id="30" name="TextBox 29"/>
          <p:cNvSpPr txBox="1"/>
          <p:nvPr/>
        </p:nvSpPr>
        <p:spPr>
          <a:xfrm>
            <a:off x="7366763" y="4710046"/>
            <a:ext cx="3390383" cy="523220"/>
          </a:xfrm>
          <a:prstGeom prst="rect">
            <a:avLst/>
          </a:prstGeom>
          <a:noFill/>
        </p:spPr>
        <p:txBody>
          <a:bodyPr wrap="square" rtlCol="0">
            <a:spAutoFit/>
          </a:bodyPr>
          <a:lstStyle/>
          <a:p>
            <a:r>
              <a:rPr lang="zh-CN" altLang="en-US" sz="1400" smtClean="0">
                <a:solidFill>
                  <a:schemeClr val="bg1"/>
                </a:solidFill>
                <a:latin typeface="华文细黑" panose="02010600040101010101" pitchFamily="2" charset="-122"/>
                <a:ea typeface="华文细黑" panose="02010600040101010101" pitchFamily="2" charset="-122"/>
                <a:cs typeface="华文黑体" pitchFamily="2" charset="-122"/>
              </a:rPr>
              <a:t>单击添加文本单击添加文本单击添加文本单击添加文本单击</a:t>
            </a:r>
            <a:r>
              <a:rPr lang="zh-CN" altLang="en-US" sz="1400">
                <a:solidFill>
                  <a:schemeClr val="bg1"/>
                </a:solidFill>
                <a:latin typeface="华文细黑" panose="02010600040101010101" pitchFamily="2" charset="-122"/>
                <a:ea typeface="华文细黑" panose="02010600040101010101" pitchFamily="2" charset="-122"/>
                <a:cs typeface="华文黑体" pitchFamily="2" charset="-122"/>
              </a:rPr>
              <a:t>添加</a:t>
            </a:r>
            <a:r>
              <a:rPr lang="zh-CN" altLang="en-US" sz="1400" smtClean="0">
                <a:solidFill>
                  <a:schemeClr val="bg1"/>
                </a:solidFill>
                <a:latin typeface="华文细黑" panose="02010600040101010101" pitchFamily="2" charset="-122"/>
                <a:ea typeface="华文细黑" panose="02010600040101010101" pitchFamily="2" charset="-122"/>
                <a:cs typeface="华文黑体" pitchFamily="2" charset="-122"/>
              </a:rPr>
              <a:t>文本</a:t>
            </a:r>
            <a:endParaRPr lang="zh-CN" altLang="en-US" sz="1400">
              <a:solidFill>
                <a:schemeClr val="bg1"/>
              </a:solidFill>
              <a:latin typeface="华文细黑" panose="02010600040101010101" pitchFamily="2" charset="-122"/>
              <a:ea typeface="华文细黑" panose="02010600040101010101" pitchFamily="2" charset="-122"/>
              <a:cs typeface="华文黑体" pitchFamily="2" charset="-122"/>
            </a:endParaRPr>
          </a:p>
        </p:txBody>
      </p:sp>
      <p:sp>
        <p:nvSpPr>
          <p:cNvPr id="37" name="TextBox 36"/>
          <p:cNvSpPr txBox="1"/>
          <p:nvPr/>
        </p:nvSpPr>
        <p:spPr>
          <a:xfrm>
            <a:off x="2393492" y="5615662"/>
            <a:ext cx="1951812" cy="400110"/>
          </a:xfrm>
          <a:prstGeom prst="rect">
            <a:avLst/>
          </a:prstGeom>
          <a:noFill/>
        </p:spPr>
        <p:txBody>
          <a:bodyPr wrap="square" rtlCol="0">
            <a:spAutoFit/>
          </a:bodyPr>
          <a:lstStyle/>
          <a:p>
            <a:r>
              <a:rPr lang="zh-CN" altLang="en-US" sz="2000" smtClean="0">
                <a:solidFill>
                  <a:schemeClr val="bg1"/>
                </a:solidFill>
                <a:latin typeface="华文黑体" pitchFamily="2" charset="-122"/>
                <a:ea typeface="华文黑体" pitchFamily="2" charset="-122"/>
                <a:cs typeface="华文黑体" pitchFamily="2" charset="-122"/>
              </a:rPr>
              <a:t>单击添加标题</a:t>
            </a:r>
            <a:endParaRPr lang="zh-CN" altLang="en-US" sz="2000">
              <a:solidFill>
                <a:schemeClr val="bg1"/>
              </a:solidFill>
              <a:latin typeface="华文细黑" panose="02010600040101010101" pitchFamily="2" charset="-122"/>
              <a:ea typeface="华文细黑" panose="02010600040101010101" pitchFamily="2" charset="-122"/>
              <a:cs typeface="华文黑体" pitchFamily="2" charset="-122"/>
            </a:endParaRPr>
          </a:p>
        </p:txBody>
      </p:sp>
      <p:sp>
        <p:nvSpPr>
          <p:cNvPr id="38" name="TextBox 37"/>
          <p:cNvSpPr txBox="1"/>
          <p:nvPr/>
        </p:nvSpPr>
        <p:spPr>
          <a:xfrm>
            <a:off x="2416791" y="6002124"/>
            <a:ext cx="3390383" cy="523220"/>
          </a:xfrm>
          <a:prstGeom prst="rect">
            <a:avLst/>
          </a:prstGeom>
          <a:noFill/>
        </p:spPr>
        <p:txBody>
          <a:bodyPr wrap="square" rtlCol="0">
            <a:spAutoFit/>
          </a:bodyPr>
          <a:lstStyle/>
          <a:p>
            <a:r>
              <a:rPr lang="zh-CN" altLang="en-US" sz="1400" smtClean="0">
                <a:solidFill>
                  <a:schemeClr val="bg1"/>
                </a:solidFill>
                <a:latin typeface="华文细黑" panose="02010600040101010101" pitchFamily="2" charset="-122"/>
                <a:ea typeface="华文细黑" panose="02010600040101010101" pitchFamily="2" charset="-122"/>
                <a:cs typeface="华文黑体" pitchFamily="2" charset="-122"/>
              </a:rPr>
              <a:t>单击添加文本单击添加文本单击添加文本单击添加文本单击</a:t>
            </a:r>
            <a:r>
              <a:rPr lang="zh-CN" altLang="en-US" sz="1400">
                <a:solidFill>
                  <a:schemeClr val="bg1"/>
                </a:solidFill>
                <a:latin typeface="华文细黑" panose="02010600040101010101" pitchFamily="2" charset="-122"/>
                <a:ea typeface="华文细黑" panose="02010600040101010101" pitchFamily="2" charset="-122"/>
                <a:cs typeface="华文黑体" pitchFamily="2" charset="-122"/>
              </a:rPr>
              <a:t>添加</a:t>
            </a:r>
            <a:r>
              <a:rPr lang="zh-CN" altLang="en-US" sz="1400" smtClean="0">
                <a:solidFill>
                  <a:schemeClr val="bg1"/>
                </a:solidFill>
                <a:latin typeface="华文细黑" panose="02010600040101010101" pitchFamily="2" charset="-122"/>
                <a:ea typeface="华文细黑" panose="02010600040101010101" pitchFamily="2" charset="-122"/>
                <a:cs typeface="华文黑体" pitchFamily="2" charset="-122"/>
              </a:rPr>
              <a:t>文本</a:t>
            </a:r>
            <a:endParaRPr lang="zh-CN" altLang="en-US" sz="1400">
              <a:solidFill>
                <a:schemeClr val="bg1"/>
              </a:solidFill>
              <a:latin typeface="华文细黑" panose="02010600040101010101" pitchFamily="2" charset="-122"/>
              <a:ea typeface="华文细黑" panose="02010600040101010101" pitchFamily="2" charset="-122"/>
              <a:cs typeface="华文黑体" pitchFamily="2" charset="-122"/>
            </a:endParaRPr>
          </a:p>
        </p:txBody>
      </p:sp>
      <p:sp>
        <p:nvSpPr>
          <p:cNvPr id="39" name="TextBox 38"/>
          <p:cNvSpPr txBox="1"/>
          <p:nvPr/>
        </p:nvSpPr>
        <p:spPr>
          <a:xfrm>
            <a:off x="7343464" y="5615662"/>
            <a:ext cx="1951812" cy="400110"/>
          </a:xfrm>
          <a:prstGeom prst="rect">
            <a:avLst/>
          </a:prstGeom>
          <a:noFill/>
        </p:spPr>
        <p:txBody>
          <a:bodyPr wrap="square" rtlCol="0">
            <a:spAutoFit/>
          </a:bodyPr>
          <a:lstStyle/>
          <a:p>
            <a:r>
              <a:rPr lang="zh-CN" altLang="en-US" sz="2000" smtClean="0">
                <a:solidFill>
                  <a:schemeClr val="bg1"/>
                </a:solidFill>
                <a:latin typeface="华文黑体" pitchFamily="2" charset="-122"/>
                <a:ea typeface="华文黑体" pitchFamily="2" charset="-122"/>
                <a:cs typeface="华文黑体" pitchFamily="2" charset="-122"/>
              </a:rPr>
              <a:t>单击添加标题</a:t>
            </a:r>
            <a:endParaRPr lang="zh-CN" altLang="en-US" sz="2000">
              <a:solidFill>
                <a:schemeClr val="bg1"/>
              </a:solidFill>
              <a:latin typeface="华文细黑" panose="02010600040101010101" pitchFamily="2" charset="-122"/>
              <a:ea typeface="华文细黑" panose="02010600040101010101" pitchFamily="2" charset="-122"/>
              <a:cs typeface="华文黑体" pitchFamily="2" charset="-122"/>
            </a:endParaRPr>
          </a:p>
        </p:txBody>
      </p:sp>
      <p:sp>
        <p:nvSpPr>
          <p:cNvPr id="40" name="TextBox 39"/>
          <p:cNvSpPr txBox="1"/>
          <p:nvPr/>
        </p:nvSpPr>
        <p:spPr>
          <a:xfrm>
            <a:off x="7366763" y="6002124"/>
            <a:ext cx="3390383" cy="523220"/>
          </a:xfrm>
          <a:prstGeom prst="rect">
            <a:avLst/>
          </a:prstGeom>
          <a:noFill/>
        </p:spPr>
        <p:txBody>
          <a:bodyPr wrap="square" rtlCol="0">
            <a:spAutoFit/>
          </a:bodyPr>
          <a:lstStyle/>
          <a:p>
            <a:r>
              <a:rPr lang="zh-CN" altLang="en-US" sz="1400" smtClean="0">
                <a:solidFill>
                  <a:schemeClr val="bg1"/>
                </a:solidFill>
                <a:latin typeface="华文细黑" panose="02010600040101010101" pitchFamily="2" charset="-122"/>
                <a:ea typeface="华文细黑" panose="02010600040101010101" pitchFamily="2" charset="-122"/>
                <a:cs typeface="华文黑体" pitchFamily="2" charset="-122"/>
              </a:rPr>
              <a:t>单击添加文本单击添加文本单击添加文本单击添加文本单击</a:t>
            </a:r>
            <a:r>
              <a:rPr lang="zh-CN" altLang="en-US" sz="1400">
                <a:solidFill>
                  <a:schemeClr val="bg1"/>
                </a:solidFill>
                <a:latin typeface="华文细黑" panose="02010600040101010101" pitchFamily="2" charset="-122"/>
                <a:ea typeface="华文细黑" panose="02010600040101010101" pitchFamily="2" charset="-122"/>
                <a:cs typeface="华文黑体" pitchFamily="2" charset="-122"/>
              </a:rPr>
              <a:t>添加</a:t>
            </a:r>
            <a:r>
              <a:rPr lang="zh-CN" altLang="en-US" sz="1400" smtClean="0">
                <a:solidFill>
                  <a:schemeClr val="bg1"/>
                </a:solidFill>
                <a:latin typeface="华文细黑" panose="02010600040101010101" pitchFamily="2" charset="-122"/>
                <a:ea typeface="华文细黑" panose="02010600040101010101" pitchFamily="2" charset="-122"/>
                <a:cs typeface="华文黑体" pitchFamily="2" charset="-122"/>
              </a:rPr>
              <a:t>文本</a:t>
            </a:r>
            <a:endParaRPr lang="zh-CN" altLang="en-US" sz="1400">
              <a:solidFill>
                <a:schemeClr val="bg1"/>
              </a:solidFill>
              <a:latin typeface="华文细黑" panose="02010600040101010101" pitchFamily="2" charset="-122"/>
              <a:ea typeface="华文细黑" panose="02010600040101010101" pitchFamily="2" charset="-122"/>
              <a:cs typeface="华文黑体" pitchFamily="2" charset="-122"/>
            </a:endParaRPr>
          </a:p>
        </p:txBody>
      </p:sp>
      <p:pic>
        <p:nvPicPr>
          <p:cNvPr id="6146" name="Picture 2" descr="D:\360data\重要数据\桌面\6bca7b480729fbd7df2fb3bcbd04e067.jpg"/>
          <p:cNvPicPr>
            <a:picLocks noChangeAspect="1" noChangeArrowheads="1"/>
          </p:cNvPicPr>
          <p:nvPr/>
        </p:nvPicPr>
        <p:blipFill>
          <a:blip r:embed="rId1" cstate="print">
            <a:extLst>
              <a:ext uri="{28A0092B-C50C-407E-A947-70E740481C1C}">
                <a14:useLocalDpi xmlns:a14="http://schemas.microsoft.com/office/drawing/2010/main" val="0"/>
              </a:ext>
            </a:extLst>
          </a:blip>
          <a:srcRect/>
          <a:stretch>
            <a:fillRect/>
          </a:stretch>
        </p:blipFill>
        <p:spPr bwMode="auto">
          <a:xfrm>
            <a:off x="1623812" y="1309547"/>
            <a:ext cx="3751314" cy="2663433"/>
          </a:xfrm>
          <a:prstGeom prst="rect">
            <a:avLst/>
          </a:prstGeom>
          <a:noFill/>
          <a:ln w="12700">
            <a:solidFill>
              <a:srgbClr val="FF781D"/>
            </a:solidFill>
          </a:ln>
          <a:extLst>
            <a:ext uri="{909E8E84-426E-40DD-AFC4-6F175D3DCCD1}">
              <a14:hiddenFill xmlns:a14="http://schemas.microsoft.com/office/drawing/2010/main">
                <a:solidFill>
                  <a:srgbClr val="FFFFFF"/>
                </a:solidFill>
              </a14:hiddenFill>
            </a:ext>
          </a:extLst>
        </p:spPr>
      </p:pic>
      <p:sp>
        <p:nvSpPr>
          <p:cNvPr id="41" name="TextBox 40"/>
          <p:cNvSpPr txBox="1"/>
          <p:nvPr/>
        </p:nvSpPr>
        <p:spPr>
          <a:xfrm>
            <a:off x="5943594" y="1390417"/>
            <a:ext cx="1951812" cy="400110"/>
          </a:xfrm>
          <a:prstGeom prst="rect">
            <a:avLst/>
          </a:prstGeom>
          <a:noFill/>
        </p:spPr>
        <p:txBody>
          <a:bodyPr wrap="square" rtlCol="0">
            <a:spAutoFit/>
          </a:bodyPr>
          <a:lstStyle/>
          <a:p>
            <a:r>
              <a:rPr lang="zh-CN" altLang="en-US" sz="2000" smtClean="0">
                <a:solidFill>
                  <a:schemeClr val="bg1"/>
                </a:solidFill>
                <a:latin typeface="华文黑体" pitchFamily="2" charset="-122"/>
                <a:ea typeface="华文黑体" pitchFamily="2" charset="-122"/>
                <a:cs typeface="华文黑体" pitchFamily="2" charset="-122"/>
              </a:rPr>
              <a:t>单击添加标题</a:t>
            </a:r>
            <a:endParaRPr lang="zh-CN" altLang="en-US" sz="2000">
              <a:solidFill>
                <a:schemeClr val="bg1"/>
              </a:solidFill>
              <a:latin typeface="华文细黑" panose="02010600040101010101" pitchFamily="2" charset="-122"/>
              <a:ea typeface="华文细黑" panose="02010600040101010101" pitchFamily="2" charset="-122"/>
              <a:cs typeface="华文黑体" pitchFamily="2" charset="-122"/>
            </a:endParaRPr>
          </a:p>
        </p:txBody>
      </p:sp>
      <p:sp>
        <p:nvSpPr>
          <p:cNvPr id="42" name="TextBox 41"/>
          <p:cNvSpPr txBox="1"/>
          <p:nvPr/>
        </p:nvSpPr>
        <p:spPr>
          <a:xfrm>
            <a:off x="5966893" y="1848887"/>
            <a:ext cx="4664817" cy="1508105"/>
          </a:xfrm>
          <a:prstGeom prst="rect">
            <a:avLst/>
          </a:prstGeom>
          <a:noFill/>
        </p:spPr>
        <p:txBody>
          <a:bodyPr wrap="square" rtlCol="0">
            <a:spAutoFit/>
          </a:bodyPr>
          <a:lstStyle/>
          <a:p>
            <a:r>
              <a:rPr lang="zh-CN" altLang="en-US" sz="1400" smtClean="0">
                <a:solidFill>
                  <a:schemeClr val="bg1"/>
                </a:solidFill>
                <a:latin typeface="华文细黑" panose="02010600040101010101" pitchFamily="2" charset="-122"/>
                <a:ea typeface="华文细黑" panose="02010600040101010101" pitchFamily="2" charset="-122"/>
                <a:cs typeface="华文黑体" pitchFamily="2" charset="-122"/>
              </a:rPr>
              <a:t>单击添加文本单击添加文本单击添加文本单击添加文本单击</a:t>
            </a:r>
            <a:r>
              <a:rPr lang="zh-CN" altLang="en-US" sz="1400">
                <a:solidFill>
                  <a:schemeClr val="bg1"/>
                </a:solidFill>
                <a:latin typeface="华文细黑" panose="02010600040101010101" pitchFamily="2" charset="-122"/>
                <a:ea typeface="华文细黑" panose="02010600040101010101" pitchFamily="2" charset="-122"/>
                <a:cs typeface="华文黑体" pitchFamily="2" charset="-122"/>
              </a:rPr>
              <a:t>添加文本单击添加文本单击添加文本单击添加文本单击添加文本单击添加</a:t>
            </a:r>
            <a:r>
              <a:rPr lang="zh-CN" altLang="en-US" sz="1400" smtClean="0">
                <a:solidFill>
                  <a:schemeClr val="bg1"/>
                </a:solidFill>
                <a:latin typeface="华文细黑" panose="02010600040101010101" pitchFamily="2" charset="-122"/>
                <a:ea typeface="华文细黑" panose="02010600040101010101" pitchFamily="2" charset="-122"/>
                <a:cs typeface="华文黑体" pitchFamily="2" charset="-122"/>
              </a:rPr>
              <a:t>文本</a:t>
            </a:r>
            <a:r>
              <a:rPr lang="zh-CN" altLang="en-US" sz="1400">
                <a:solidFill>
                  <a:schemeClr val="bg1"/>
                </a:solidFill>
                <a:latin typeface="华文细黑" panose="02010600040101010101" pitchFamily="2" charset="-122"/>
                <a:ea typeface="华文细黑" panose="02010600040101010101" pitchFamily="2" charset="-122"/>
                <a:cs typeface="华文黑体" pitchFamily="2" charset="-122"/>
              </a:rPr>
              <a:t>单击添加文本</a:t>
            </a:r>
            <a:r>
              <a:rPr lang="zh-CN" altLang="en-US" sz="1400" smtClean="0">
                <a:solidFill>
                  <a:schemeClr val="bg1"/>
                </a:solidFill>
                <a:latin typeface="华文细黑" panose="02010600040101010101" pitchFamily="2" charset="-122"/>
                <a:ea typeface="华文细黑" panose="02010600040101010101" pitchFamily="2" charset="-122"/>
                <a:cs typeface="华文黑体" pitchFamily="2" charset="-122"/>
              </a:rPr>
              <a:t>单击</a:t>
            </a:r>
            <a:endParaRPr lang="en-US" altLang="zh-CN" sz="1400" smtClean="0">
              <a:solidFill>
                <a:schemeClr val="bg1"/>
              </a:solidFill>
              <a:latin typeface="华文细黑" panose="02010600040101010101" pitchFamily="2" charset="-122"/>
              <a:ea typeface="华文细黑" panose="02010600040101010101" pitchFamily="2" charset="-122"/>
              <a:cs typeface="华文黑体" pitchFamily="2" charset="-122"/>
            </a:endParaRPr>
          </a:p>
          <a:p>
            <a:endParaRPr lang="en-US" altLang="zh-CN" sz="800" smtClean="0">
              <a:solidFill>
                <a:schemeClr val="bg1"/>
              </a:solidFill>
              <a:latin typeface="华文细黑" panose="02010600040101010101" pitchFamily="2" charset="-122"/>
              <a:ea typeface="华文细黑" panose="02010600040101010101" pitchFamily="2" charset="-122"/>
              <a:cs typeface="华文黑体" pitchFamily="2" charset="-122"/>
            </a:endParaRPr>
          </a:p>
          <a:p>
            <a:r>
              <a:rPr lang="zh-CN" altLang="en-US" sz="1400">
                <a:solidFill>
                  <a:schemeClr val="bg1"/>
                </a:solidFill>
                <a:latin typeface="华文细黑" panose="02010600040101010101" pitchFamily="2" charset="-122"/>
                <a:ea typeface="华文细黑" panose="02010600040101010101" pitchFamily="2" charset="-122"/>
                <a:cs typeface="华文黑体" pitchFamily="2" charset="-122"/>
              </a:rPr>
              <a:t>单击添加文本单击添加文本单击添加文本单击添加文本单击添加</a:t>
            </a:r>
            <a:r>
              <a:rPr lang="zh-CN" altLang="en-US" sz="1400" smtClean="0">
                <a:solidFill>
                  <a:schemeClr val="bg1"/>
                </a:solidFill>
                <a:latin typeface="华文细黑" panose="02010600040101010101" pitchFamily="2" charset="-122"/>
                <a:ea typeface="华文细黑" panose="02010600040101010101" pitchFamily="2" charset="-122"/>
                <a:cs typeface="华文黑体" pitchFamily="2" charset="-122"/>
              </a:rPr>
              <a:t>文本</a:t>
            </a:r>
            <a:r>
              <a:rPr lang="zh-CN" altLang="en-US" sz="1400">
                <a:solidFill>
                  <a:schemeClr val="bg1"/>
                </a:solidFill>
                <a:latin typeface="华文细黑" panose="02010600040101010101" pitchFamily="2" charset="-122"/>
                <a:ea typeface="华文细黑" panose="02010600040101010101" pitchFamily="2" charset="-122"/>
                <a:cs typeface="华文黑体" pitchFamily="2" charset="-122"/>
              </a:rPr>
              <a:t>单击添加文本单击添加文本单击添加文本单击添加文本单击添加</a:t>
            </a:r>
            <a:r>
              <a:rPr lang="zh-CN" altLang="en-US" sz="1400" smtClean="0">
                <a:solidFill>
                  <a:schemeClr val="bg1"/>
                </a:solidFill>
                <a:latin typeface="华文细黑" panose="02010600040101010101" pitchFamily="2" charset="-122"/>
                <a:ea typeface="华文细黑" panose="02010600040101010101" pitchFamily="2" charset="-122"/>
                <a:cs typeface="华文黑体" pitchFamily="2" charset="-122"/>
              </a:rPr>
              <a:t>文本</a:t>
            </a:r>
            <a:endParaRPr lang="zh-CN" altLang="en-US" sz="1400">
              <a:solidFill>
                <a:schemeClr val="bg1"/>
              </a:solidFill>
              <a:latin typeface="华文细黑" panose="02010600040101010101" pitchFamily="2" charset="-122"/>
              <a:ea typeface="华文细黑" panose="02010600040101010101" pitchFamily="2" charset="-122"/>
              <a:cs typeface="华文黑体" pitchFamily="2" charset="-122"/>
            </a:endParaRPr>
          </a:p>
        </p:txBody>
      </p:sp>
      <p:sp>
        <p:nvSpPr>
          <p:cNvPr id="32" name="圆角矩形 31"/>
          <p:cNvSpPr/>
          <p:nvPr/>
        </p:nvSpPr>
        <p:spPr>
          <a:xfrm>
            <a:off x="8894702" y="260648"/>
            <a:ext cx="2673112" cy="600163"/>
          </a:xfrm>
          <a:prstGeom prst="roundRect">
            <a:avLst/>
          </a:prstGeom>
          <a:solidFill>
            <a:srgbClr val="FFFFFF"/>
          </a:solidFill>
          <a:ln>
            <a:noFill/>
          </a:ln>
          <a:effectLst>
            <a:reflection blurRad="6350" stA="25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3" name="TextBox 32"/>
          <p:cNvSpPr txBox="1"/>
          <p:nvPr/>
        </p:nvSpPr>
        <p:spPr>
          <a:xfrm>
            <a:off x="9061707" y="260648"/>
            <a:ext cx="2339102" cy="523220"/>
          </a:xfrm>
          <a:prstGeom prst="rect">
            <a:avLst/>
          </a:prstGeom>
          <a:noFill/>
        </p:spPr>
        <p:txBody>
          <a:bodyPr wrap="none" rtlCol="0" anchor="ctr">
            <a:spAutoFit/>
          </a:bodyPr>
          <a:lstStyle>
            <a:defPPr>
              <a:defRPr lang="zh-CN"/>
            </a:defPPr>
            <a:lvl1pPr algn="ctr">
              <a:defRPr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anose="02010600040101010101" pitchFamily="2" charset="-122"/>
                <a:cs typeface="华文黑体" pitchFamily="2" charset="-122"/>
              </a:defRPr>
            </a:lvl1pPr>
          </a:lstStyle>
          <a:p>
            <a:r>
              <a:rPr lang="zh-CN" altLang="en-US" sz="2800"/>
              <a:t>点击添加标题</a:t>
            </a:r>
            <a:endParaRPr lang="zh-CN" altLang="en-US" sz="280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2"/>
                                        </p:tgtEl>
                                        <p:attrNameLst>
                                          <p:attrName>style.visibility</p:attrName>
                                        </p:attrNameLst>
                                      </p:cBhvr>
                                      <p:to>
                                        <p:strVal val="visible"/>
                                      </p:to>
                                    </p:set>
                                    <p:animEffect transition="in" filter="fade">
                                      <p:cBhvr>
                                        <p:cTn id="7" dur="300"/>
                                        <p:tgtEl>
                                          <p:spTgt spid="32"/>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3"/>
                                        </p:tgtEl>
                                        <p:attrNameLst>
                                          <p:attrName>style.visibility</p:attrName>
                                        </p:attrNameLst>
                                      </p:cBhvr>
                                      <p:to>
                                        <p:strVal val="visible"/>
                                      </p:to>
                                    </p:set>
                                    <p:animEffect transition="in" filter="fade">
                                      <p:cBhvr>
                                        <p:cTn id="10" dur="300"/>
                                        <p:tgtEl>
                                          <p:spTgt spid="33"/>
                                        </p:tgtEl>
                                      </p:cBhvr>
                                    </p:animEffect>
                                  </p:childTnLst>
                                </p:cTn>
                              </p:par>
                            </p:childTnLst>
                          </p:cTn>
                        </p:par>
                        <p:par>
                          <p:cTn id="11" fill="hold">
                            <p:stCondLst>
                              <p:cond delay="500"/>
                            </p:stCondLst>
                            <p:childTnLst>
                              <p:par>
                                <p:cTn id="12" presetID="22" presetClass="entr" presetSubtype="1" fill="hold" grpId="0" nodeType="afterEffect">
                                  <p:stCondLst>
                                    <p:cond delay="0"/>
                                  </p:stCondLst>
                                  <p:childTnLst>
                                    <p:set>
                                      <p:cBhvr>
                                        <p:cTn id="13" dur="1" fill="hold">
                                          <p:stCondLst>
                                            <p:cond delay="0"/>
                                          </p:stCondLst>
                                        </p:cTn>
                                        <p:tgtEl>
                                          <p:spTgt spid="2"/>
                                        </p:tgtEl>
                                        <p:attrNameLst>
                                          <p:attrName>style.visibility</p:attrName>
                                        </p:attrNameLst>
                                      </p:cBhvr>
                                      <p:to>
                                        <p:strVal val="visible"/>
                                      </p:to>
                                    </p:set>
                                    <p:animEffect transition="in" filter="wipe(up)">
                                      <p:cBhvr>
                                        <p:cTn id="14" dur="500"/>
                                        <p:tgtEl>
                                          <p:spTgt spid="2"/>
                                        </p:tgtEl>
                                      </p:cBhvr>
                                    </p:animEffect>
                                  </p:childTnLst>
                                </p:cTn>
                              </p:par>
                            </p:childTnLst>
                          </p:cTn>
                        </p:par>
                        <p:par>
                          <p:cTn id="15" fill="hold">
                            <p:stCondLst>
                              <p:cond delay="1000"/>
                            </p:stCondLst>
                            <p:childTnLst>
                              <p:par>
                                <p:cTn id="16" presetID="37" presetClass="entr" presetSubtype="0" fill="hold" nodeType="afterEffect">
                                  <p:stCondLst>
                                    <p:cond delay="0"/>
                                  </p:stCondLst>
                                  <p:childTnLst>
                                    <p:set>
                                      <p:cBhvr>
                                        <p:cTn id="17" dur="1" fill="hold">
                                          <p:stCondLst>
                                            <p:cond delay="0"/>
                                          </p:stCondLst>
                                        </p:cTn>
                                        <p:tgtEl>
                                          <p:spTgt spid="6146"/>
                                        </p:tgtEl>
                                        <p:attrNameLst>
                                          <p:attrName>style.visibility</p:attrName>
                                        </p:attrNameLst>
                                      </p:cBhvr>
                                      <p:to>
                                        <p:strVal val="visible"/>
                                      </p:to>
                                    </p:set>
                                    <p:animEffect transition="in" filter="fade">
                                      <p:cBhvr>
                                        <p:cTn id="18" dur="1000"/>
                                        <p:tgtEl>
                                          <p:spTgt spid="6146"/>
                                        </p:tgtEl>
                                      </p:cBhvr>
                                    </p:animEffect>
                                    <p:anim calcmode="lin" valueType="num">
                                      <p:cBhvr>
                                        <p:cTn id="19" dur="1000" fill="hold"/>
                                        <p:tgtEl>
                                          <p:spTgt spid="6146"/>
                                        </p:tgtEl>
                                        <p:attrNameLst>
                                          <p:attrName>ppt_x</p:attrName>
                                        </p:attrNameLst>
                                      </p:cBhvr>
                                      <p:tavLst>
                                        <p:tav tm="0">
                                          <p:val>
                                            <p:strVal val="#ppt_x"/>
                                          </p:val>
                                        </p:tav>
                                        <p:tav tm="100000">
                                          <p:val>
                                            <p:strVal val="#ppt_x"/>
                                          </p:val>
                                        </p:tav>
                                      </p:tavLst>
                                    </p:anim>
                                    <p:anim calcmode="lin" valueType="num">
                                      <p:cBhvr>
                                        <p:cTn id="20" dur="900" decel="100000" fill="hold"/>
                                        <p:tgtEl>
                                          <p:spTgt spid="6146"/>
                                        </p:tgtEl>
                                        <p:attrNameLst>
                                          <p:attrName>ppt_y</p:attrName>
                                        </p:attrNameLst>
                                      </p:cBhvr>
                                      <p:tavLst>
                                        <p:tav tm="0">
                                          <p:val>
                                            <p:strVal val="#ppt_y+1"/>
                                          </p:val>
                                        </p:tav>
                                        <p:tav tm="100000">
                                          <p:val>
                                            <p:strVal val="#ppt_y-.03"/>
                                          </p:val>
                                        </p:tav>
                                      </p:tavLst>
                                    </p:anim>
                                    <p:anim calcmode="lin" valueType="num">
                                      <p:cBhvr>
                                        <p:cTn id="21" dur="100" accel="100000" fill="hold">
                                          <p:stCondLst>
                                            <p:cond delay="900"/>
                                          </p:stCondLst>
                                        </p:cTn>
                                        <p:tgtEl>
                                          <p:spTgt spid="6146"/>
                                        </p:tgtEl>
                                        <p:attrNameLst>
                                          <p:attrName>ppt_y</p:attrName>
                                        </p:attrNameLst>
                                      </p:cBhvr>
                                      <p:tavLst>
                                        <p:tav tm="0">
                                          <p:val>
                                            <p:strVal val="#ppt_y-.03"/>
                                          </p:val>
                                        </p:tav>
                                        <p:tav tm="100000">
                                          <p:val>
                                            <p:strVal val="#ppt_y"/>
                                          </p:val>
                                        </p:tav>
                                      </p:tavLst>
                                    </p:anim>
                                  </p:childTnLst>
                                </p:cTn>
                              </p:par>
                              <p:par>
                                <p:cTn id="22" presetID="22" presetClass="entr" presetSubtype="8" fill="hold" grpId="0" nodeType="withEffect">
                                  <p:stCondLst>
                                    <p:cond delay="1000"/>
                                  </p:stCondLst>
                                  <p:childTnLst>
                                    <p:set>
                                      <p:cBhvr>
                                        <p:cTn id="23" dur="1" fill="hold">
                                          <p:stCondLst>
                                            <p:cond delay="0"/>
                                          </p:stCondLst>
                                        </p:cTn>
                                        <p:tgtEl>
                                          <p:spTgt spid="41"/>
                                        </p:tgtEl>
                                        <p:attrNameLst>
                                          <p:attrName>style.visibility</p:attrName>
                                        </p:attrNameLst>
                                      </p:cBhvr>
                                      <p:to>
                                        <p:strVal val="visible"/>
                                      </p:to>
                                    </p:set>
                                    <p:animEffect transition="in" filter="wipe(left)">
                                      <p:cBhvr>
                                        <p:cTn id="24" dur="500"/>
                                        <p:tgtEl>
                                          <p:spTgt spid="41"/>
                                        </p:tgtEl>
                                      </p:cBhvr>
                                    </p:animEffect>
                                  </p:childTnLst>
                                </p:cTn>
                              </p:par>
                              <p:par>
                                <p:cTn id="25" presetID="22" presetClass="entr" presetSubtype="8" fill="hold" grpId="0" nodeType="withEffect">
                                  <p:stCondLst>
                                    <p:cond delay="1000"/>
                                  </p:stCondLst>
                                  <p:childTnLst>
                                    <p:set>
                                      <p:cBhvr>
                                        <p:cTn id="26" dur="1" fill="hold">
                                          <p:stCondLst>
                                            <p:cond delay="0"/>
                                          </p:stCondLst>
                                        </p:cTn>
                                        <p:tgtEl>
                                          <p:spTgt spid="42"/>
                                        </p:tgtEl>
                                        <p:attrNameLst>
                                          <p:attrName>style.visibility</p:attrName>
                                        </p:attrNameLst>
                                      </p:cBhvr>
                                      <p:to>
                                        <p:strVal val="visible"/>
                                      </p:to>
                                    </p:set>
                                    <p:animEffect transition="in" filter="wipe(left)">
                                      <p:cBhvr>
                                        <p:cTn id="27" dur="500"/>
                                        <p:tgtEl>
                                          <p:spTgt spid="42"/>
                                        </p:tgtEl>
                                      </p:cBhvr>
                                    </p:animEffect>
                                  </p:childTnLst>
                                </p:cTn>
                              </p:par>
                              <p:par>
                                <p:cTn id="28" presetID="2" presetClass="entr" presetSubtype="4" fill="hold" nodeType="withEffect">
                                  <p:stCondLst>
                                    <p:cond delay="1300"/>
                                  </p:stCondLst>
                                  <p:childTnLst>
                                    <p:set>
                                      <p:cBhvr>
                                        <p:cTn id="29" dur="1" fill="hold">
                                          <p:stCondLst>
                                            <p:cond delay="0"/>
                                          </p:stCondLst>
                                        </p:cTn>
                                        <p:tgtEl>
                                          <p:spTgt spid="7"/>
                                        </p:tgtEl>
                                        <p:attrNameLst>
                                          <p:attrName>style.visibility</p:attrName>
                                        </p:attrNameLst>
                                      </p:cBhvr>
                                      <p:to>
                                        <p:strVal val="visible"/>
                                      </p:to>
                                    </p:set>
                                    <p:anim calcmode="lin" valueType="num">
                                      <p:cBhvr additive="base">
                                        <p:cTn id="30" dur="500" fill="hold"/>
                                        <p:tgtEl>
                                          <p:spTgt spid="7"/>
                                        </p:tgtEl>
                                        <p:attrNameLst>
                                          <p:attrName>ppt_x</p:attrName>
                                        </p:attrNameLst>
                                      </p:cBhvr>
                                      <p:tavLst>
                                        <p:tav tm="0">
                                          <p:val>
                                            <p:strVal val="#ppt_x"/>
                                          </p:val>
                                        </p:tav>
                                        <p:tav tm="100000">
                                          <p:val>
                                            <p:strVal val="#ppt_x"/>
                                          </p:val>
                                        </p:tav>
                                      </p:tavLst>
                                    </p:anim>
                                    <p:anim calcmode="lin" valueType="num">
                                      <p:cBhvr additive="base">
                                        <p:cTn id="31" dur="500" fill="hold"/>
                                        <p:tgtEl>
                                          <p:spTgt spid="7"/>
                                        </p:tgtEl>
                                        <p:attrNameLst>
                                          <p:attrName>ppt_y</p:attrName>
                                        </p:attrNameLst>
                                      </p:cBhvr>
                                      <p:tavLst>
                                        <p:tav tm="0">
                                          <p:val>
                                            <p:strVal val="1+#ppt_h/2"/>
                                          </p:val>
                                        </p:tav>
                                        <p:tav tm="100000">
                                          <p:val>
                                            <p:strVal val="#ppt_y"/>
                                          </p:val>
                                        </p:tav>
                                      </p:tavLst>
                                    </p:anim>
                                  </p:childTnLst>
                                </p:cTn>
                              </p:par>
                              <p:par>
                                <p:cTn id="32" presetID="2" presetClass="entr" presetSubtype="4" fill="hold" nodeType="withEffect">
                                  <p:stCondLst>
                                    <p:cond delay="1300"/>
                                  </p:stCondLst>
                                  <p:childTnLst>
                                    <p:set>
                                      <p:cBhvr>
                                        <p:cTn id="33" dur="1" fill="hold">
                                          <p:stCondLst>
                                            <p:cond delay="0"/>
                                          </p:stCondLst>
                                        </p:cTn>
                                        <p:tgtEl>
                                          <p:spTgt spid="8"/>
                                        </p:tgtEl>
                                        <p:attrNameLst>
                                          <p:attrName>style.visibility</p:attrName>
                                        </p:attrNameLst>
                                      </p:cBhvr>
                                      <p:to>
                                        <p:strVal val="visible"/>
                                      </p:to>
                                    </p:set>
                                    <p:anim calcmode="lin" valueType="num">
                                      <p:cBhvr additive="base">
                                        <p:cTn id="34" dur="500" fill="hold"/>
                                        <p:tgtEl>
                                          <p:spTgt spid="8"/>
                                        </p:tgtEl>
                                        <p:attrNameLst>
                                          <p:attrName>ppt_x</p:attrName>
                                        </p:attrNameLst>
                                      </p:cBhvr>
                                      <p:tavLst>
                                        <p:tav tm="0">
                                          <p:val>
                                            <p:strVal val="#ppt_x"/>
                                          </p:val>
                                        </p:tav>
                                        <p:tav tm="100000">
                                          <p:val>
                                            <p:strVal val="#ppt_x"/>
                                          </p:val>
                                        </p:tav>
                                      </p:tavLst>
                                    </p:anim>
                                    <p:anim calcmode="lin" valueType="num">
                                      <p:cBhvr additive="base">
                                        <p:cTn id="35" dur="500" fill="hold"/>
                                        <p:tgtEl>
                                          <p:spTgt spid="8"/>
                                        </p:tgtEl>
                                        <p:attrNameLst>
                                          <p:attrName>ppt_y</p:attrName>
                                        </p:attrNameLst>
                                      </p:cBhvr>
                                      <p:tavLst>
                                        <p:tav tm="0">
                                          <p:val>
                                            <p:strVal val="1+#ppt_h/2"/>
                                          </p:val>
                                        </p:tav>
                                        <p:tav tm="100000">
                                          <p:val>
                                            <p:strVal val="#ppt_y"/>
                                          </p:val>
                                        </p:tav>
                                      </p:tavLst>
                                    </p:anim>
                                  </p:childTnLst>
                                </p:cTn>
                              </p:par>
                              <p:par>
                                <p:cTn id="36" presetID="2" presetClass="entr" presetSubtype="4" fill="hold" nodeType="withEffect">
                                  <p:stCondLst>
                                    <p:cond delay="1300"/>
                                  </p:stCondLst>
                                  <p:childTnLst>
                                    <p:set>
                                      <p:cBhvr>
                                        <p:cTn id="37" dur="1" fill="hold">
                                          <p:stCondLst>
                                            <p:cond delay="0"/>
                                          </p:stCondLst>
                                        </p:cTn>
                                        <p:tgtEl>
                                          <p:spTgt spid="4"/>
                                        </p:tgtEl>
                                        <p:attrNameLst>
                                          <p:attrName>style.visibility</p:attrName>
                                        </p:attrNameLst>
                                      </p:cBhvr>
                                      <p:to>
                                        <p:strVal val="visible"/>
                                      </p:to>
                                    </p:set>
                                    <p:anim calcmode="lin" valueType="num">
                                      <p:cBhvr additive="base">
                                        <p:cTn id="38" dur="500" fill="hold"/>
                                        <p:tgtEl>
                                          <p:spTgt spid="4"/>
                                        </p:tgtEl>
                                        <p:attrNameLst>
                                          <p:attrName>ppt_x</p:attrName>
                                        </p:attrNameLst>
                                      </p:cBhvr>
                                      <p:tavLst>
                                        <p:tav tm="0">
                                          <p:val>
                                            <p:strVal val="#ppt_x"/>
                                          </p:val>
                                        </p:tav>
                                        <p:tav tm="100000">
                                          <p:val>
                                            <p:strVal val="#ppt_x"/>
                                          </p:val>
                                        </p:tav>
                                      </p:tavLst>
                                    </p:anim>
                                    <p:anim calcmode="lin" valueType="num">
                                      <p:cBhvr additive="base">
                                        <p:cTn id="39" dur="500" fill="hold"/>
                                        <p:tgtEl>
                                          <p:spTgt spid="4"/>
                                        </p:tgtEl>
                                        <p:attrNameLst>
                                          <p:attrName>ppt_y</p:attrName>
                                        </p:attrNameLst>
                                      </p:cBhvr>
                                      <p:tavLst>
                                        <p:tav tm="0">
                                          <p:val>
                                            <p:strVal val="1+#ppt_h/2"/>
                                          </p:val>
                                        </p:tav>
                                        <p:tav tm="100000">
                                          <p:val>
                                            <p:strVal val="#ppt_y"/>
                                          </p:val>
                                        </p:tav>
                                      </p:tavLst>
                                    </p:anim>
                                  </p:childTnLst>
                                </p:cTn>
                              </p:par>
                              <p:par>
                                <p:cTn id="40" presetID="2" presetClass="entr" presetSubtype="4" fill="hold" nodeType="withEffect">
                                  <p:stCondLst>
                                    <p:cond delay="1300"/>
                                  </p:stCondLst>
                                  <p:childTnLst>
                                    <p:set>
                                      <p:cBhvr>
                                        <p:cTn id="41" dur="1" fill="hold">
                                          <p:stCondLst>
                                            <p:cond delay="0"/>
                                          </p:stCondLst>
                                        </p:cTn>
                                        <p:tgtEl>
                                          <p:spTgt spid="6"/>
                                        </p:tgtEl>
                                        <p:attrNameLst>
                                          <p:attrName>style.visibility</p:attrName>
                                        </p:attrNameLst>
                                      </p:cBhvr>
                                      <p:to>
                                        <p:strVal val="visible"/>
                                      </p:to>
                                    </p:set>
                                    <p:anim calcmode="lin" valueType="num">
                                      <p:cBhvr additive="base">
                                        <p:cTn id="42" dur="500" fill="hold"/>
                                        <p:tgtEl>
                                          <p:spTgt spid="6"/>
                                        </p:tgtEl>
                                        <p:attrNameLst>
                                          <p:attrName>ppt_x</p:attrName>
                                        </p:attrNameLst>
                                      </p:cBhvr>
                                      <p:tavLst>
                                        <p:tav tm="0">
                                          <p:val>
                                            <p:strVal val="#ppt_x"/>
                                          </p:val>
                                        </p:tav>
                                        <p:tav tm="100000">
                                          <p:val>
                                            <p:strVal val="#ppt_x"/>
                                          </p:val>
                                        </p:tav>
                                      </p:tavLst>
                                    </p:anim>
                                    <p:anim calcmode="lin" valueType="num">
                                      <p:cBhvr additive="base">
                                        <p:cTn id="43" dur="500" fill="hold"/>
                                        <p:tgtEl>
                                          <p:spTgt spid="6"/>
                                        </p:tgtEl>
                                        <p:attrNameLst>
                                          <p:attrName>ppt_y</p:attrName>
                                        </p:attrNameLst>
                                      </p:cBhvr>
                                      <p:tavLst>
                                        <p:tav tm="0">
                                          <p:val>
                                            <p:strVal val="1+#ppt_h/2"/>
                                          </p:val>
                                        </p:tav>
                                        <p:tav tm="100000">
                                          <p:val>
                                            <p:strVal val="#ppt_y"/>
                                          </p:val>
                                        </p:tav>
                                      </p:tavLst>
                                    </p:anim>
                                  </p:childTnLst>
                                </p:cTn>
                              </p:par>
                              <p:par>
                                <p:cTn id="44" presetID="2" presetClass="entr" presetSubtype="4" fill="hold" grpId="0" nodeType="withEffect">
                                  <p:stCondLst>
                                    <p:cond delay="1300"/>
                                  </p:stCondLst>
                                  <p:childTnLst>
                                    <p:set>
                                      <p:cBhvr>
                                        <p:cTn id="45" dur="1" fill="hold">
                                          <p:stCondLst>
                                            <p:cond delay="0"/>
                                          </p:stCondLst>
                                        </p:cTn>
                                        <p:tgtEl>
                                          <p:spTgt spid="27"/>
                                        </p:tgtEl>
                                        <p:attrNameLst>
                                          <p:attrName>style.visibility</p:attrName>
                                        </p:attrNameLst>
                                      </p:cBhvr>
                                      <p:to>
                                        <p:strVal val="visible"/>
                                      </p:to>
                                    </p:set>
                                    <p:anim calcmode="lin" valueType="num">
                                      <p:cBhvr additive="base">
                                        <p:cTn id="46" dur="500" fill="hold"/>
                                        <p:tgtEl>
                                          <p:spTgt spid="27"/>
                                        </p:tgtEl>
                                        <p:attrNameLst>
                                          <p:attrName>ppt_x</p:attrName>
                                        </p:attrNameLst>
                                      </p:cBhvr>
                                      <p:tavLst>
                                        <p:tav tm="0">
                                          <p:val>
                                            <p:strVal val="#ppt_x"/>
                                          </p:val>
                                        </p:tav>
                                        <p:tav tm="100000">
                                          <p:val>
                                            <p:strVal val="#ppt_x"/>
                                          </p:val>
                                        </p:tav>
                                      </p:tavLst>
                                    </p:anim>
                                    <p:anim calcmode="lin" valueType="num">
                                      <p:cBhvr additive="base">
                                        <p:cTn id="47" dur="500" fill="hold"/>
                                        <p:tgtEl>
                                          <p:spTgt spid="27"/>
                                        </p:tgtEl>
                                        <p:attrNameLst>
                                          <p:attrName>ppt_y</p:attrName>
                                        </p:attrNameLst>
                                      </p:cBhvr>
                                      <p:tavLst>
                                        <p:tav tm="0">
                                          <p:val>
                                            <p:strVal val="1+#ppt_h/2"/>
                                          </p:val>
                                        </p:tav>
                                        <p:tav tm="100000">
                                          <p:val>
                                            <p:strVal val="#ppt_y"/>
                                          </p:val>
                                        </p:tav>
                                      </p:tavLst>
                                    </p:anim>
                                  </p:childTnLst>
                                </p:cTn>
                              </p:par>
                              <p:par>
                                <p:cTn id="48" presetID="2" presetClass="entr" presetSubtype="4" fill="hold" grpId="0" nodeType="withEffect">
                                  <p:stCondLst>
                                    <p:cond delay="1300"/>
                                  </p:stCondLst>
                                  <p:childTnLst>
                                    <p:set>
                                      <p:cBhvr>
                                        <p:cTn id="49" dur="1" fill="hold">
                                          <p:stCondLst>
                                            <p:cond delay="0"/>
                                          </p:stCondLst>
                                        </p:cTn>
                                        <p:tgtEl>
                                          <p:spTgt spid="28"/>
                                        </p:tgtEl>
                                        <p:attrNameLst>
                                          <p:attrName>style.visibility</p:attrName>
                                        </p:attrNameLst>
                                      </p:cBhvr>
                                      <p:to>
                                        <p:strVal val="visible"/>
                                      </p:to>
                                    </p:set>
                                    <p:anim calcmode="lin" valueType="num">
                                      <p:cBhvr additive="base">
                                        <p:cTn id="50" dur="500" fill="hold"/>
                                        <p:tgtEl>
                                          <p:spTgt spid="28"/>
                                        </p:tgtEl>
                                        <p:attrNameLst>
                                          <p:attrName>ppt_x</p:attrName>
                                        </p:attrNameLst>
                                      </p:cBhvr>
                                      <p:tavLst>
                                        <p:tav tm="0">
                                          <p:val>
                                            <p:strVal val="#ppt_x"/>
                                          </p:val>
                                        </p:tav>
                                        <p:tav tm="100000">
                                          <p:val>
                                            <p:strVal val="#ppt_x"/>
                                          </p:val>
                                        </p:tav>
                                      </p:tavLst>
                                    </p:anim>
                                    <p:anim calcmode="lin" valueType="num">
                                      <p:cBhvr additive="base">
                                        <p:cTn id="51" dur="500" fill="hold"/>
                                        <p:tgtEl>
                                          <p:spTgt spid="28"/>
                                        </p:tgtEl>
                                        <p:attrNameLst>
                                          <p:attrName>ppt_y</p:attrName>
                                        </p:attrNameLst>
                                      </p:cBhvr>
                                      <p:tavLst>
                                        <p:tav tm="0">
                                          <p:val>
                                            <p:strVal val="1+#ppt_h/2"/>
                                          </p:val>
                                        </p:tav>
                                        <p:tav tm="100000">
                                          <p:val>
                                            <p:strVal val="#ppt_y"/>
                                          </p:val>
                                        </p:tav>
                                      </p:tavLst>
                                    </p:anim>
                                  </p:childTnLst>
                                </p:cTn>
                              </p:par>
                              <p:par>
                                <p:cTn id="52" presetID="2" presetClass="entr" presetSubtype="4" fill="hold" grpId="0" nodeType="withEffect">
                                  <p:stCondLst>
                                    <p:cond delay="1300"/>
                                  </p:stCondLst>
                                  <p:childTnLst>
                                    <p:set>
                                      <p:cBhvr>
                                        <p:cTn id="53" dur="1" fill="hold">
                                          <p:stCondLst>
                                            <p:cond delay="0"/>
                                          </p:stCondLst>
                                        </p:cTn>
                                        <p:tgtEl>
                                          <p:spTgt spid="29"/>
                                        </p:tgtEl>
                                        <p:attrNameLst>
                                          <p:attrName>style.visibility</p:attrName>
                                        </p:attrNameLst>
                                      </p:cBhvr>
                                      <p:to>
                                        <p:strVal val="visible"/>
                                      </p:to>
                                    </p:set>
                                    <p:anim calcmode="lin" valueType="num">
                                      <p:cBhvr additive="base">
                                        <p:cTn id="54" dur="500" fill="hold"/>
                                        <p:tgtEl>
                                          <p:spTgt spid="29"/>
                                        </p:tgtEl>
                                        <p:attrNameLst>
                                          <p:attrName>ppt_x</p:attrName>
                                        </p:attrNameLst>
                                      </p:cBhvr>
                                      <p:tavLst>
                                        <p:tav tm="0">
                                          <p:val>
                                            <p:strVal val="#ppt_x"/>
                                          </p:val>
                                        </p:tav>
                                        <p:tav tm="100000">
                                          <p:val>
                                            <p:strVal val="#ppt_x"/>
                                          </p:val>
                                        </p:tav>
                                      </p:tavLst>
                                    </p:anim>
                                    <p:anim calcmode="lin" valueType="num">
                                      <p:cBhvr additive="base">
                                        <p:cTn id="55" dur="500" fill="hold"/>
                                        <p:tgtEl>
                                          <p:spTgt spid="29"/>
                                        </p:tgtEl>
                                        <p:attrNameLst>
                                          <p:attrName>ppt_y</p:attrName>
                                        </p:attrNameLst>
                                      </p:cBhvr>
                                      <p:tavLst>
                                        <p:tav tm="0">
                                          <p:val>
                                            <p:strVal val="1+#ppt_h/2"/>
                                          </p:val>
                                        </p:tav>
                                        <p:tav tm="100000">
                                          <p:val>
                                            <p:strVal val="#ppt_y"/>
                                          </p:val>
                                        </p:tav>
                                      </p:tavLst>
                                    </p:anim>
                                  </p:childTnLst>
                                </p:cTn>
                              </p:par>
                              <p:par>
                                <p:cTn id="56" presetID="2" presetClass="entr" presetSubtype="4" fill="hold" grpId="0" nodeType="withEffect">
                                  <p:stCondLst>
                                    <p:cond delay="1300"/>
                                  </p:stCondLst>
                                  <p:childTnLst>
                                    <p:set>
                                      <p:cBhvr>
                                        <p:cTn id="57" dur="1" fill="hold">
                                          <p:stCondLst>
                                            <p:cond delay="0"/>
                                          </p:stCondLst>
                                        </p:cTn>
                                        <p:tgtEl>
                                          <p:spTgt spid="30"/>
                                        </p:tgtEl>
                                        <p:attrNameLst>
                                          <p:attrName>style.visibility</p:attrName>
                                        </p:attrNameLst>
                                      </p:cBhvr>
                                      <p:to>
                                        <p:strVal val="visible"/>
                                      </p:to>
                                    </p:set>
                                    <p:anim calcmode="lin" valueType="num">
                                      <p:cBhvr additive="base">
                                        <p:cTn id="58" dur="500" fill="hold"/>
                                        <p:tgtEl>
                                          <p:spTgt spid="30"/>
                                        </p:tgtEl>
                                        <p:attrNameLst>
                                          <p:attrName>ppt_x</p:attrName>
                                        </p:attrNameLst>
                                      </p:cBhvr>
                                      <p:tavLst>
                                        <p:tav tm="0">
                                          <p:val>
                                            <p:strVal val="#ppt_x"/>
                                          </p:val>
                                        </p:tav>
                                        <p:tav tm="100000">
                                          <p:val>
                                            <p:strVal val="#ppt_x"/>
                                          </p:val>
                                        </p:tav>
                                      </p:tavLst>
                                    </p:anim>
                                    <p:anim calcmode="lin" valueType="num">
                                      <p:cBhvr additive="base">
                                        <p:cTn id="59" dur="500" fill="hold"/>
                                        <p:tgtEl>
                                          <p:spTgt spid="30"/>
                                        </p:tgtEl>
                                        <p:attrNameLst>
                                          <p:attrName>ppt_y</p:attrName>
                                        </p:attrNameLst>
                                      </p:cBhvr>
                                      <p:tavLst>
                                        <p:tav tm="0">
                                          <p:val>
                                            <p:strVal val="1+#ppt_h/2"/>
                                          </p:val>
                                        </p:tav>
                                        <p:tav tm="100000">
                                          <p:val>
                                            <p:strVal val="#ppt_y"/>
                                          </p:val>
                                        </p:tav>
                                      </p:tavLst>
                                    </p:anim>
                                  </p:childTnLst>
                                </p:cTn>
                              </p:par>
                              <p:par>
                                <p:cTn id="60" presetID="2" presetClass="entr" presetSubtype="4" fill="hold" grpId="0" nodeType="withEffect">
                                  <p:stCondLst>
                                    <p:cond delay="1300"/>
                                  </p:stCondLst>
                                  <p:childTnLst>
                                    <p:set>
                                      <p:cBhvr>
                                        <p:cTn id="61" dur="1" fill="hold">
                                          <p:stCondLst>
                                            <p:cond delay="0"/>
                                          </p:stCondLst>
                                        </p:cTn>
                                        <p:tgtEl>
                                          <p:spTgt spid="37"/>
                                        </p:tgtEl>
                                        <p:attrNameLst>
                                          <p:attrName>style.visibility</p:attrName>
                                        </p:attrNameLst>
                                      </p:cBhvr>
                                      <p:to>
                                        <p:strVal val="visible"/>
                                      </p:to>
                                    </p:set>
                                    <p:anim calcmode="lin" valueType="num">
                                      <p:cBhvr additive="base">
                                        <p:cTn id="62" dur="500" fill="hold"/>
                                        <p:tgtEl>
                                          <p:spTgt spid="37"/>
                                        </p:tgtEl>
                                        <p:attrNameLst>
                                          <p:attrName>ppt_x</p:attrName>
                                        </p:attrNameLst>
                                      </p:cBhvr>
                                      <p:tavLst>
                                        <p:tav tm="0">
                                          <p:val>
                                            <p:strVal val="#ppt_x"/>
                                          </p:val>
                                        </p:tav>
                                        <p:tav tm="100000">
                                          <p:val>
                                            <p:strVal val="#ppt_x"/>
                                          </p:val>
                                        </p:tav>
                                      </p:tavLst>
                                    </p:anim>
                                    <p:anim calcmode="lin" valueType="num">
                                      <p:cBhvr additive="base">
                                        <p:cTn id="63" dur="500" fill="hold"/>
                                        <p:tgtEl>
                                          <p:spTgt spid="37"/>
                                        </p:tgtEl>
                                        <p:attrNameLst>
                                          <p:attrName>ppt_y</p:attrName>
                                        </p:attrNameLst>
                                      </p:cBhvr>
                                      <p:tavLst>
                                        <p:tav tm="0">
                                          <p:val>
                                            <p:strVal val="1+#ppt_h/2"/>
                                          </p:val>
                                        </p:tav>
                                        <p:tav tm="100000">
                                          <p:val>
                                            <p:strVal val="#ppt_y"/>
                                          </p:val>
                                        </p:tav>
                                      </p:tavLst>
                                    </p:anim>
                                  </p:childTnLst>
                                </p:cTn>
                              </p:par>
                              <p:par>
                                <p:cTn id="64" presetID="2" presetClass="entr" presetSubtype="4" fill="hold" grpId="0" nodeType="withEffect">
                                  <p:stCondLst>
                                    <p:cond delay="1300"/>
                                  </p:stCondLst>
                                  <p:childTnLst>
                                    <p:set>
                                      <p:cBhvr>
                                        <p:cTn id="65" dur="1" fill="hold">
                                          <p:stCondLst>
                                            <p:cond delay="0"/>
                                          </p:stCondLst>
                                        </p:cTn>
                                        <p:tgtEl>
                                          <p:spTgt spid="38"/>
                                        </p:tgtEl>
                                        <p:attrNameLst>
                                          <p:attrName>style.visibility</p:attrName>
                                        </p:attrNameLst>
                                      </p:cBhvr>
                                      <p:to>
                                        <p:strVal val="visible"/>
                                      </p:to>
                                    </p:set>
                                    <p:anim calcmode="lin" valueType="num">
                                      <p:cBhvr additive="base">
                                        <p:cTn id="66" dur="500" fill="hold"/>
                                        <p:tgtEl>
                                          <p:spTgt spid="38"/>
                                        </p:tgtEl>
                                        <p:attrNameLst>
                                          <p:attrName>ppt_x</p:attrName>
                                        </p:attrNameLst>
                                      </p:cBhvr>
                                      <p:tavLst>
                                        <p:tav tm="0">
                                          <p:val>
                                            <p:strVal val="#ppt_x"/>
                                          </p:val>
                                        </p:tav>
                                        <p:tav tm="100000">
                                          <p:val>
                                            <p:strVal val="#ppt_x"/>
                                          </p:val>
                                        </p:tav>
                                      </p:tavLst>
                                    </p:anim>
                                    <p:anim calcmode="lin" valueType="num">
                                      <p:cBhvr additive="base">
                                        <p:cTn id="67" dur="500" fill="hold"/>
                                        <p:tgtEl>
                                          <p:spTgt spid="38"/>
                                        </p:tgtEl>
                                        <p:attrNameLst>
                                          <p:attrName>ppt_y</p:attrName>
                                        </p:attrNameLst>
                                      </p:cBhvr>
                                      <p:tavLst>
                                        <p:tav tm="0">
                                          <p:val>
                                            <p:strVal val="1+#ppt_h/2"/>
                                          </p:val>
                                        </p:tav>
                                        <p:tav tm="100000">
                                          <p:val>
                                            <p:strVal val="#ppt_y"/>
                                          </p:val>
                                        </p:tav>
                                      </p:tavLst>
                                    </p:anim>
                                  </p:childTnLst>
                                </p:cTn>
                              </p:par>
                              <p:par>
                                <p:cTn id="68" presetID="2" presetClass="entr" presetSubtype="4" fill="hold" grpId="0" nodeType="withEffect">
                                  <p:stCondLst>
                                    <p:cond delay="1300"/>
                                  </p:stCondLst>
                                  <p:childTnLst>
                                    <p:set>
                                      <p:cBhvr>
                                        <p:cTn id="69" dur="1" fill="hold">
                                          <p:stCondLst>
                                            <p:cond delay="0"/>
                                          </p:stCondLst>
                                        </p:cTn>
                                        <p:tgtEl>
                                          <p:spTgt spid="39"/>
                                        </p:tgtEl>
                                        <p:attrNameLst>
                                          <p:attrName>style.visibility</p:attrName>
                                        </p:attrNameLst>
                                      </p:cBhvr>
                                      <p:to>
                                        <p:strVal val="visible"/>
                                      </p:to>
                                    </p:set>
                                    <p:anim calcmode="lin" valueType="num">
                                      <p:cBhvr additive="base">
                                        <p:cTn id="70" dur="500" fill="hold"/>
                                        <p:tgtEl>
                                          <p:spTgt spid="39"/>
                                        </p:tgtEl>
                                        <p:attrNameLst>
                                          <p:attrName>ppt_x</p:attrName>
                                        </p:attrNameLst>
                                      </p:cBhvr>
                                      <p:tavLst>
                                        <p:tav tm="0">
                                          <p:val>
                                            <p:strVal val="#ppt_x"/>
                                          </p:val>
                                        </p:tav>
                                        <p:tav tm="100000">
                                          <p:val>
                                            <p:strVal val="#ppt_x"/>
                                          </p:val>
                                        </p:tav>
                                      </p:tavLst>
                                    </p:anim>
                                    <p:anim calcmode="lin" valueType="num">
                                      <p:cBhvr additive="base">
                                        <p:cTn id="71" dur="500" fill="hold"/>
                                        <p:tgtEl>
                                          <p:spTgt spid="39"/>
                                        </p:tgtEl>
                                        <p:attrNameLst>
                                          <p:attrName>ppt_y</p:attrName>
                                        </p:attrNameLst>
                                      </p:cBhvr>
                                      <p:tavLst>
                                        <p:tav tm="0">
                                          <p:val>
                                            <p:strVal val="1+#ppt_h/2"/>
                                          </p:val>
                                        </p:tav>
                                        <p:tav tm="100000">
                                          <p:val>
                                            <p:strVal val="#ppt_y"/>
                                          </p:val>
                                        </p:tav>
                                      </p:tavLst>
                                    </p:anim>
                                  </p:childTnLst>
                                </p:cTn>
                              </p:par>
                              <p:par>
                                <p:cTn id="72" presetID="2" presetClass="entr" presetSubtype="4" fill="hold" grpId="0" nodeType="withEffect">
                                  <p:stCondLst>
                                    <p:cond delay="1300"/>
                                  </p:stCondLst>
                                  <p:childTnLst>
                                    <p:set>
                                      <p:cBhvr>
                                        <p:cTn id="73" dur="1" fill="hold">
                                          <p:stCondLst>
                                            <p:cond delay="0"/>
                                          </p:stCondLst>
                                        </p:cTn>
                                        <p:tgtEl>
                                          <p:spTgt spid="40"/>
                                        </p:tgtEl>
                                        <p:attrNameLst>
                                          <p:attrName>style.visibility</p:attrName>
                                        </p:attrNameLst>
                                      </p:cBhvr>
                                      <p:to>
                                        <p:strVal val="visible"/>
                                      </p:to>
                                    </p:set>
                                    <p:anim calcmode="lin" valueType="num">
                                      <p:cBhvr additive="base">
                                        <p:cTn id="74" dur="500" fill="hold"/>
                                        <p:tgtEl>
                                          <p:spTgt spid="40"/>
                                        </p:tgtEl>
                                        <p:attrNameLst>
                                          <p:attrName>ppt_x</p:attrName>
                                        </p:attrNameLst>
                                      </p:cBhvr>
                                      <p:tavLst>
                                        <p:tav tm="0">
                                          <p:val>
                                            <p:strVal val="#ppt_x"/>
                                          </p:val>
                                        </p:tav>
                                        <p:tav tm="100000">
                                          <p:val>
                                            <p:strVal val="#ppt_x"/>
                                          </p:val>
                                        </p:tav>
                                      </p:tavLst>
                                    </p:anim>
                                    <p:anim calcmode="lin" valueType="num">
                                      <p:cBhvr additive="base">
                                        <p:cTn id="75" dur="500" fill="hold"/>
                                        <p:tgtEl>
                                          <p:spTgt spid="4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27" grpId="0"/>
      <p:bldP spid="28" grpId="0"/>
      <p:bldP spid="29" grpId="0"/>
      <p:bldP spid="30" grpId="0"/>
      <p:bldP spid="37" grpId="0"/>
      <p:bldP spid="38" grpId="0"/>
      <p:bldP spid="39" grpId="0"/>
      <p:bldP spid="40" grpId="0"/>
      <p:bldP spid="41" grpId="0"/>
      <p:bldP spid="42" grpId="0"/>
      <p:bldP spid="32" grpId="0" animBg="1"/>
      <p:bldP spid="33"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矩形 33" hidden="1"/>
          <p:cNvSpPr/>
          <p:nvPr/>
        </p:nvSpPr>
        <p:spPr>
          <a:xfrm>
            <a:off x="2584817" y="2133288"/>
            <a:ext cx="936104" cy="6551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smtClean="0">
                <a:solidFill>
                  <a:srgbClr val="B0F533"/>
                </a:solidFill>
                <a:latin typeface="Gill Sans MT Pro Light" pitchFamily="34" charset="0"/>
              </a:rPr>
              <a:t>1</a:t>
            </a:r>
            <a:endParaRPr lang="zh-CN" altLang="en-US" sz="3600">
              <a:solidFill>
                <a:srgbClr val="B0F533"/>
              </a:solidFill>
              <a:latin typeface="Gill Sans MT Pro Light" pitchFamily="34" charset="0"/>
            </a:endParaRPr>
          </a:p>
        </p:txBody>
      </p:sp>
      <p:sp>
        <p:nvSpPr>
          <p:cNvPr id="35" name="矩形 34" hidden="1"/>
          <p:cNvSpPr/>
          <p:nvPr/>
        </p:nvSpPr>
        <p:spPr>
          <a:xfrm>
            <a:off x="3621305" y="2133288"/>
            <a:ext cx="5984291" cy="655104"/>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smtClean="0">
                <a:latin typeface="华文黑体" pitchFamily="2" charset="-122"/>
                <a:ea typeface="华文黑体" pitchFamily="2" charset="-122"/>
                <a:cs typeface="华文黑体" pitchFamily="2" charset="-122"/>
              </a:rPr>
              <a:t>                     点击添加标题</a:t>
            </a:r>
            <a:endParaRPr lang="zh-CN" altLang="en-US" sz="2800">
              <a:latin typeface="华文黑体" pitchFamily="2" charset="-122"/>
              <a:ea typeface="华文黑体" pitchFamily="2" charset="-122"/>
              <a:cs typeface="华文黑体" pitchFamily="2" charset="-122"/>
            </a:endParaRPr>
          </a:p>
        </p:txBody>
      </p:sp>
      <p:sp>
        <p:nvSpPr>
          <p:cNvPr id="2" name="椭圆 1"/>
          <p:cNvSpPr/>
          <p:nvPr/>
        </p:nvSpPr>
        <p:spPr>
          <a:xfrm>
            <a:off x="4475026" y="1283522"/>
            <a:ext cx="3240360" cy="3240360"/>
          </a:xfrm>
          <a:prstGeom prst="ellipse">
            <a:avLst/>
          </a:prstGeom>
          <a:solidFill>
            <a:srgbClr val="FF78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4" name="组合 3"/>
          <p:cNvGrpSpPr/>
          <p:nvPr/>
        </p:nvGrpSpPr>
        <p:grpSpPr>
          <a:xfrm>
            <a:off x="5569742" y="1772816"/>
            <a:ext cx="1050928" cy="1050928"/>
            <a:chOff x="5735166" y="2060848"/>
            <a:chExt cx="576064" cy="576064"/>
          </a:xfrm>
        </p:grpSpPr>
        <p:pic>
          <p:nvPicPr>
            <p:cNvPr id="9" name="Picture 3" descr="C:\Users\Jonahs\Dropbox\Projects SCOTT\MEET Windows Azure\source\Background\tile-icon-bigdata.png"/>
            <p:cNvPicPr>
              <a:picLocks noChangeAspect="1" noChangeArrowheads="1"/>
            </p:cNvPicPr>
            <p:nvPr/>
          </p:nvPicPr>
          <p:blipFill>
            <a:blip r:embed="rId1" cstate="print">
              <a:extLst>
                <a:ext uri="{28A0092B-C50C-407E-A947-70E740481C1C}">
                  <a14:useLocalDpi xmlns:a14="http://schemas.microsoft.com/office/drawing/2010/main" val="0"/>
                </a:ext>
              </a:extLst>
            </a:blip>
            <a:srcRect/>
            <a:stretch>
              <a:fillRect/>
            </a:stretch>
          </p:blipFill>
          <p:spPr bwMode="auto">
            <a:xfrm>
              <a:off x="5791495" y="2117237"/>
              <a:ext cx="463407" cy="463287"/>
            </a:xfrm>
            <a:prstGeom prst="rect">
              <a:avLst/>
            </a:prstGeom>
            <a:noFill/>
            <a:extLst>
              <a:ext uri="{909E8E84-426E-40DD-AFC4-6F175D3DCCD1}">
                <a14:hiddenFill xmlns:a14="http://schemas.microsoft.com/office/drawing/2010/main">
                  <a:solidFill>
                    <a:srgbClr val="FFFFFF"/>
                  </a:solidFill>
                </a14:hiddenFill>
              </a:ext>
            </a:extLst>
          </p:spPr>
        </p:pic>
        <p:sp>
          <p:nvSpPr>
            <p:cNvPr id="3" name="圆角矩形 2"/>
            <p:cNvSpPr/>
            <p:nvPr/>
          </p:nvSpPr>
          <p:spPr>
            <a:xfrm>
              <a:off x="5735166" y="2060848"/>
              <a:ext cx="576064" cy="576064"/>
            </a:xfrm>
            <a:prstGeom prst="round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13" name="TextBox 12"/>
          <p:cNvSpPr txBox="1"/>
          <p:nvPr/>
        </p:nvSpPr>
        <p:spPr>
          <a:xfrm>
            <a:off x="5039905" y="3041863"/>
            <a:ext cx="2110602" cy="400110"/>
          </a:xfrm>
          <a:prstGeom prst="rect">
            <a:avLst/>
          </a:prstGeom>
          <a:noFill/>
        </p:spPr>
        <p:txBody>
          <a:bodyPr wrap="square" rtlCol="0">
            <a:spAutoFit/>
          </a:bodyPr>
          <a:lstStyle/>
          <a:p>
            <a:pPr algn="ctr"/>
            <a:r>
              <a:rPr lang="zh-CN" altLang="en-US" sz="2000" smtClean="0">
                <a:solidFill>
                  <a:schemeClr val="bg1"/>
                </a:solidFill>
                <a:latin typeface="华文黑体" pitchFamily="2" charset="-122"/>
                <a:ea typeface="华文黑体" pitchFamily="2" charset="-122"/>
                <a:cs typeface="华文黑体" pitchFamily="2" charset="-122"/>
              </a:rPr>
              <a:t>单击添加标题</a:t>
            </a:r>
            <a:endParaRPr lang="zh-CN" altLang="en-US" sz="2000">
              <a:solidFill>
                <a:schemeClr val="bg1"/>
              </a:solidFill>
              <a:latin typeface="华文细黑" panose="02010600040101010101" pitchFamily="2" charset="-122"/>
              <a:ea typeface="华文细黑" panose="02010600040101010101" pitchFamily="2" charset="-122"/>
              <a:cs typeface="华文黑体" pitchFamily="2" charset="-122"/>
            </a:endParaRPr>
          </a:p>
        </p:txBody>
      </p:sp>
      <p:cxnSp>
        <p:nvCxnSpPr>
          <p:cNvPr id="7" name="直接连接符 6"/>
          <p:cNvCxnSpPr/>
          <p:nvPr/>
        </p:nvCxnSpPr>
        <p:spPr>
          <a:xfrm>
            <a:off x="5057902" y="3538408"/>
            <a:ext cx="2074609" cy="1"/>
          </a:xfrm>
          <a:prstGeom prst="line">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sp>
        <p:nvSpPr>
          <p:cNvPr id="16" name="TextBox 15"/>
          <p:cNvSpPr txBox="1"/>
          <p:nvPr/>
        </p:nvSpPr>
        <p:spPr>
          <a:xfrm>
            <a:off x="5044278" y="3553852"/>
            <a:ext cx="2101856" cy="738664"/>
          </a:xfrm>
          <a:prstGeom prst="rect">
            <a:avLst/>
          </a:prstGeom>
          <a:noFill/>
        </p:spPr>
        <p:txBody>
          <a:bodyPr wrap="square" rtlCol="0">
            <a:spAutoFit/>
          </a:bodyPr>
          <a:lstStyle/>
          <a:p>
            <a:pPr algn="ctr"/>
            <a:r>
              <a:rPr lang="zh-CN" altLang="en-US" sz="1400" smtClean="0">
                <a:solidFill>
                  <a:schemeClr val="bg1"/>
                </a:solidFill>
                <a:latin typeface="华文细黑" panose="02010600040101010101" pitchFamily="2" charset="-122"/>
                <a:ea typeface="华文细黑" panose="02010600040101010101" pitchFamily="2" charset="-122"/>
                <a:cs typeface="华文黑体" pitchFamily="2" charset="-122"/>
              </a:rPr>
              <a:t>单击添加文本单击添加文本</a:t>
            </a:r>
            <a:r>
              <a:rPr lang="zh-CN" altLang="en-US" sz="1400">
                <a:solidFill>
                  <a:schemeClr val="bg1"/>
                </a:solidFill>
                <a:latin typeface="华文细黑" panose="02010600040101010101" pitchFamily="2" charset="-122"/>
                <a:ea typeface="华文细黑" panose="02010600040101010101" pitchFamily="2" charset="-122"/>
                <a:cs typeface="华文黑体" pitchFamily="2" charset="-122"/>
              </a:rPr>
              <a:t>单击单击添加文本单击添加</a:t>
            </a:r>
            <a:r>
              <a:rPr lang="zh-CN" altLang="en-US" sz="1400" smtClean="0">
                <a:solidFill>
                  <a:schemeClr val="bg1"/>
                </a:solidFill>
                <a:latin typeface="华文细黑" panose="02010600040101010101" pitchFamily="2" charset="-122"/>
                <a:ea typeface="华文细黑" panose="02010600040101010101" pitchFamily="2" charset="-122"/>
                <a:cs typeface="华文黑体" pitchFamily="2" charset="-122"/>
              </a:rPr>
              <a:t>文本</a:t>
            </a:r>
            <a:endParaRPr lang="zh-CN" altLang="en-US" sz="1400">
              <a:solidFill>
                <a:schemeClr val="bg1"/>
              </a:solidFill>
              <a:latin typeface="华文细黑" panose="02010600040101010101" pitchFamily="2" charset="-122"/>
              <a:ea typeface="华文细黑" panose="02010600040101010101" pitchFamily="2" charset="-122"/>
              <a:cs typeface="华文黑体" pitchFamily="2" charset="-122"/>
            </a:endParaRPr>
          </a:p>
        </p:txBody>
      </p:sp>
      <p:sp>
        <p:nvSpPr>
          <p:cNvPr id="11" name="矩形 10"/>
          <p:cNvSpPr/>
          <p:nvPr/>
        </p:nvSpPr>
        <p:spPr>
          <a:xfrm>
            <a:off x="1495984" y="2246260"/>
            <a:ext cx="2304256" cy="1314884"/>
          </a:xfrm>
          <a:prstGeom prst="rect">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0" name="矩形 19"/>
          <p:cNvSpPr/>
          <p:nvPr/>
        </p:nvSpPr>
        <p:spPr>
          <a:xfrm>
            <a:off x="8390172" y="2246260"/>
            <a:ext cx="2304256" cy="1314884"/>
          </a:xfrm>
          <a:prstGeom prst="rect">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15" name="组合 14"/>
          <p:cNvGrpSpPr/>
          <p:nvPr/>
        </p:nvGrpSpPr>
        <p:grpSpPr>
          <a:xfrm>
            <a:off x="2378082" y="2381164"/>
            <a:ext cx="540060" cy="540060"/>
            <a:chOff x="2492916" y="2200655"/>
            <a:chExt cx="432048" cy="432048"/>
          </a:xfrm>
        </p:grpSpPr>
        <p:sp>
          <p:nvSpPr>
            <p:cNvPr id="21" name="Freeform 79"/>
            <p:cNvSpPr>
              <a:spLocks noEditPoints="1"/>
            </p:cNvSpPr>
            <p:nvPr/>
          </p:nvSpPr>
          <p:spPr bwMode="auto">
            <a:xfrm>
              <a:off x="2546450" y="2267380"/>
              <a:ext cx="324981" cy="298599"/>
            </a:xfrm>
            <a:custGeom>
              <a:avLst/>
              <a:gdLst>
                <a:gd name="T0" fmla="*/ 406 w 413"/>
                <a:gd name="T1" fmla="*/ 0 h 380"/>
                <a:gd name="T2" fmla="*/ 7 w 413"/>
                <a:gd name="T3" fmla="*/ 0 h 380"/>
                <a:gd name="T4" fmla="*/ 0 w 413"/>
                <a:gd name="T5" fmla="*/ 7 h 380"/>
                <a:gd name="T6" fmla="*/ 0 w 413"/>
                <a:gd name="T7" fmla="*/ 273 h 380"/>
                <a:gd name="T8" fmla="*/ 7 w 413"/>
                <a:gd name="T9" fmla="*/ 281 h 380"/>
                <a:gd name="T10" fmla="*/ 133 w 413"/>
                <a:gd name="T11" fmla="*/ 281 h 380"/>
                <a:gd name="T12" fmla="*/ 133 w 413"/>
                <a:gd name="T13" fmla="*/ 332 h 380"/>
                <a:gd name="T14" fmla="*/ 73 w 413"/>
                <a:gd name="T15" fmla="*/ 332 h 380"/>
                <a:gd name="T16" fmla="*/ 65 w 413"/>
                <a:gd name="T17" fmla="*/ 340 h 380"/>
                <a:gd name="T18" fmla="*/ 65 w 413"/>
                <a:gd name="T19" fmla="*/ 373 h 380"/>
                <a:gd name="T20" fmla="*/ 73 w 413"/>
                <a:gd name="T21" fmla="*/ 380 h 380"/>
                <a:gd name="T22" fmla="*/ 339 w 413"/>
                <a:gd name="T23" fmla="*/ 380 h 380"/>
                <a:gd name="T24" fmla="*/ 346 w 413"/>
                <a:gd name="T25" fmla="*/ 373 h 380"/>
                <a:gd name="T26" fmla="*/ 346 w 413"/>
                <a:gd name="T27" fmla="*/ 340 h 380"/>
                <a:gd name="T28" fmla="*/ 339 w 413"/>
                <a:gd name="T29" fmla="*/ 332 h 380"/>
                <a:gd name="T30" fmla="*/ 280 w 413"/>
                <a:gd name="T31" fmla="*/ 332 h 380"/>
                <a:gd name="T32" fmla="*/ 280 w 413"/>
                <a:gd name="T33" fmla="*/ 281 h 380"/>
                <a:gd name="T34" fmla="*/ 406 w 413"/>
                <a:gd name="T35" fmla="*/ 281 h 380"/>
                <a:gd name="T36" fmla="*/ 413 w 413"/>
                <a:gd name="T37" fmla="*/ 273 h 380"/>
                <a:gd name="T38" fmla="*/ 413 w 413"/>
                <a:gd name="T39" fmla="*/ 7 h 380"/>
                <a:gd name="T40" fmla="*/ 406 w 413"/>
                <a:gd name="T41" fmla="*/ 0 h 380"/>
                <a:gd name="T42" fmla="*/ 331 w 413"/>
                <a:gd name="T43" fmla="*/ 366 h 380"/>
                <a:gd name="T44" fmla="*/ 80 w 413"/>
                <a:gd name="T45" fmla="*/ 366 h 380"/>
                <a:gd name="T46" fmla="*/ 80 w 413"/>
                <a:gd name="T47" fmla="*/ 347 h 380"/>
                <a:gd name="T48" fmla="*/ 331 w 413"/>
                <a:gd name="T49" fmla="*/ 347 h 380"/>
                <a:gd name="T50" fmla="*/ 331 w 413"/>
                <a:gd name="T51" fmla="*/ 366 h 380"/>
                <a:gd name="T52" fmla="*/ 266 w 413"/>
                <a:gd name="T53" fmla="*/ 332 h 380"/>
                <a:gd name="T54" fmla="*/ 148 w 413"/>
                <a:gd name="T55" fmla="*/ 332 h 380"/>
                <a:gd name="T56" fmla="*/ 148 w 413"/>
                <a:gd name="T57" fmla="*/ 281 h 380"/>
                <a:gd name="T58" fmla="*/ 266 w 413"/>
                <a:gd name="T59" fmla="*/ 281 h 380"/>
                <a:gd name="T60" fmla="*/ 266 w 413"/>
                <a:gd name="T61" fmla="*/ 332 h 380"/>
                <a:gd name="T62" fmla="*/ 399 w 413"/>
                <a:gd name="T63" fmla="*/ 266 h 380"/>
                <a:gd name="T64" fmla="*/ 15 w 413"/>
                <a:gd name="T65" fmla="*/ 266 h 380"/>
                <a:gd name="T66" fmla="*/ 15 w 413"/>
                <a:gd name="T67" fmla="*/ 15 h 380"/>
                <a:gd name="T68" fmla="*/ 399 w 413"/>
                <a:gd name="T69" fmla="*/ 15 h 380"/>
                <a:gd name="T70" fmla="*/ 399 w 413"/>
                <a:gd name="T71" fmla="*/ 266 h 380"/>
                <a:gd name="T72" fmla="*/ 40 w 413"/>
                <a:gd name="T73" fmla="*/ 247 h 380"/>
                <a:gd name="T74" fmla="*/ 373 w 413"/>
                <a:gd name="T75" fmla="*/ 247 h 380"/>
                <a:gd name="T76" fmla="*/ 381 w 413"/>
                <a:gd name="T77" fmla="*/ 240 h 380"/>
                <a:gd name="T78" fmla="*/ 381 w 413"/>
                <a:gd name="T79" fmla="*/ 41 h 380"/>
                <a:gd name="T80" fmla="*/ 373 w 413"/>
                <a:gd name="T81" fmla="*/ 33 h 380"/>
                <a:gd name="T82" fmla="*/ 40 w 413"/>
                <a:gd name="T83" fmla="*/ 33 h 380"/>
                <a:gd name="T84" fmla="*/ 33 w 413"/>
                <a:gd name="T85" fmla="*/ 41 h 380"/>
                <a:gd name="T86" fmla="*/ 33 w 413"/>
                <a:gd name="T87" fmla="*/ 240 h 380"/>
                <a:gd name="T88" fmla="*/ 40 w 413"/>
                <a:gd name="T89" fmla="*/ 247 h 380"/>
                <a:gd name="T90" fmla="*/ 47 w 413"/>
                <a:gd name="T91" fmla="*/ 48 h 380"/>
                <a:gd name="T92" fmla="*/ 366 w 413"/>
                <a:gd name="T93" fmla="*/ 48 h 380"/>
                <a:gd name="T94" fmla="*/ 366 w 413"/>
                <a:gd name="T95" fmla="*/ 233 h 380"/>
                <a:gd name="T96" fmla="*/ 47 w 413"/>
                <a:gd name="T97" fmla="*/ 233 h 380"/>
                <a:gd name="T98" fmla="*/ 47 w 413"/>
                <a:gd name="T99" fmla="*/ 48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13" h="380">
                  <a:moveTo>
                    <a:pt x="406" y="0"/>
                  </a:moveTo>
                  <a:cubicBezTo>
                    <a:pt x="7" y="0"/>
                    <a:pt x="7" y="0"/>
                    <a:pt x="7" y="0"/>
                  </a:cubicBezTo>
                  <a:cubicBezTo>
                    <a:pt x="3" y="0"/>
                    <a:pt x="0" y="3"/>
                    <a:pt x="0" y="7"/>
                  </a:cubicBezTo>
                  <a:cubicBezTo>
                    <a:pt x="0" y="273"/>
                    <a:pt x="0" y="273"/>
                    <a:pt x="0" y="273"/>
                  </a:cubicBezTo>
                  <a:cubicBezTo>
                    <a:pt x="0" y="277"/>
                    <a:pt x="3" y="281"/>
                    <a:pt x="7" y="281"/>
                  </a:cubicBezTo>
                  <a:cubicBezTo>
                    <a:pt x="133" y="281"/>
                    <a:pt x="133" y="281"/>
                    <a:pt x="133" y="281"/>
                  </a:cubicBezTo>
                  <a:cubicBezTo>
                    <a:pt x="133" y="332"/>
                    <a:pt x="133" y="332"/>
                    <a:pt x="133" y="332"/>
                  </a:cubicBezTo>
                  <a:cubicBezTo>
                    <a:pt x="73" y="332"/>
                    <a:pt x="73" y="332"/>
                    <a:pt x="73" y="332"/>
                  </a:cubicBezTo>
                  <a:cubicBezTo>
                    <a:pt x="69" y="332"/>
                    <a:pt x="65" y="336"/>
                    <a:pt x="65" y="340"/>
                  </a:cubicBezTo>
                  <a:cubicBezTo>
                    <a:pt x="65" y="373"/>
                    <a:pt x="65" y="373"/>
                    <a:pt x="65" y="373"/>
                  </a:cubicBezTo>
                  <a:cubicBezTo>
                    <a:pt x="65" y="377"/>
                    <a:pt x="69" y="380"/>
                    <a:pt x="73" y="380"/>
                  </a:cubicBezTo>
                  <a:cubicBezTo>
                    <a:pt x="339" y="380"/>
                    <a:pt x="339" y="380"/>
                    <a:pt x="339" y="380"/>
                  </a:cubicBezTo>
                  <a:cubicBezTo>
                    <a:pt x="343" y="380"/>
                    <a:pt x="346" y="377"/>
                    <a:pt x="346" y="373"/>
                  </a:cubicBezTo>
                  <a:cubicBezTo>
                    <a:pt x="346" y="340"/>
                    <a:pt x="346" y="340"/>
                    <a:pt x="346" y="340"/>
                  </a:cubicBezTo>
                  <a:cubicBezTo>
                    <a:pt x="346" y="336"/>
                    <a:pt x="343" y="332"/>
                    <a:pt x="339" y="332"/>
                  </a:cubicBezTo>
                  <a:cubicBezTo>
                    <a:pt x="280" y="332"/>
                    <a:pt x="280" y="332"/>
                    <a:pt x="280" y="332"/>
                  </a:cubicBezTo>
                  <a:cubicBezTo>
                    <a:pt x="280" y="281"/>
                    <a:pt x="280" y="281"/>
                    <a:pt x="280" y="281"/>
                  </a:cubicBezTo>
                  <a:cubicBezTo>
                    <a:pt x="406" y="281"/>
                    <a:pt x="406" y="281"/>
                    <a:pt x="406" y="281"/>
                  </a:cubicBezTo>
                  <a:cubicBezTo>
                    <a:pt x="410" y="281"/>
                    <a:pt x="413" y="277"/>
                    <a:pt x="413" y="273"/>
                  </a:cubicBezTo>
                  <a:cubicBezTo>
                    <a:pt x="413" y="7"/>
                    <a:pt x="413" y="7"/>
                    <a:pt x="413" y="7"/>
                  </a:cubicBezTo>
                  <a:cubicBezTo>
                    <a:pt x="413" y="3"/>
                    <a:pt x="410" y="0"/>
                    <a:pt x="406" y="0"/>
                  </a:cubicBezTo>
                  <a:close/>
                  <a:moveTo>
                    <a:pt x="331" y="366"/>
                  </a:moveTo>
                  <a:cubicBezTo>
                    <a:pt x="80" y="366"/>
                    <a:pt x="80" y="366"/>
                    <a:pt x="80" y="366"/>
                  </a:cubicBezTo>
                  <a:cubicBezTo>
                    <a:pt x="80" y="347"/>
                    <a:pt x="80" y="347"/>
                    <a:pt x="80" y="347"/>
                  </a:cubicBezTo>
                  <a:cubicBezTo>
                    <a:pt x="331" y="347"/>
                    <a:pt x="331" y="347"/>
                    <a:pt x="331" y="347"/>
                  </a:cubicBezTo>
                  <a:lnTo>
                    <a:pt x="331" y="366"/>
                  </a:lnTo>
                  <a:close/>
                  <a:moveTo>
                    <a:pt x="266" y="332"/>
                  </a:moveTo>
                  <a:cubicBezTo>
                    <a:pt x="148" y="332"/>
                    <a:pt x="148" y="332"/>
                    <a:pt x="148" y="332"/>
                  </a:cubicBezTo>
                  <a:cubicBezTo>
                    <a:pt x="148" y="281"/>
                    <a:pt x="148" y="281"/>
                    <a:pt x="148" y="281"/>
                  </a:cubicBezTo>
                  <a:cubicBezTo>
                    <a:pt x="266" y="281"/>
                    <a:pt x="266" y="281"/>
                    <a:pt x="266" y="281"/>
                  </a:cubicBezTo>
                  <a:lnTo>
                    <a:pt x="266" y="332"/>
                  </a:lnTo>
                  <a:close/>
                  <a:moveTo>
                    <a:pt x="399" y="266"/>
                  </a:moveTo>
                  <a:cubicBezTo>
                    <a:pt x="15" y="266"/>
                    <a:pt x="15" y="266"/>
                    <a:pt x="15" y="266"/>
                  </a:cubicBezTo>
                  <a:cubicBezTo>
                    <a:pt x="15" y="15"/>
                    <a:pt x="15" y="15"/>
                    <a:pt x="15" y="15"/>
                  </a:cubicBezTo>
                  <a:cubicBezTo>
                    <a:pt x="399" y="15"/>
                    <a:pt x="399" y="15"/>
                    <a:pt x="399" y="15"/>
                  </a:cubicBezTo>
                  <a:lnTo>
                    <a:pt x="399" y="266"/>
                  </a:lnTo>
                  <a:close/>
                  <a:moveTo>
                    <a:pt x="40" y="247"/>
                  </a:moveTo>
                  <a:cubicBezTo>
                    <a:pt x="373" y="247"/>
                    <a:pt x="373" y="247"/>
                    <a:pt x="373" y="247"/>
                  </a:cubicBezTo>
                  <a:cubicBezTo>
                    <a:pt x="377" y="247"/>
                    <a:pt x="381" y="244"/>
                    <a:pt x="381" y="240"/>
                  </a:cubicBezTo>
                  <a:cubicBezTo>
                    <a:pt x="381" y="41"/>
                    <a:pt x="381" y="41"/>
                    <a:pt x="381" y="41"/>
                  </a:cubicBezTo>
                  <a:cubicBezTo>
                    <a:pt x="381" y="37"/>
                    <a:pt x="377" y="33"/>
                    <a:pt x="373" y="33"/>
                  </a:cubicBezTo>
                  <a:cubicBezTo>
                    <a:pt x="40" y="33"/>
                    <a:pt x="40" y="33"/>
                    <a:pt x="40" y="33"/>
                  </a:cubicBezTo>
                  <a:cubicBezTo>
                    <a:pt x="36" y="33"/>
                    <a:pt x="33" y="37"/>
                    <a:pt x="33" y="41"/>
                  </a:cubicBezTo>
                  <a:cubicBezTo>
                    <a:pt x="33" y="240"/>
                    <a:pt x="33" y="240"/>
                    <a:pt x="33" y="240"/>
                  </a:cubicBezTo>
                  <a:cubicBezTo>
                    <a:pt x="33" y="244"/>
                    <a:pt x="36" y="247"/>
                    <a:pt x="40" y="247"/>
                  </a:cubicBezTo>
                  <a:close/>
                  <a:moveTo>
                    <a:pt x="47" y="48"/>
                  </a:moveTo>
                  <a:cubicBezTo>
                    <a:pt x="366" y="48"/>
                    <a:pt x="366" y="48"/>
                    <a:pt x="366" y="48"/>
                  </a:cubicBezTo>
                  <a:cubicBezTo>
                    <a:pt x="366" y="233"/>
                    <a:pt x="366" y="233"/>
                    <a:pt x="366" y="233"/>
                  </a:cubicBezTo>
                  <a:cubicBezTo>
                    <a:pt x="47" y="233"/>
                    <a:pt x="47" y="233"/>
                    <a:pt x="47" y="233"/>
                  </a:cubicBezTo>
                  <a:lnTo>
                    <a:pt x="47" y="48"/>
                  </a:lnTo>
                  <a:close/>
                </a:path>
              </a:pathLst>
            </a:custGeom>
            <a:solidFill>
              <a:schemeClr val="bg1"/>
            </a:solidFill>
            <a:ln>
              <a:noFill/>
            </a:ln>
          </p:spPr>
          <p:txBody>
            <a:bodyPr vert="horz" wrap="square" lIns="68571" tIns="34286" rIns="68571" bIns="34286" numCol="1" anchor="t" anchorCtr="0" compatLnSpc="1"/>
            <a:lstStyle/>
            <a:p>
              <a:endParaRPr lang="en-US"/>
            </a:p>
          </p:txBody>
        </p:sp>
        <p:sp>
          <p:nvSpPr>
            <p:cNvPr id="26" name="圆角矩形 25"/>
            <p:cNvSpPr/>
            <p:nvPr/>
          </p:nvSpPr>
          <p:spPr>
            <a:xfrm>
              <a:off x="2492916" y="2200655"/>
              <a:ext cx="432048" cy="432048"/>
            </a:xfrm>
            <a:prstGeom prst="roundRect">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17" name="组合 16"/>
          <p:cNvGrpSpPr/>
          <p:nvPr/>
        </p:nvGrpSpPr>
        <p:grpSpPr>
          <a:xfrm>
            <a:off x="9272270" y="2381164"/>
            <a:ext cx="540060" cy="540060"/>
            <a:chOff x="9371570" y="2200655"/>
            <a:chExt cx="432048" cy="432048"/>
          </a:xfrm>
        </p:grpSpPr>
        <p:sp>
          <p:nvSpPr>
            <p:cNvPr id="23" name="Freeform 83"/>
            <p:cNvSpPr>
              <a:spLocks noEditPoints="1"/>
            </p:cNvSpPr>
            <p:nvPr/>
          </p:nvSpPr>
          <p:spPr bwMode="auto">
            <a:xfrm>
              <a:off x="9434582" y="2297753"/>
              <a:ext cx="306025" cy="237853"/>
            </a:xfrm>
            <a:custGeom>
              <a:avLst/>
              <a:gdLst>
                <a:gd name="T0" fmla="*/ 339 w 413"/>
                <a:gd name="T1" fmla="*/ 41 h 321"/>
                <a:gd name="T2" fmla="*/ 280 w 413"/>
                <a:gd name="T3" fmla="*/ 41 h 321"/>
                <a:gd name="T4" fmla="*/ 280 w 413"/>
                <a:gd name="T5" fmla="*/ 8 h 321"/>
                <a:gd name="T6" fmla="*/ 273 w 413"/>
                <a:gd name="T7" fmla="*/ 0 h 321"/>
                <a:gd name="T8" fmla="*/ 140 w 413"/>
                <a:gd name="T9" fmla="*/ 0 h 321"/>
                <a:gd name="T10" fmla="*/ 132 w 413"/>
                <a:gd name="T11" fmla="*/ 8 h 321"/>
                <a:gd name="T12" fmla="*/ 132 w 413"/>
                <a:gd name="T13" fmla="*/ 41 h 321"/>
                <a:gd name="T14" fmla="*/ 73 w 413"/>
                <a:gd name="T15" fmla="*/ 41 h 321"/>
                <a:gd name="T16" fmla="*/ 0 w 413"/>
                <a:gd name="T17" fmla="*/ 115 h 321"/>
                <a:gd name="T18" fmla="*/ 0 w 413"/>
                <a:gd name="T19" fmla="*/ 247 h 321"/>
                <a:gd name="T20" fmla="*/ 73 w 413"/>
                <a:gd name="T21" fmla="*/ 321 h 321"/>
                <a:gd name="T22" fmla="*/ 339 w 413"/>
                <a:gd name="T23" fmla="*/ 321 h 321"/>
                <a:gd name="T24" fmla="*/ 413 w 413"/>
                <a:gd name="T25" fmla="*/ 247 h 321"/>
                <a:gd name="T26" fmla="*/ 413 w 413"/>
                <a:gd name="T27" fmla="*/ 115 h 321"/>
                <a:gd name="T28" fmla="*/ 339 w 413"/>
                <a:gd name="T29" fmla="*/ 41 h 321"/>
                <a:gd name="T30" fmla="*/ 81 w 413"/>
                <a:gd name="T31" fmla="*/ 56 h 321"/>
                <a:gd name="T32" fmla="*/ 332 w 413"/>
                <a:gd name="T33" fmla="*/ 56 h 321"/>
                <a:gd name="T34" fmla="*/ 332 w 413"/>
                <a:gd name="T35" fmla="*/ 306 h 321"/>
                <a:gd name="T36" fmla="*/ 81 w 413"/>
                <a:gd name="T37" fmla="*/ 306 h 321"/>
                <a:gd name="T38" fmla="*/ 81 w 413"/>
                <a:gd name="T39" fmla="*/ 56 h 321"/>
                <a:gd name="T40" fmla="*/ 147 w 413"/>
                <a:gd name="T41" fmla="*/ 15 h 321"/>
                <a:gd name="T42" fmla="*/ 265 w 413"/>
                <a:gd name="T43" fmla="*/ 15 h 321"/>
                <a:gd name="T44" fmla="*/ 265 w 413"/>
                <a:gd name="T45" fmla="*/ 41 h 321"/>
                <a:gd name="T46" fmla="*/ 147 w 413"/>
                <a:gd name="T47" fmla="*/ 41 h 321"/>
                <a:gd name="T48" fmla="*/ 147 w 413"/>
                <a:gd name="T49" fmla="*/ 15 h 321"/>
                <a:gd name="T50" fmla="*/ 14 w 413"/>
                <a:gd name="T51" fmla="*/ 247 h 321"/>
                <a:gd name="T52" fmla="*/ 14 w 413"/>
                <a:gd name="T53" fmla="*/ 115 h 321"/>
                <a:gd name="T54" fmla="*/ 66 w 413"/>
                <a:gd name="T55" fmla="*/ 56 h 321"/>
                <a:gd name="T56" fmla="*/ 66 w 413"/>
                <a:gd name="T57" fmla="*/ 305 h 321"/>
                <a:gd name="T58" fmla="*/ 14 w 413"/>
                <a:gd name="T59" fmla="*/ 247 h 321"/>
                <a:gd name="T60" fmla="*/ 398 w 413"/>
                <a:gd name="T61" fmla="*/ 247 h 321"/>
                <a:gd name="T62" fmla="*/ 347 w 413"/>
                <a:gd name="T63" fmla="*/ 305 h 321"/>
                <a:gd name="T64" fmla="*/ 347 w 413"/>
                <a:gd name="T65" fmla="*/ 56 h 321"/>
                <a:gd name="T66" fmla="*/ 398 w 413"/>
                <a:gd name="T67" fmla="*/ 115 h 321"/>
                <a:gd name="T68" fmla="*/ 398 w 413"/>
                <a:gd name="T69" fmla="*/ 247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13" h="321">
                  <a:moveTo>
                    <a:pt x="339" y="41"/>
                  </a:moveTo>
                  <a:cubicBezTo>
                    <a:pt x="280" y="41"/>
                    <a:pt x="280" y="41"/>
                    <a:pt x="280" y="41"/>
                  </a:cubicBezTo>
                  <a:cubicBezTo>
                    <a:pt x="280" y="8"/>
                    <a:pt x="280" y="8"/>
                    <a:pt x="280" y="8"/>
                  </a:cubicBezTo>
                  <a:cubicBezTo>
                    <a:pt x="280" y="4"/>
                    <a:pt x="277" y="0"/>
                    <a:pt x="273" y="0"/>
                  </a:cubicBezTo>
                  <a:cubicBezTo>
                    <a:pt x="140" y="0"/>
                    <a:pt x="140" y="0"/>
                    <a:pt x="140" y="0"/>
                  </a:cubicBezTo>
                  <a:cubicBezTo>
                    <a:pt x="136" y="0"/>
                    <a:pt x="132" y="4"/>
                    <a:pt x="132" y="8"/>
                  </a:cubicBezTo>
                  <a:cubicBezTo>
                    <a:pt x="132" y="41"/>
                    <a:pt x="132" y="41"/>
                    <a:pt x="132" y="41"/>
                  </a:cubicBezTo>
                  <a:cubicBezTo>
                    <a:pt x="73" y="41"/>
                    <a:pt x="73" y="41"/>
                    <a:pt x="73" y="41"/>
                  </a:cubicBezTo>
                  <a:cubicBezTo>
                    <a:pt x="33" y="41"/>
                    <a:pt x="0" y="74"/>
                    <a:pt x="0" y="115"/>
                  </a:cubicBezTo>
                  <a:cubicBezTo>
                    <a:pt x="0" y="247"/>
                    <a:pt x="0" y="247"/>
                    <a:pt x="0" y="247"/>
                  </a:cubicBezTo>
                  <a:cubicBezTo>
                    <a:pt x="0" y="288"/>
                    <a:pt x="33" y="321"/>
                    <a:pt x="73" y="321"/>
                  </a:cubicBezTo>
                  <a:cubicBezTo>
                    <a:pt x="339" y="321"/>
                    <a:pt x="339" y="321"/>
                    <a:pt x="339" y="321"/>
                  </a:cubicBezTo>
                  <a:cubicBezTo>
                    <a:pt x="380" y="321"/>
                    <a:pt x="413" y="288"/>
                    <a:pt x="413" y="247"/>
                  </a:cubicBezTo>
                  <a:cubicBezTo>
                    <a:pt x="413" y="115"/>
                    <a:pt x="413" y="115"/>
                    <a:pt x="413" y="115"/>
                  </a:cubicBezTo>
                  <a:cubicBezTo>
                    <a:pt x="413" y="74"/>
                    <a:pt x="380" y="41"/>
                    <a:pt x="339" y="41"/>
                  </a:cubicBezTo>
                  <a:close/>
                  <a:moveTo>
                    <a:pt x="81" y="56"/>
                  </a:moveTo>
                  <a:cubicBezTo>
                    <a:pt x="332" y="56"/>
                    <a:pt x="332" y="56"/>
                    <a:pt x="332" y="56"/>
                  </a:cubicBezTo>
                  <a:cubicBezTo>
                    <a:pt x="332" y="306"/>
                    <a:pt x="332" y="306"/>
                    <a:pt x="332" y="306"/>
                  </a:cubicBezTo>
                  <a:cubicBezTo>
                    <a:pt x="81" y="306"/>
                    <a:pt x="81" y="306"/>
                    <a:pt x="81" y="306"/>
                  </a:cubicBezTo>
                  <a:lnTo>
                    <a:pt x="81" y="56"/>
                  </a:lnTo>
                  <a:close/>
                  <a:moveTo>
                    <a:pt x="147" y="15"/>
                  </a:moveTo>
                  <a:cubicBezTo>
                    <a:pt x="265" y="15"/>
                    <a:pt x="265" y="15"/>
                    <a:pt x="265" y="15"/>
                  </a:cubicBezTo>
                  <a:cubicBezTo>
                    <a:pt x="265" y="41"/>
                    <a:pt x="265" y="41"/>
                    <a:pt x="265" y="41"/>
                  </a:cubicBezTo>
                  <a:cubicBezTo>
                    <a:pt x="147" y="41"/>
                    <a:pt x="147" y="41"/>
                    <a:pt x="147" y="41"/>
                  </a:cubicBezTo>
                  <a:lnTo>
                    <a:pt x="147" y="15"/>
                  </a:lnTo>
                  <a:close/>
                  <a:moveTo>
                    <a:pt x="14" y="247"/>
                  </a:moveTo>
                  <a:cubicBezTo>
                    <a:pt x="14" y="115"/>
                    <a:pt x="14" y="115"/>
                    <a:pt x="14" y="115"/>
                  </a:cubicBezTo>
                  <a:cubicBezTo>
                    <a:pt x="14" y="85"/>
                    <a:pt x="37" y="60"/>
                    <a:pt x="66" y="56"/>
                  </a:cubicBezTo>
                  <a:cubicBezTo>
                    <a:pt x="66" y="305"/>
                    <a:pt x="66" y="305"/>
                    <a:pt x="66" y="305"/>
                  </a:cubicBezTo>
                  <a:cubicBezTo>
                    <a:pt x="37" y="302"/>
                    <a:pt x="14" y="277"/>
                    <a:pt x="14" y="247"/>
                  </a:cubicBezTo>
                  <a:close/>
                  <a:moveTo>
                    <a:pt x="398" y="247"/>
                  </a:moveTo>
                  <a:cubicBezTo>
                    <a:pt x="398" y="277"/>
                    <a:pt x="376" y="302"/>
                    <a:pt x="347" y="305"/>
                  </a:cubicBezTo>
                  <a:cubicBezTo>
                    <a:pt x="347" y="56"/>
                    <a:pt x="347" y="56"/>
                    <a:pt x="347" y="56"/>
                  </a:cubicBezTo>
                  <a:cubicBezTo>
                    <a:pt x="376" y="60"/>
                    <a:pt x="398" y="85"/>
                    <a:pt x="398" y="115"/>
                  </a:cubicBezTo>
                  <a:lnTo>
                    <a:pt x="398" y="247"/>
                  </a:lnTo>
                  <a:close/>
                </a:path>
              </a:pathLst>
            </a:custGeom>
            <a:solidFill>
              <a:schemeClr val="bg1"/>
            </a:solidFill>
            <a:ln>
              <a:noFill/>
            </a:ln>
          </p:spPr>
          <p:txBody>
            <a:bodyPr vert="horz" wrap="square" lIns="68571" tIns="34286" rIns="68571" bIns="34286" numCol="1" anchor="t" anchorCtr="0" compatLnSpc="1"/>
            <a:lstStyle/>
            <a:p>
              <a:endParaRPr lang="en-US"/>
            </a:p>
          </p:txBody>
        </p:sp>
        <p:sp>
          <p:nvSpPr>
            <p:cNvPr id="29" name="圆角矩形 28"/>
            <p:cNvSpPr/>
            <p:nvPr/>
          </p:nvSpPr>
          <p:spPr>
            <a:xfrm>
              <a:off x="9371570" y="2200655"/>
              <a:ext cx="432048" cy="432048"/>
            </a:xfrm>
            <a:prstGeom prst="roundRect">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31" name="TextBox 30"/>
          <p:cNvSpPr txBox="1"/>
          <p:nvPr/>
        </p:nvSpPr>
        <p:spPr>
          <a:xfrm>
            <a:off x="1780421" y="3084211"/>
            <a:ext cx="1735384" cy="400110"/>
          </a:xfrm>
          <a:prstGeom prst="rect">
            <a:avLst/>
          </a:prstGeom>
          <a:noFill/>
        </p:spPr>
        <p:txBody>
          <a:bodyPr wrap="square" rtlCol="0">
            <a:spAutoFit/>
          </a:bodyPr>
          <a:lstStyle/>
          <a:p>
            <a:pPr algn="ctr"/>
            <a:r>
              <a:rPr lang="zh-CN" altLang="en-US" sz="2000" smtClean="0">
                <a:solidFill>
                  <a:schemeClr val="bg1"/>
                </a:solidFill>
                <a:latin typeface="华文黑体" pitchFamily="2" charset="-122"/>
                <a:ea typeface="华文黑体" pitchFamily="2" charset="-122"/>
                <a:cs typeface="华文黑体" pitchFamily="2" charset="-122"/>
              </a:rPr>
              <a:t>单击添加标题</a:t>
            </a:r>
            <a:endParaRPr lang="zh-CN" altLang="en-US" sz="2000">
              <a:solidFill>
                <a:schemeClr val="bg1"/>
              </a:solidFill>
              <a:latin typeface="华文细黑" panose="02010600040101010101" pitchFamily="2" charset="-122"/>
              <a:ea typeface="华文细黑" panose="02010600040101010101" pitchFamily="2" charset="-122"/>
              <a:cs typeface="华文黑体" pitchFamily="2" charset="-122"/>
            </a:endParaRPr>
          </a:p>
        </p:txBody>
      </p:sp>
      <p:sp>
        <p:nvSpPr>
          <p:cNvPr id="32" name="TextBox 31"/>
          <p:cNvSpPr txBox="1"/>
          <p:nvPr/>
        </p:nvSpPr>
        <p:spPr>
          <a:xfrm>
            <a:off x="8674608" y="3084211"/>
            <a:ext cx="1735384" cy="400110"/>
          </a:xfrm>
          <a:prstGeom prst="rect">
            <a:avLst/>
          </a:prstGeom>
          <a:noFill/>
        </p:spPr>
        <p:txBody>
          <a:bodyPr wrap="square" rtlCol="0">
            <a:spAutoFit/>
          </a:bodyPr>
          <a:lstStyle/>
          <a:p>
            <a:pPr algn="ctr"/>
            <a:r>
              <a:rPr lang="zh-CN" altLang="en-US" sz="2000" smtClean="0">
                <a:solidFill>
                  <a:schemeClr val="bg1"/>
                </a:solidFill>
                <a:latin typeface="华文黑体" pitchFamily="2" charset="-122"/>
                <a:ea typeface="华文黑体" pitchFamily="2" charset="-122"/>
                <a:cs typeface="华文黑体" pitchFamily="2" charset="-122"/>
              </a:rPr>
              <a:t>单击添加标题</a:t>
            </a:r>
            <a:endParaRPr lang="zh-CN" altLang="en-US" sz="2000">
              <a:solidFill>
                <a:schemeClr val="bg1"/>
              </a:solidFill>
              <a:latin typeface="华文细黑" panose="02010600040101010101" pitchFamily="2" charset="-122"/>
              <a:ea typeface="华文细黑" panose="02010600040101010101" pitchFamily="2" charset="-122"/>
              <a:cs typeface="华文黑体" pitchFamily="2" charset="-122"/>
            </a:endParaRPr>
          </a:p>
        </p:txBody>
      </p:sp>
      <p:sp>
        <p:nvSpPr>
          <p:cNvPr id="18" name="右箭头 17"/>
          <p:cNvSpPr/>
          <p:nvPr/>
        </p:nvSpPr>
        <p:spPr>
          <a:xfrm>
            <a:off x="3983980" y="2735158"/>
            <a:ext cx="360040" cy="337088"/>
          </a:xfrm>
          <a:prstGeom prst="rightArrow">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6" name="右箭头 35"/>
          <p:cNvSpPr/>
          <p:nvPr/>
        </p:nvSpPr>
        <p:spPr>
          <a:xfrm flipH="1">
            <a:off x="7823398" y="2735158"/>
            <a:ext cx="360040" cy="337088"/>
          </a:xfrm>
          <a:prstGeom prst="rightArrow">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8" name="TextBox 37"/>
          <p:cNvSpPr txBox="1"/>
          <p:nvPr/>
        </p:nvSpPr>
        <p:spPr>
          <a:xfrm>
            <a:off x="2032168" y="4889252"/>
            <a:ext cx="1951812" cy="400110"/>
          </a:xfrm>
          <a:prstGeom prst="rect">
            <a:avLst/>
          </a:prstGeom>
          <a:noFill/>
        </p:spPr>
        <p:txBody>
          <a:bodyPr wrap="square" rtlCol="0">
            <a:spAutoFit/>
          </a:bodyPr>
          <a:lstStyle/>
          <a:p>
            <a:r>
              <a:rPr lang="zh-CN" altLang="en-US" sz="2000" smtClean="0">
                <a:solidFill>
                  <a:schemeClr val="bg1"/>
                </a:solidFill>
                <a:latin typeface="华文黑体" pitchFamily="2" charset="-122"/>
                <a:ea typeface="华文黑体" pitchFamily="2" charset="-122"/>
                <a:cs typeface="华文黑体" pitchFamily="2" charset="-122"/>
              </a:rPr>
              <a:t>单击添加标题</a:t>
            </a:r>
            <a:endParaRPr lang="zh-CN" altLang="en-US" sz="2000">
              <a:solidFill>
                <a:schemeClr val="bg1"/>
              </a:solidFill>
              <a:latin typeface="华文细黑" panose="02010600040101010101" pitchFamily="2" charset="-122"/>
              <a:ea typeface="华文细黑" panose="02010600040101010101" pitchFamily="2" charset="-122"/>
              <a:cs typeface="华文黑体" pitchFamily="2" charset="-122"/>
            </a:endParaRPr>
          </a:p>
        </p:txBody>
      </p:sp>
      <p:sp>
        <p:nvSpPr>
          <p:cNvPr id="39" name="TextBox 38"/>
          <p:cNvSpPr txBox="1"/>
          <p:nvPr/>
        </p:nvSpPr>
        <p:spPr>
          <a:xfrm>
            <a:off x="1486694" y="5498068"/>
            <a:ext cx="9270452" cy="523220"/>
          </a:xfrm>
          <a:prstGeom prst="rect">
            <a:avLst/>
          </a:prstGeom>
          <a:noFill/>
        </p:spPr>
        <p:txBody>
          <a:bodyPr wrap="square" rtlCol="0">
            <a:spAutoFit/>
          </a:bodyPr>
          <a:lstStyle/>
          <a:p>
            <a:r>
              <a:rPr lang="zh-CN" altLang="en-US" sz="1400">
                <a:solidFill>
                  <a:schemeClr val="bg1"/>
                </a:solidFill>
                <a:latin typeface="华文细黑" panose="02010600040101010101" pitchFamily="2" charset="-122"/>
                <a:ea typeface="华文细黑" panose="02010600040101010101" pitchFamily="2" charset="-122"/>
                <a:cs typeface="华文黑体" pitchFamily="2" charset="-122"/>
              </a:rPr>
              <a:t>单击添加文本单击添加文本单击添加文本单击添加文本单击添加文本单击添加文本单击添加</a:t>
            </a:r>
            <a:r>
              <a:rPr lang="zh-CN" altLang="en-US" sz="1400" smtClean="0">
                <a:solidFill>
                  <a:schemeClr val="bg1"/>
                </a:solidFill>
                <a:latin typeface="华文细黑" panose="02010600040101010101" pitchFamily="2" charset="-122"/>
                <a:ea typeface="华文细黑" panose="02010600040101010101" pitchFamily="2" charset="-122"/>
                <a:cs typeface="华文黑体" pitchFamily="2" charset="-122"/>
              </a:rPr>
              <a:t>文本</a:t>
            </a:r>
            <a:r>
              <a:rPr lang="zh-CN" altLang="en-US" sz="1400">
                <a:solidFill>
                  <a:schemeClr val="bg1"/>
                </a:solidFill>
                <a:latin typeface="华文细黑" panose="02010600040101010101" pitchFamily="2" charset="-122"/>
                <a:ea typeface="华文细黑" panose="02010600040101010101" pitchFamily="2" charset="-122"/>
                <a:cs typeface="华文黑体" pitchFamily="2" charset="-122"/>
              </a:rPr>
              <a:t>单击添加文本单击添加文本单击添加文本单击添加文本单击添加文本单击添加文本单击添加</a:t>
            </a:r>
            <a:r>
              <a:rPr lang="zh-CN" altLang="en-US" sz="1400" smtClean="0">
                <a:solidFill>
                  <a:schemeClr val="bg1"/>
                </a:solidFill>
                <a:latin typeface="华文细黑" panose="02010600040101010101" pitchFamily="2" charset="-122"/>
                <a:ea typeface="华文细黑" panose="02010600040101010101" pitchFamily="2" charset="-122"/>
                <a:cs typeface="华文黑体" pitchFamily="2" charset="-122"/>
              </a:rPr>
              <a:t>文本</a:t>
            </a:r>
            <a:endParaRPr lang="zh-CN" altLang="en-US" sz="1400">
              <a:solidFill>
                <a:schemeClr val="bg1"/>
              </a:solidFill>
              <a:latin typeface="华文细黑" panose="02010600040101010101" pitchFamily="2" charset="-122"/>
              <a:ea typeface="华文细黑" panose="02010600040101010101" pitchFamily="2" charset="-122"/>
              <a:cs typeface="华文黑体" pitchFamily="2" charset="-122"/>
            </a:endParaRPr>
          </a:p>
        </p:txBody>
      </p:sp>
      <p:sp>
        <p:nvSpPr>
          <p:cNvPr id="40" name="Freeform 88"/>
          <p:cNvSpPr>
            <a:spLocks noEditPoints="1"/>
          </p:cNvSpPr>
          <p:nvPr/>
        </p:nvSpPr>
        <p:spPr bwMode="auto">
          <a:xfrm>
            <a:off x="1558702" y="4845067"/>
            <a:ext cx="444411" cy="444295"/>
          </a:xfrm>
          <a:custGeom>
            <a:avLst/>
            <a:gdLst>
              <a:gd name="T0" fmla="*/ 207 w 414"/>
              <a:gd name="T1" fmla="*/ 0 h 414"/>
              <a:gd name="T2" fmla="*/ 0 w 414"/>
              <a:gd name="T3" fmla="*/ 207 h 414"/>
              <a:gd name="T4" fmla="*/ 207 w 414"/>
              <a:gd name="T5" fmla="*/ 414 h 414"/>
              <a:gd name="T6" fmla="*/ 414 w 414"/>
              <a:gd name="T7" fmla="*/ 207 h 414"/>
              <a:gd name="T8" fmla="*/ 207 w 414"/>
              <a:gd name="T9" fmla="*/ 0 h 414"/>
              <a:gd name="T10" fmla="*/ 207 w 414"/>
              <a:gd name="T11" fmla="*/ 399 h 414"/>
              <a:gd name="T12" fmla="*/ 15 w 414"/>
              <a:gd name="T13" fmla="*/ 207 h 414"/>
              <a:gd name="T14" fmla="*/ 207 w 414"/>
              <a:gd name="T15" fmla="*/ 15 h 414"/>
              <a:gd name="T16" fmla="*/ 399 w 414"/>
              <a:gd name="T17" fmla="*/ 207 h 414"/>
              <a:gd name="T18" fmla="*/ 207 w 414"/>
              <a:gd name="T19" fmla="*/ 399 h 414"/>
              <a:gd name="T20" fmla="*/ 299 w 414"/>
              <a:gd name="T21" fmla="*/ 174 h 414"/>
              <a:gd name="T22" fmla="*/ 314 w 414"/>
              <a:gd name="T23" fmla="*/ 174 h 414"/>
              <a:gd name="T24" fmla="*/ 314 w 414"/>
              <a:gd name="T25" fmla="*/ 307 h 414"/>
              <a:gd name="T26" fmla="*/ 306 w 414"/>
              <a:gd name="T27" fmla="*/ 314 h 414"/>
              <a:gd name="T28" fmla="*/ 173 w 414"/>
              <a:gd name="T29" fmla="*/ 314 h 414"/>
              <a:gd name="T30" fmla="*/ 173 w 414"/>
              <a:gd name="T31" fmla="*/ 300 h 414"/>
              <a:gd name="T32" fmla="*/ 288 w 414"/>
              <a:gd name="T33" fmla="*/ 300 h 414"/>
              <a:gd name="T34" fmla="*/ 108 w 414"/>
              <a:gd name="T35" fmla="*/ 120 h 414"/>
              <a:gd name="T36" fmla="*/ 119 w 414"/>
              <a:gd name="T37" fmla="*/ 109 h 414"/>
              <a:gd name="T38" fmla="*/ 299 w 414"/>
              <a:gd name="T39" fmla="*/ 289 h 414"/>
              <a:gd name="T40" fmla="*/ 299 w 414"/>
              <a:gd name="T41" fmla="*/ 174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4" h="414">
                <a:moveTo>
                  <a:pt x="207" y="0"/>
                </a:moveTo>
                <a:cubicBezTo>
                  <a:pt x="93" y="0"/>
                  <a:pt x="0" y="93"/>
                  <a:pt x="0" y="207"/>
                </a:cubicBezTo>
                <a:cubicBezTo>
                  <a:pt x="0" y="321"/>
                  <a:pt x="93" y="414"/>
                  <a:pt x="207" y="414"/>
                </a:cubicBezTo>
                <a:cubicBezTo>
                  <a:pt x="321" y="414"/>
                  <a:pt x="414" y="321"/>
                  <a:pt x="414" y="207"/>
                </a:cubicBezTo>
                <a:cubicBezTo>
                  <a:pt x="414" y="93"/>
                  <a:pt x="321" y="0"/>
                  <a:pt x="207" y="0"/>
                </a:cubicBezTo>
                <a:close/>
                <a:moveTo>
                  <a:pt x="207" y="399"/>
                </a:moveTo>
                <a:cubicBezTo>
                  <a:pt x="101" y="399"/>
                  <a:pt x="15" y="313"/>
                  <a:pt x="15" y="207"/>
                </a:cubicBezTo>
                <a:cubicBezTo>
                  <a:pt x="15" y="101"/>
                  <a:pt x="101" y="15"/>
                  <a:pt x="207" y="15"/>
                </a:cubicBezTo>
                <a:cubicBezTo>
                  <a:pt x="313" y="15"/>
                  <a:pt x="399" y="101"/>
                  <a:pt x="399" y="207"/>
                </a:cubicBezTo>
                <a:cubicBezTo>
                  <a:pt x="399" y="313"/>
                  <a:pt x="313" y="399"/>
                  <a:pt x="207" y="399"/>
                </a:cubicBezTo>
                <a:close/>
                <a:moveTo>
                  <a:pt x="299" y="174"/>
                </a:moveTo>
                <a:cubicBezTo>
                  <a:pt x="314" y="174"/>
                  <a:pt x="314" y="174"/>
                  <a:pt x="314" y="174"/>
                </a:cubicBezTo>
                <a:cubicBezTo>
                  <a:pt x="314" y="307"/>
                  <a:pt x="314" y="307"/>
                  <a:pt x="314" y="307"/>
                </a:cubicBezTo>
                <a:cubicBezTo>
                  <a:pt x="314" y="311"/>
                  <a:pt x="310" y="314"/>
                  <a:pt x="306" y="314"/>
                </a:cubicBezTo>
                <a:cubicBezTo>
                  <a:pt x="173" y="314"/>
                  <a:pt x="173" y="314"/>
                  <a:pt x="173" y="314"/>
                </a:cubicBezTo>
                <a:cubicBezTo>
                  <a:pt x="173" y="300"/>
                  <a:pt x="173" y="300"/>
                  <a:pt x="173" y="300"/>
                </a:cubicBezTo>
                <a:cubicBezTo>
                  <a:pt x="288" y="300"/>
                  <a:pt x="288" y="300"/>
                  <a:pt x="288" y="300"/>
                </a:cubicBezTo>
                <a:cubicBezTo>
                  <a:pt x="108" y="120"/>
                  <a:pt x="108" y="120"/>
                  <a:pt x="108" y="120"/>
                </a:cubicBezTo>
                <a:cubicBezTo>
                  <a:pt x="119" y="109"/>
                  <a:pt x="119" y="109"/>
                  <a:pt x="119" y="109"/>
                </a:cubicBezTo>
                <a:cubicBezTo>
                  <a:pt x="299" y="289"/>
                  <a:pt x="299" y="289"/>
                  <a:pt x="299" y="289"/>
                </a:cubicBezTo>
                <a:lnTo>
                  <a:pt x="299" y="174"/>
                </a:lnTo>
                <a:close/>
              </a:path>
            </a:pathLst>
          </a:custGeom>
          <a:solidFill>
            <a:schemeClr val="bg1"/>
          </a:solidFill>
          <a:ln>
            <a:noFill/>
          </a:ln>
        </p:spPr>
        <p:txBody>
          <a:bodyPr vert="horz" wrap="square" lIns="68571" tIns="34286" rIns="68571" bIns="34286" numCol="1" anchor="t" anchorCtr="0" compatLnSpc="1"/>
          <a:lstStyle/>
          <a:p>
            <a:endParaRPr lang="en-US"/>
          </a:p>
        </p:txBody>
      </p:sp>
      <p:cxnSp>
        <p:nvCxnSpPr>
          <p:cNvPr id="41" name="直接连接符 40"/>
          <p:cNvCxnSpPr/>
          <p:nvPr/>
        </p:nvCxnSpPr>
        <p:spPr>
          <a:xfrm>
            <a:off x="1558702" y="5445224"/>
            <a:ext cx="9145016" cy="0"/>
          </a:xfrm>
          <a:prstGeom prst="line">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sp>
        <p:nvSpPr>
          <p:cNvPr id="33" name="圆角矩形 32"/>
          <p:cNvSpPr/>
          <p:nvPr/>
        </p:nvSpPr>
        <p:spPr>
          <a:xfrm>
            <a:off x="8894702" y="260648"/>
            <a:ext cx="2673112" cy="600163"/>
          </a:xfrm>
          <a:prstGeom prst="roundRect">
            <a:avLst/>
          </a:prstGeom>
          <a:solidFill>
            <a:srgbClr val="FFFFFF"/>
          </a:solidFill>
          <a:ln>
            <a:noFill/>
          </a:ln>
          <a:effectLst>
            <a:reflection blurRad="6350" stA="25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7" name="TextBox 36"/>
          <p:cNvSpPr txBox="1"/>
          <p:nvPr/>
        </p:nvSpPr>
        <p:spPr>
          <a:xfrm>
            <a:off x="9061707" y="260648"/>
            <a:ext cx="2339102" cy="523220"/>
          </a:xfrm>
          <a:prstGeom prst="rect">
            <a:avLst/>
          </a:prstGeom>
          <a:noFill/>
        </p:spPr>
        <p:txBody>
          <a:bodyPr wrap="none" rtlCol="0" anchor="ctr">
            <a:spAutoFit/>
          </a:bodyPr>
          <a:lstStyle>
            <a:defPPr>
              <a:defRPr lang="zh-CN"/>
            </a:defPPr>
            <a:lvl1pPr algn="ctr">
              <a:defRPr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anose="02010600040101010101" pitchFamily="2" charset="-122"/>
                <a:cs typeface="华文黑体" pitchFamily="2" charset="-122"/>
              </a:defRPr>
            </a:lvl1pPr>
          </a:lstStyle>
          <a:p>
            <a:r>
              <a:rPr lang="zh-CN" altLang="en-US" sz="2800"/>
              <a:t>点击添加标题</a:t>
            </a:r>
            <a:endParaRPr lang="zh-CN" altLang="en-US" sz="280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3"/>
                                        </p:tgtEl>
                                        <p:attrNameLst>
                                          <p:attrName>style.visibility</p:attrName>
                                        </p:attrNameLst>
                                      </p:cBhvr>
                                      <p:to>
                                        <p:strVal val="visible"/>
                                      </p:to>
                                    </p:set>
                                    <p:animEffect transition="in" filter="fade">
                                      <p:cBhvr>
                                        <p:cTn id="7" dur="300"/>
                                        <p:tgtEl>
                                          <p:spTgt spid="3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7"/>
                                        </p:tgtEl>
                                        <p:attrNameLst>
                                          <p:attrName>style.visibility</p:attrName>
                                        </p:attrNameLst>
                                      </p:cBhvr>
                                      <p:to>
                                        <p:strVal val="visible"/>
                                      </p:to>
                                    </p:set>
                                    <p:animEffect transition="in" filter="fade">
                                      <p:cBhvr>
                                        <p:cTn id="10" dur="300"/>
                                        <p:tgtEl>
                                          <p:spTgt spid="37"/>
                                        </p:tgtEl>
                                      </p:cBhvr>
                                    </p:animEffect>
                                  </p:childTnLst>
                                </p:cTn>
                              </p:par>
                              <p:par>
                                <p:cTn id="11" presetID="53" presetClass="entr" presetSubtype="16" fill="hold" grpId="0" nodeType="withEffect">
                                  <p:stCondLst>
                                    <p:cond delay="0"/>
                                  </p:stCondLst>
                                  <p:childTnLst>
                                    <p:set>
                                      <p:cBhvr>
                                        <p:cTn id="12" dur="1" fill="hold">
                                          <p:stCondLst>
                                            <p:cond delay="0"/>
                                          </p:stCondLst>
                                        </p:cTn>
                                        <p:tgtEl>
                                          <p:spTgt spid="2"/>
                                        </p:tgtEl>
                                        <p:attrNameLst>
                                          <p:attrName>style.visibility</p:attrName>
                                        </p:attrNameLst>
                                      </p:cBhvr>
                                      <p:to>
                                        <p:strVal val="visible"/>
                                      </p:to>
                                    </p:set>
                                    <p:anim calcmode="lin" valueType="num">
                                      <p:cBhvr>
                                        <p:cTn id="13" dur="500" fill="hold"/>
                                        <p:tgtEl>
                                          <p:spTgt spid="2"/>
                                        </p:tgtEl>
                                        <p:attrNameLst>
                                          <p:attrName>ppt_w</p:attrName>
                                        </p:attrNameLst>
                                      </p:cBhvr>
                                      <p:tavLst>
                                        <p:tav tm="0">
                                          <p:val>
                                            <p:fltVal val="0"/>
                                          </p:val>
                                        </p:tav>
                                        <p:tav tm="100000">
                                          <p:val>
                                            <p:strVal val="#ppt_w"/>
                                          </p:val>
                                        </p:tav>
                                      </p:tavLst>
                                    </p:anim>
                                    <p:anim calcmode="lin" valueType="num">
                                      <p:cBhvr>
                                        <p:cTn id="14" dur="500" fill="hold"/>
                                        <p:tgtEl>
                                          <p:spTgt spid="2"/>
                                        </p:tgtEl>
                                        <p:attrNameLst>
                                          <p:attrName>ppt_h</p:attrName>
                                        </p:attrNameLst>
                                      </p:cBhvr>
                                      <p:tavLst>
                                        <p:tav tm="0">
                                          <p:val>
                                            <p:fltVal val="0"/>
                                          </p:val>
                                        </p:tav>
                                        <p:tav tm="100000">
                                          <p:val>
                                            <p:strVal val="#ppt_h"/>
                                          </p:val>
                                        </p:tav>
                                      </p:tavLst>
                                    </p:anim>
                                    <p:animEffect transition="in" filter="fade">
                                      <p:cBhvr>
                                        <p:cTn id="15" dur="500"/>
                                        <p:tgtEl>
                                          <p:spTgt spid="2"/>
                                        </p:tgtEl>
                                      </p:cBhvr>
                                    </p:animEffect>
                                  </p:childTnLst>
                                </p:cTn>
                              </p:par>
                              <p:par>
                                <p:cTn id="16" presetID="53" presetClass="entr" presetSubtype="16" fill="hold" nodeType="withEffect">
                                  <p:stCondLst>
                                    <p:cond delay="0"/>
                                  </p:stCondLst>
                                  <p:childTnLst>
                                    <p:set>
                                      <p:cBhvr>
                                        <p:cTn id="17" dur="1" fill="hold">
                                          <p:stCondLst>
                                            <p:cond delay="0"/>
                                          </p:stCondLst>
                                        </p:cTn>
                                        <p:tgtEl>
                                          <p:spTgt spid="4"/>
                                        </p:tgtEl>
                                        <p:attrNameLst>
                                          <p:attrName>style.visibility</p:attrName>
                                        </p:attrNameLst>
                                      </p:cBhvr>
                                      <p:to>
                                        <p:strVal val="visible"/>
                                      </p:to>
                                    </p:set>
                                    <p:anim calcmode="lin" valueType="num">
                                      <p:cBhvr>
                                        <p:cTn id="18" dur="500" fill="hold"/>
                                        <p:tgtEl>
                                          <p:spTgt spid="4"/>
                                        </p:tgtEl>
                                        <p:attrNameLst>
                                          <p:attrName>ppt_w</p:attrName>
                                        </p:attrNameLst>
                                      </p:cBhvr>
                                      <p:tavLst>
                                        <p:tav tm="0">
                                          <p:val>
                                            <p:fltVal val="0"/>
                                          </p:val>
                                        </p:tav>
                                        <p:tav tm="100000">
                                          <p:val>
                                            <p:strVal val="#ppt_w"/>
                                          </p:val>
                                        </p:tav>
                                      </p:tavLst>
                                    </p:anim>
                                    <p:anim calcmode="lin" valueType="num">
                                      <p:cBhvr>
                                        <p:cTn id="19" dur="500" fill="hold"/>
                                        <p:tgtEl>
                                          <p:spTgt spid="4"/>
                                        </p:tgtEl>
                                        <p:attrNameLst>
                                          <p:attrName>ppt_h</p:attrName>
                                        </p:attrNameLst>
                                      </p:cBhvr>
                                      <p:tavLst>
                                        <p:tav tm="0">
                                          <p:val>
                                            <p:fltVal val="0"/>
                                          </p:val>
                                        </p:tav>
                                        <p:tav tm="100000">
                                          <p:val>
                                            <p:strVal val="#ppt_h"/>
                                          </p:val>
                                        </p:tav>
                                      </p:tavLst>
                                    </p:anim>
                                    <p:animEffect transition="in" filter="fade">
                                      <p:cBhvr>
                                        <p:cTn id="20" dur="500"/>
                                        <p:tgtEl>
                                          <p:spTgt spid="4"/>
                                        </p:tgtEl>
                                      </p:cBhvr>
                                    </p:animEffect>
                                  </p:childTnLst>
                                </p:cTn>
                              </p:par>
                              <p:par>
                                <p:cTn id="21" presetID="53" presetClass="entr" presetSubtype="16" fill="hold" grpId="0" nodeType="withEffect">
                                  <p:stCondLst>
                                    <p:cond delay="0"/>
                                  </p:stCondLst>
                                  <p:childTnLst>
                                    <p:set>
                                      <p:cBhvr>
                                        <p:cTn id="22" dur="1" fill="hold">
                                          <p:stCondLst>
                                            <p:cond delay="0"/>
                                          </p:stCondLst>
                                        </p:cTn>
                                        <p:tgtEl>
                                          <p:spTgt spid="13"/>
                                        </p:tgtEl>
                                        <p:attrNameLst>
                                          <p:attrName>style.visibility</p:attrName>
                                        </p:attrNameLst>
                                      </p:cBhvr>
                                      <p:to>
                                        <p:strVal val="visible"/>
                                      </p:to>
                                    </p:set>
                                    <p:anim calcmode="lin" valueType="num">
                                      <p:cBhvr>
                                        <p:cTn id="23" dur="500" fill="hold"/>
                                        <p:tgtEl>
                                          <p:spTgt spid="13"/>
                                        </p:tgtEl>
                                        <p:attrNameLst>
                                          <p:attrName>ppt_w</p:attrName>
                                        </p:attrNameLst>
                                      </p:cBhvr>
                                      <p:tavLst>
                                        <p:tav tm="0">
                                          <p:val>
                                            <p:fltVal val="0"/>
                                          </p:val>
                                        </p:tav>
                                        <p:tav tm="100000">
                                          <p:val>
                                            <p:strVal val="#ppt_w"/>
                                          </p:val>
                                        </p:tav>
                                      </p:tavLst>
                                    </p:anim>
                                    <p:anim calcmode="lin" valueType="num">
                                      <p:cBhvr>
                                        <p:cTn id="24" dur="500" fill="hold"/>
                                        <p:tgtEl>
                                          <p:spTgt spid="13"/>
                                        </p:tgtEl>
                                        <p:attrNameLst>
                                          <p:attrName>ppt_h</p:attrName>
                                        </p:attrNameLst>
                                      </p:cBhvr>
                                      <p:tavLst>
                                        <p:tav tm="0">
                                          <p:val>
                                            <p:fltVal val="0"/>
                                          </p:val>
                                        </p:tav>
                                        <p:tav tm="100000">
                                          <p:val>
                                            <p:strVal val="#ppt_h"/>
                                          </p:val>
                                        </p:tav>
                                      </p:tavLst>
                                    </p:anim>
                                    <p:animEffect transition="in" filter="fade">
                                      <p:cBhvr>
                                        <p:cTn id="25" dur="500"/>
                                        <p:tgtEl>
                                          <p:spTgt spid="13"/>
                                        </p:tgtEl>
                                      </p:cBhvr>
                                    </p:animEffect>
                                  </p:childTnLst>
                                </p:cTn>
                              </p:par>
                              <p:par>
                                <p:cTn id="26" presetID="53" presetClass="entr" presetSubtype="16" fill="hold" nodeType="withEffect">
                                  <p:stCondLst>
                                    <p:cond delay="0"/>
                                  </p:stCondLst>
                                  <p:childTnLst>
                                    <p:set>
                                      <p:cBhvr>
                                        <p:cTn id="27" dur="1" fill="hold">
                                          <p:stCondLst>
                                            <p:cond delay="0"/>
                                          </p:stCondLst>
                                        </p:cTn>
                                        <p:tgtEl>
                                          <p:spTgt spid="7"/>
                                        </p:tgtEl>
                                        <p:attrNameLst>
                                          <p:attrName>style.visibility</p:attrName>
                                        </p:attrNameLst>
                                      </p:cBhvr>
                                      <p:to>
                                        <p:strVal val="visible"/>
                                      </p:to>
                                    </p:set>
                                    <p:anim calcmode="lin" valueType="num">
                                      <p:cBhvr>
                                        <p:cTn id="28" dur="500" fill="hold"/>
                                        <p:tgtEl>
                                          <p:spTgt spid="7"/>
                                        </p:tgtEl>
                                        <p:attrNameLst>
                                          <p:attrName>ppt_w</p:attrName>
                                        </p:attrNameLst>
                                      </p:cBhvr>
                                      <p:tavLst>
                                        <p:tav tm="0">
                                          <p:val>
                                            <p:fltVal val="0"/>
                                          </p:val>
                                        </p:tav>
                                        <p:tav tm="100000">
                                          <p:val>
                                            <p:strVal val="#ppt_w"/>
                                          </p:val>
                                        </p:tav>
                                      </p:tavLst>
                                    </p:anim>
                                    <p:anim calcmode="lin" valueType="num">
                                      <p:cBhvr>
                                        <p:cTn id="29" dur="500" fill="hold"/>
                                        <p:tgtEl>
                                          <p:spTgt spid="7"/>
                                        </p:tgtEl>
                                        <p:attrNameLst>
                                          <p:attrName>ppt_h</p:attrName>
                                        </p:attrNameLst>
                                      </p:cBhvr>
                                      <p:tavLst>
                                        <p:tav tm="0">
                                          <p:val>
                                            <p:fltVal val="0"/>
                                          </p:val>
                                        </p:tav>
                                        <p:tav tm="100000">
                                          <p:val>
                                            <p:strVal val="#ppt_h"/>
                                          </p:val>
                                        </p:tav>
                                      </p:tavLst>
                                    </p:anim>
                                    <p:animEffect transition="in" filter="fade">
                                      <p:cBhvr>
                                        <p:cTn id="30" dur="500"/>
                                        <p:tgtEl>
                                          <p:spTgt spid="7"/>
                                        </p:tgtEl>
                                      </p:cBhvr>
                                    </p:animEffect>
                                  </p:childTnLst>
                                </p:cTn>
                              </p:par>
                              <p:par>
                                <p:cTn id="31" presetID="53" presetClass="entr" presetSubtype="16" fill="hold" grpId="0" nodeType="withEffect">
                                  <p:stCondLst>
                                    <p:cond delay="0"/>
                                  </p:stCondLst>
                                  <p:childTnLst>
                                    <p:set>
                                      <p:cBhvr>
                                        <p:cTn id="32" dur="1" fill="hold">
                                          <p:stCondLst>
                                            <p:cond delay="0"/>
                                          </p:stCondLst>
                                        </p:cTn>
                                        <p:tgtEl>
                                          <p:spTgt spid="16"/>
                                        </p:tgtEl>
                                        <p:attrNameLst>
                                          <p:attrName>style.visibility</p:attrName>
                                        </p:attrNameLst>
                                      </p:cBhvr>
                                      <p:to>
                                        <p:strVal val="visible"/>
                                      </p:to>
                                    </p:set>
                                    <p:anim calcmode="lin" valueType="num">
                                      <p:cBhvr>
                                        <p:cTn id="33" dur="500" fill="hold"/>
                                        <p:tgtEl>
                                          <p:spTgt spid="16"/>
                                        </p:tgtEl>
                                        <p:attrNameLst>
                                          <p:attrName>ppt_w</p:attrName>
                                        </p:attrNameLst>
                                      </p:cBhvr>
                                      <p:tavLst>
                                        <p:tav tm="0">
                                          <p:val>
                                            <p:fltVal val="0"/>
                                          </p:val>
                                        </p:tav>
                                        <p:tav tm="100000">
                                          <p:val>
                                            <p:strVal val="#ppt_w"/>
                                          </p:val>
                                        </p:tav>
                                      </p:tavLst>
                                    </p:anim>
                                    <p:anim calcmode="lin" valueType="num">
                                      <p:cBhvr>
                                        <p:cTn id="34" dur="500" fill="hold"/>
                                        <p:tgtEl>
                                          <p:spTgt spid="16"/>
                                        </p:tgtEl>
                                        <p:attrNameLst>
                                          <p:attrName>ppt_h</p:attrName>
                                        </p:attrNameLst>
                                      </p:cBhvr>
                                      <p:tavLst>
                                        <p:tav tm="0">
                                          <p:val>
                                            <p:fltVal val="0"/>
                                          </p:val>
                                        </p:tav>
                                        <p:tav tm="100000">
                                          <p:val>
                                            <p:strVal val="#ppt_h"/>
                                          </p:val>
                                        </p:tav>
                                      </p:tavLst>
                                    </p:anim>
                                    <p:animEffect transition="in" filter="fade">
                                      <p:cBhvr>
                                        <p:cTn id="35" dur="500"/>
                                        <p:tgtEl>
                                          <p:spTgt spid="16"/>
                                        </p:tgtEl>
                                      </p:cBhvr>
                                    </p:animEffect>
                                  </p:childTnLst>
                                </p:cTn>
                              </p:par>
                              <p:par>
                                <p:cTn id="36" presetID="53" presetClass="entr" presetSubtype="16" fill="hold" grpId="0" nodeType="withEffect">
                                  <p:stCondLst>
                                    <p:cond delay="0"/>
                                  </p:stCondLst>
                                  <p:childTnLst>
                                    <p:set>
                                      <p:cBhvr>
                                        <p:cTn id="37" dur="1" fill="hold">
                                          <p:stCondLst>
                                            <p:cond delay="0"/>
                                          </p:stCondLst>
                                        </p:cTn>
                                        <p:tgtEl>
                                          <p:spTgt spid="11"/>
                                        </p:tgtEl>
                                        <p:attrNameLst>
                                          <p:attrName>style.visibility</p:attrName>
                                        </p:attrNameLst>
                                      </p:cBhvr>
                                      <p:to>
                                        <p:strVal val="visible"/>
                                      </p:to>
                                    </p:set>
                                    <p:anim calcmode="lin" valueType="num">
                                      <p:cBhvr>
                                        <p:cTn id="38" dur="500" fill="hold"/>
                                        <p:tgtEl>
                                          <p:spTgt spid="11"/>
                                        </p:tgtEl>
                                        <p:attrNameLst>
                                          <p:attrName>ppt_w</p:attrName>
                                        </p:attrNameLst>
                                      </p:cBhvr>
                                      <p:tavLst>
                                        <p:tav tm="0">
                                          <p:val>
                                            <p:fltVal val="0"/>
                                          </p:val>
                                        </p:tav>
                                        <p:tav tm="100000">
                                          <p:val>
                                            <p:strVal val="#ppt_w"/>
                                          </p:val>
                                        </p:tav>
                                      </p:tavLst>
                                    </p:anim>
                                    <p:anim calcmode="lin" valueType="num">
                                      <p:cBhvr>
                                        <p:cTn id="39" dur="500" fill="hold"/>
                                        <p:tgtEl>
                                          <p:spTgt spid="11"/>
                                        </p:tgtEl>
                                        <p:attrNameLst>
                                          <p:attrName>ppt_h</p:attrName>
                                        </p:attrNameLst>
                                      </p:cBhvr>
                                      <p:tavLst>
                                        <p:tav tm="0">
                                          <p:val>
                                            <p:fltVal val="0"/>
                                          </p:val>
                                        </p:tav>
                                        <p:tav tm="100000">
                                          <p:val>
                                            <p:strVal val="#ppt_h"/>
                                          </p:val>
                                        </p:tav>
                                      </p:tavLst>
                                    </p:anim>
                                    <p:animEffect transition="in" filter="fade">
                                      <p:cBhvr>
                                        <p:cTn id="40" dur="500"/>
                                        <p:tgtEl>
                                          <p:spTgt spid="11"/>
                                        </p:tgtEl>
                                      </p:cBhvr>
                                    </p:animEffect>
                                  </p:childTnLst>
                                </p:cTn>
                              </p:par>
                              <p:par>
                                <p:cTn id="41" presetID="53" presetClass="entr" presetSubtype="16" fill="hold" grpId="0" nodeType="withEffect">
                                  <p:stCondLst>
                                    <p:cond delay="0"/>
                                  </p:stCondLst>
                                  <p:childTnLst>
                                    <p:set>
                                      <p:cBhvr>
                                        <p:cTn id="42" dur="1" fill="hold">
                                          <p:stCondLst>
                                            <p:cond delay="0"/>
                                          </p:stCondLst>
                                        </p:cTn>
                                        <p:tgtEl>
                                          <p:spTgt spid="20"/>
                                        </p:tgtEl>
                                        <p:attrNameLst>
                                          <p:attrName>style.visibility</p:attrName>
                                        </p:attrNameLst>
                                      </p:cBhvr>
                                      <p:to>
                                        <p:strVal val="visible"/>
                                      </p:to>
                                    </p:set>
                                    <p:anim calcmode="lin" valueType="num">
                                      <p:cBhvr>
                                        <p:cTn id="43" dur="500" fill="hold"/>
                                        <p:tgtEl>
                                          <p:spTgt spid="20"/>
                                        </p:tgtEl>
                                        <p:attrNameLst>
                                          <p:attrName>ppt_w</p:attrName>
                                        </p:attrNameLst>
                                      </p:cBhvr>
                                      <p:tavLst>
                                        <p:tav tm="0">
                                          <p:val>
                                            <p:fltVal val="0"/>
                                          </p:val>
                                        </p:tav>
                                        <p:tav tm="100000">
                                          <p:val>
                                            <p:strVal val="#ppt_w"/>
                                          </p:val>
                                        </p:tav>
                                      </p:tavLst>
                                    </p:anim>
                                    <p:anim calcmode="lin" valueType="num">
                                      <p:cBhvr>
                                        <p:cTn id="44" dur="500" fill="hold"/>
                                        <p:tgtEl>
                                          <p:spTgt spid="20"/>
                                        </p:tgtEl>
                                        <p:attrNameLst>
                                          <p:attrName>ppt_h</p:attrName>
                                        </p:attrNameLst>
                                      </p:cBhvr>
                                      <p:tavLst>
                                        <p:tav tm="0">
                                          <p:val>
                                            <p:fltVal val="0"/>
                                          </p:val>
                                        </p:tav>
                                        <p:tav tm="100000">
                                          <p:val>
                                            <p:strVal val="#ppt_h"/>
                                          </p:val>
                                        </p:tav>
                                      </p:tavLst>
                                    </p:anim>
                                    <p:animEffect transition="in" filter="fade">
                                      <p:cBhvr>
                                        <p:cTn id="45" dur="500"/>
                                        <p:tgtEl>
                                          <p:spTgt spid="20"/>
                                        </p:tgtEl>
                                      </p:cBhvr>
                                    </p:animEffect>
                                  </p:childTnLst>
                                </p:cTn>
                              </p:par>
                              <p:par>
                                <p:cTn id="46" presetID="53" presetClass="entr" presetSubtype="16" fill="hold" nodeType="withEffect">
                                  <p:stCondLst>
                                    <p:cond delay="0"/>
                                  </p:stCondLst>
                                  <p:childTnLst>
                                    <p:set>
                                      <p:cBhvr>
                                        <p:cTn id="47" dur="1" fill="hold">
                                          <p:stCondLst>
                                            <p:cond delay="0"/>
                                          </p:stCondLst>
                                        </p:cTn>
                                        <p:tgtEl>
                                          <p:spTgt spid="15"/>
                                        </p:tgtEl>
                                        <p:attrNameLst>
                                          <p:attrName>style.visibility</p:attrName>
                                        </p:attrNameLst>
                                      </p:cBhvr>
                                      <p:to>
                                        <p:strVal val="visible"/>
                                      </p:to>
                                    </p:set>
                                    <p:anim calcmode="lin" valueType="num">
                                      <p:cBhvr>
                                        <p:cTn id="48" dur="500" fill="hold"/>
                                        <p:tgtEl>
                                          <p:spTgt spid="15"/>
                                        </p:tgtEl>
                                        <p:attrNameLst>
                                          <p:attrName>ppt_w</p:attrName>
                                        </p:attrNameLst>
                                      </p:cBhvr>
                                      <p:tavLst>
                                        <p:tav tm="0">
                                          <p:val>
                                            <p:fltVal val="0"/>
                                          </p:val>
                                        </p:tav>
                                        <p:tav tm="100000">
                                          <p:val>
                                            <p:strVal val="#ppt_w"/>
                                          </p:val>
                                        </p:tav>
                                      </p:tavLst>
                                    </p:anim>
                                    <p:anim calcmode="lin" valueType="num">
                                      <p:cBhvr>
                                        <p:cTn id="49" dur="500" fill="hold"/>
                                        <p:tgtEl>
                                          <p:spTgt spid="15"/>
                                        </p:tgtEl>
                                        <p:attrNameLst>
                                          <p:attrName>ppt_h</p:attrName>
                                        </p:attrNameLst>
                                      </p:cBhvr>
                                      <p:tavLst>
                                        <p:tav tm="0">
                                          <p:val>
                                            <p:fltVal val="0"/>
                                          </p:val>
                                        </p:tav>
                                        <p:tav tm="100000">
                                          <p:val>
                                            <p:strVal val="#ppt_h"/>
                                          </p:val>
                                        </p:tav>
                                      </p:tavLst>
                                    </p:anim>
                                    <p:animEffect transition="in" filter="fade">
                                      <p:cBhvr>
                                        <p:cTn id="50" dur="500"/>
                                        <p:tgtEl>
                                          <p:spTgt spid="15"/>
                                        </p:tgtEl>
                                      </p:cBhvr>
                                    </p:animEffect>
                                  </p:childTnLst>
                                </p:cTn>
                              </p:par>
                              <p:par>
                                <p:cTn id="51" presetID="53" presetClass="entr" presetSubtype="16" fill="hold" nodeType="withEffect">
                                  <p:stCondLst>
                                    <p:cond delay="0"/>
                                  </p:stCondLst>
                                  <p:childTnLst>
                                    <p:set>
                                      <p:cBhvr>
                                        <p:cTn id="52" dur="1" fill="hold">
                                          <p:stCondLst>
                                            <p:cond delay="0"/>
                                          </p:stCondLst>
                                        </p:cTn>
                                        <p:tgtEl>
                                          <p:spTgt spid="17"/>
                                        </p:tgtEl>
                                        <p:attrNameLst>
                                          <p:attrName>style.visibility</p:attrName>
                                        </p:attrNameLst>
                                      </p:cBhvr>
                                      <p:to>
                                        <p:strVal val="visible"/>
                                      </p:to>
                                    </p:set>
                                    <p:anim calcmode="lin" valueType="num">
                                      <p:cBhvr>
                                        <p:cTn id="53" dur="500" fill="hold"/>
                                        <p:tgtEl>
                                          <p:spTgt spid="17"/>
                                        </p:tgtEl>
                                        <p:attrNameLst>
                                          <p:attrName>ppt_w</p:attrName>
                                        </p:attrNameLst>
                                      </p:cBhvr>
                                      <p:tavLst>
                                        <p:tav tm="0">
                                          <p:val>
                                            <p:fltVal val="0"/>
                                          </p:val>
                                        </p:tav>
                                        <p:tav tm="100000">
                                          <p:val>
                                            <p:strVal val="#ppt_w"/>
                                          </p:val>
                                        </p:tav>
                                      </p:tavLst>
                                    </p:anim>
                                    <p:anim calcmode="lin" valueType="num">
                                      <p:cBhvr>
                                        <p:cTn id="54" dur="500" fill="hold"/>
                                        <p:tgtEl>
                                          <p:spTgt spid="17"/>
                                        </p:tgtEl>
                                        <p:attrNameLst>
                                          <p:attrName>ppt_h</p:attrName>
                                        </p:attrNameLst>
                                      </p:cBhvr>
                                      <p:tavLst>
                                        <p:tav tm="0">
                                          <p:val>
                                            <p:fltVal val="0"/>
                                          </p:val>
                                        </p:tav>
                                        <p:tav tm="100000">
                                          <p:val>
                                            <p:strVal val="#ppt_h"/>
                                          </p:val>
                                        </p:tav>
                                      </p:tavLst>
                                    </p:anim>
                                    <p:animEffect transition="in" filter="fade">
                                      <p:cBhvr>
                                        <p:cTn id="55" dur="500"/>
                                        <p:tgtEl>
                                          <p:spTgt spid="17"/>
                                        </p:tgtEl>
                                      </p:cBhvr>
                                    </p:animEffect>
                                  </p:childTnLst>
                                </p:cTn>
                              </p:par>
                              <p:par>
                                <p:cTn id="56" presetID="53" presetClass="entr" presetSubtype="16" fill="hold" grpId="0" nodeType="withEffect">
                                  <p:stCondLst>
                                    <p:cond delay="0"/>
                                  </p:stCondLst>
                                  <p:childTnLst>
                                    <p:set>
                                      <p:cBhvr>
                                        <p:cTn id="57" dur="1" fill="hold">
                                          <p:stCondLst>
                                            <p:cond delay="0"/>
                                          </p:stCondLst>
                                        </p:cTn>
                                        <p:tgtEl>
                                          <p:spTgt spid="31"/>
                                        </p:tgtEl>
                                        <p:attrNameLst>
                                          <p:attrName>style.visibility</p:attrName>
                                        </p:attrNameLst>
                                      </p:cBhvr>
                                      <p:to>
                                        <p:strVal val="visible"/>
                                      </p:to>
                                    </p:set>
                                    <p:anim calcmode="lin" valueType="num">
                                      <p:cBhvr>
                                        <p:cTn id="58" dur="500" fill="hold"/>
                                        <p:tgtEl>
                                          <p:spTgt spid="31"/>
                                        </p:tgtEl>
                                        <p:attrNameLst>
                                          <p:attrName>ppt_w</p:attrName>
                                        </p:attrNameLst>
                                      </p:cBhvr>
                                      <p:tavLst>
                                        <p:tav tm="0">
                                          <p:val>
                                            <p:fltVal val="0"/>
                                          </p:val>
                                        </p:tav>
                                        <p:tav tm="100000">
                                          <p:val>
                                            <p:strVal val="#ppt_w"/>
                                          </p:val>
                                        </p:tav>
                                      </p:tavLst>
                                    </p:anim>
                                    <p:anim calcmode="lin" valueType="num">
                                      <p:cBhvr>
                                        <p:cTn id="59" dur="500" fill="hold"/>
                                        <p:tgtEl>
                                          <p:spTgt spid="31"/>
                                        </p:tgtEl>
                                        <p:attrNameLst>
                                          <p:attrName>ppt_h</p:attrName>
                                        </p:attrNameLst>
                                      </p:cBhvr>
                                      <p:tavLst>
                                        <p:tav tm="0">
                                          <p:val>
                                            <p:fltVal val="0"/>
                                          </p:val>
                                        </p:tav>
                                        <p:tav tm="100000">
                                          <p:val>
                                            <p:strVal val="#ppt_h"/>
                                          </p:val>
                                        </p:tav>
                                      </p:tavLst>
                                    </p:anim>
                                    <p:animEffect transition="in" filter="fade">
                                      <p:cBhvr>
                                        <p:cTn id="60" dur="500"/>
                                        <p:tgtEl>
                                          <p:spTgt spid="31"/>
                                        </p:tgtEl>
                                      </p:cBhvr>
                                    </p:animEffect>
                                  </p:childTnLst>
                                </p:cTn>
                              </p:par>
                              <p:par>
                                <p:cTn id="61" presetID="53" presetClass="entr" presetSubtype="16" fill="hold" grpId="0" nodeType="withEffect">
                                  <p:stCondLst>
                                    <p:cond delay="0"/>
                                  </p:stCondLst>
                                  <p:childTnLst>
                                    <p:set>
                                      <p:cBhvr>
                                        <p:cTn id="62" dur="1" fill="hold">
                                          <p:stCondLst>
                                            <p:cond delay="0"/>
                                          </p:stCondLst>
                                        </p:cTn>
                                        <p:tgtEl>
                                          <p:spTgt spid="32"/>
                                        </p:tgtEl>
                                        <p:attrNameLst>
                                          <p:attrName>style.visibility</p:attrName>
                                        </p:attrNameLst>
                                      </p:cBhvr>
                                      <p:to>
                                        <p:strVal val="visible"/>
                                      </p:to>
                                    </p:set>
                                    <p:anim calcmode="lin" valueType="num">
                                      <p:cBhvr>
                                        <p:cTn id="63" dur="500" fill="hold"/>
                                        <p:tgtEl>
                                          <p:spTgt spid="32"/>
                                        </p:tgtEl>
                                        <p:attrNameLst>
                                          <p:attrName>ppt_w</p:attrName>
                                        </p:attrNameLst>
                                      </p:cBhvr>
                                      <p:tavLst>
                                        <p:tav tm="0">
                                          <p:val>
                                            <p:fltVal val="0"/>
                                          </p:val>
                                        </p:tav>
                                        <p:tav tm="100000">
                                          <p:val>
                                            <p:strVal val="#ppt_w"/>
                                          </p:val>
                                        </p:tav>
                                      </p:tavLst>
                                    </p:anim>
                                    <p:anim calcmode="lin" valueType="num">
                                      <p:cBhvr>
                                        <p:cTn id="64" dur="500" fill="hold"/>
                                        <p:tgtEl>
                                          <p:spTgt spid="32"/>
                                        </p:tgtEl>
                                        <p:attrNameLst>
                                          <p:attrName>ppt_h</p:attrName>
                                        </p:attrNameLst>
                                      </p:cBhvr>
                                      <p:tavLst>
                                        <p:tav tm="0">
                                          <p:val>
                                            <p:fltVal val="0"/>
                                          </p:val>
                                        </p:tav>
                                        <p:tav tm="100000">
                                          <p:val>
                                            <p:strVal val="#ppt_h"/>
                                          </p:val>
                                        </p:tav>
                                      </p:tavLst>
                                    </p:anim>
                                    <p:animEffect transition="in" filter="fade">
                                      <p:cBhvr>
                                        <p:cTn id="65" dur="500"/>
                                        <p:tgtEl>
                                          <p:spTgt spid="32"/>
                                        </p:tgtEl>
                                      </p:cBhvr>
                                    </p:animEffect>
                                  </p:childTnLst>
                                </p:cTn>
                              </p:par>
                            </p:childTnLst>
                          </p:cTn>
                        </p:par>
                        <p:par>
                          <p:cTn id="66" fill="hold">
                            <p:stCondLst>
                              <p:cond delay="500"/>
                            </p:stCondLst>
                            <p:childTnLst>
                              <p:par>
                                <p:cTn id="67" presetID="22" presetClass="entr" presetSubtype="8" fill="hold" grpId="0" nodeType="afterEffect">
                                  <p:stCondLst>
                                    <p:cond delay="0"/>
                                  </p:stCondLst>
                                  <p:childTnLst>
                                    <p:set>
                                      <p:cBhvr>
                                        <p:cTn id="68" dur="1" fill="hold">
                                          <p:stCondLst>
                                            <p:cond delay="0"/>
                                          </p:stCondLst>
                                        </p:cTn>
                                        <p:tgtEl>
                                          <p:spTgt spid="18"/>
                                        </p:tgtEl>
                                        <p:attrNameLst>
                                          <p:attrName>style.visibility</p:attrName>
                                        </p:attrNameLst>
                                      </p:cBhvr>
                                      <p:to>
                                        <p:strVal val="visible"/>
                                      </p:to>
                                    </p:set>
                                    <p:animEffect transition="in" filter="wipe(left)">
                                      <p:cBhvr>
                                        <p:cTn id="69" dur="500"/>
                                        <p:tgtEl>
                                          <p:spTgt spid="18"/>
                                        </p:tgtEl>
                                      </p:cBhvr>
                                    </p:animEffect>
                                  </p:childTnLst>
                                </p:cTn>
                              </p:par>
                              <p:par>
                                <p:cTn id="70" presetID="22" presetClass="entr" presetSubtype="2" fill="hold" grpId="0" nodeType="withEffect">
                                  <p:stCondLst>
                                    <p:cond delay="0"/>
                                  </p:stCondLst>
                                  <p:childTnLst>
                                    <p:set>
                                      <p:cBhvr>
                                        <p:cTn id="71" dur="1" fill="hold">
                                          <p:stCondLst>
                                            <p:cond delay="0"/>
                                          </p:stCondLst>
                                        </p:cTn>
                                        <p:tgtEl>
                                          <p:spTgt spid="36"/>
                                        </p:tgtEl>
                                        <p:attrNameLst>
                                          <p:attrName>style.visibility</p:attrName>
                                        </p:attrNameLst>
                                      </p:cBhvr>
                                      <p:to>
                                        <p:strVal val="visible"/>
                                      </p:to>
                                    </p:set>
                                    <p:animEffect transition="in" filter="wipe(right)">
                                      <p:cBhvr>
                                        <p:cTn id="72" dur="500"/>
                                        <p:tgtEl>
                                          <p:spTgt spid="36"/>
                                        </p:tgtEl>
                                      </p:cBhvr>
                                    </p:animEffect>
                                  </p:childTnLst>
                                </p:cTn>
                              </p:par>
                            </p:childTnLst>
                          </p:cTn>
                        </p:par>
                        <p:par>
                          <p:cTn id="73" fill="hold">
                            <p:stCondLst>
                              <p:cond delay="1000"/>
                            </p:stCondLst>
                            <p:childTnLst>
                              <p:par>
                                <p:cTn id="74" presetID="10" presetClass="entr" presetSubtype="0" fill="hold" grpId="0" nodeType="afterEffect">
                                  <p:stCondLst>
                                    <p:cond delay="0"/>
                                  </p:stCondLst>
                                  <p:childTnLst>
                                    <p:set>
                                      <p:cBhvr>
                                        <p:cTn id="75" dur="1" fill="hold">
                                          <p:stCondLst>
                                            <p:cond delay="0"/>
                                          </p:stCondLst>
                                        </p:cTn>
                                        <p:tgtEl>
                                          <p:spTgt spid="38"/>
                                        </p:tgtEl>
                                        <p:attrNameLst>
                                          <p:attrName>style.visibility</p:attrName>
                                        </p:attrNameLst>
                                      </p:cBhvr>
                                      <p:to>
                                        <p:strVal val="visible"/>
                                      </p:to>
                                    </p:set>
                                    <p:animEffect transition="in" filter="fade">
                                      <p:cBhvr>
                                        <p:cTn id="76" dur="500"/>
                                        <p:tgtEl>
                                          <p:spTgt spid="38"/>
                                        </p:tgtEl>
                                      </p:cBhvr>
                                    </p:animEffect>
                                  </p:childTnLst>
                                </p:cTn>
                              </p:par>
                              <p:par>
                                <p:cTn id="77" presetID="10" presetClass="entr" presetSubtype="0" fill="hold" grpId="0" nodeType="withEffect">
                                  <p:stCondLst>
                                    <p:cond delay="0"/>
                                  </p:stCondLst>
                                  <p:childTnLst>
                                    <p:set>
                                      <p:cBhvr>
                                        <p:cTn id="78" dur="1" fill="hold">
                                          <p:stCondLst>
                                            <p:cond delay="0"/>
                                          </p:stCondLst>
                                        </p:cTn>
                                        <p:tgtEl>
                                          <p:spTgt spid="40"/>
                                        </p:tgtEl>
                                        <p:attrNameLst>
                                          <p:attrName>style.visibility</p:attrName>
                                        </p:attrNameLst>
                                      </p:cBhvr>
                                      <p:to>
                                        <p:strVal val="visible"/>
                                      </p:to>
                                    </p:set>
                                    <p:animEffect transition="in" filter="fade">
                                      <p:cBhvr>
                                        <p:cTn id="79" dur="500"/>
                                        <p:tgtEl>
                                          <p:spTgt spid="40"/>
                                        </p:tgtEl>
                                      </p:cBhvr>
                                    </p:animEffect>
                                  </p:childTnLst>
                                </p:cTn>
                              </p:par>
                              <p:par>
                                <p:cTn id="80" presetID="10" presetClass="entr" presetSubtype="0" fill="hold" nodeType="withEffect">
                                  <p:stCondLst>
                                    <p:cond delay="0"/>
                                  </p:stCondLst>
                                  <p:childTnLst>
                                    <p:set>
                                      <p:cBhvr>
                                        <p:cTn id="81" dur="1" fill="hold">
                                          <p:stCondLst>
                                            <p:cond delay="0"/>
                                          </p:stCondLst>
                                        </p:cTn>
                                        <p:tgtEl>
                                          <p:spTgt spid="41"/>
                                        </p:tgtEl>
                                        <p:attrNameLst>
                                          <p:attrName>style.visibility</p:attrName>
                                        </p:attrNameLst>
                                      </p:cBhvr>
                                      <p:to>
                                        <p:strVal val="visible"/>
                                      </p:to>
                                    </p:set>
                                    <p:animEffect transition="in" filter="fade">
                                      <p:cBhvr>
                                        <p:cTn id="82" dur="500"/>
                                        <p:tgtEl>
                                          <p:spTgt spid="41"/>
                                        </p:tgtEl>
                                      </p:cBhvr>
                                    </p:animEffect>
                                  </p:childTnLst>
                                </p:cTn>
                              </p:par>
                            </p:childTnLst>
                          </p:cTn>
                        </p:par>
                        <p:par>
                          <p:cTn id="83" fill="hold">
                            <p:stCondLst>
                              <p:cond delay="1500"/>
                            </p:stCondLst>
                            <p:childTnLst>
                              <p:par>
                                <p:cTn id="84" presetID="23" presetClass="entr" presetSubtype="36" fill="hold" grpId="0" nodeType="afterEffect">
                                  <p:stCondLst>
                                    <p:cond delay="0"/>
                                  </p:stCondLst>
                                  <p:childTnLst>
                                    <p:set>
                                      <p:cBhvr>
                                        <p:cTn id="85" dur="1" fill="hold">
                                          <p:stCondLst>
                                            <p:cond delay="0"/>
                                          </p:stCondLst>
                                        </p:cTn>
                                        <p:tgtEl>
                                          <p:spTgt spid="39"/>
                                        </p:tgtEl>
                                        <p:attrNameLst>
                                          <p:attrName>style.visibility</p:attrName>
                                        </p:attrNameLst>
                                      </p:cBhvr>
                                      <p:to>
                                        <p:strVal val="visible"/>
                                      </p:to>
                                    </p:set>
                                    <p:anim calcmode="lin" valueType="num">
                                      <p:cBhvr>
                                        <p:cTn id="86" dur="500" fill="hold"/>
                                        <p:tgtEl>
                                          <p:spTgt spid="39"/>
                                        </p:tgtEl>
                                        <p:attrNameLst>
                                          <p:attrName>ppt_w</p:attrName>
                                        </p:attrNameLst>
                                      </p:cBhvr>
                                      <p:tavLst>
                                        <p:tav tm="0">
                                          <p:val>
                                            <p:strVal val="(6*min(max(#ppt_w*#ppt_h,.3),1)-7.4)/-.7*#ppt_w"/>
                                          </p:val>
                                        </p:tav>
                                        <p:tav tm="100000">
                                          <p:val>
                                            <p:strVal val="#ppt_w"/>
                                          </p:val>
                                        </p:tav>
                                      </p:tavLst>
                                    </p:anim>
                                    <p:anim calcmode="lin" valueType="num">
                                      <p:cBhvr>
                                        <p:cTn id="87" dur="500" fill="hold"/>
                                        <p:tgtEl>
                                          <p:spTgt spid="39"/>
                                        </p:tgtEl>
                                        <p:attrNameLst>
                                          <p:attrName>ppt_h</p:attrName>
                                        </p:attrNameLst>
                                      </p:cBhvr>
                                      <p:tavLst>
                                        <p:tav tm="0">
                                          <p:val>
                                            <p:strVal val="(6*min(max(#ppt_w*#ppt_h,.3),1)-7.4)/-.7*#ppt_h"/>
                                          </p:val>
                                        </p:tav>
                                        <p:tav tm="100000">
                                          <p:val>
                                            <p:strVal val="#ppt_h"/>
                                          </p:val>
                                        </p:tav>
                                      </p:tavLst>
                                    </p:anim>
                                    <p:anim calcmode="lin" valueType="num">
                                      <p:cBhvr>
                                        <p:cTn id="88" dur="500" fill="hold"/>
                                        <p:tgtEl>
                                          <p:spTgt spid="39"/>
                                        </p:tgtEl>
                                        <p:attrNameLst>
                                          <p:attrName>ppt_x</p:attrName>
                                        </p:attrNameLst>
                                      </p:cBhvr>
                                      <p:tavLst>
                                        <p:tav tm="0">
                                          <p:val>
                                            <p:fltVal val="0.5"/>
                                          </p:val>
                                        </p:tav>
                                        <p:tav tm="100000">
                                          <p:val>
                                            <p:strVal val="#ppt_x"/>
                                          </p:val>
                                        </p:tav>
                                      </p:tavLst>
                                    </p:anim>
                                    <p:anim calcmode="lin" valueType="num">
                                      <p:cBhvr>
                                        <p:cTn id="89" dur="500" fill="hold"/>
                                        <p:tgtEl>
                                          <p:spTgt spid="39"/>
                                        </p:tgtEl>
                                        <p:attrNameLst>
                                          <p:attrName>ppt_y</p:attrName>
                                        </p:attrNameLst>
                                      </p:cBhvr>
                                      <p:tavLst>
                                        <p:tav tm="0">
                                          <p:val>
                                            <p:strVal val="1+(6*min(max(#ppt_w*#ppt_h,.3),1)-7.4)/-.7*#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13" grpId="0"/>
      <p:bldP spid="16" grpId="0"/>
      <p:bldP spid="11" grpId="0" animBg="1"/>
      <p:bldP spid="20" grpId="0" animBg="1"/>
      <p:bldP spid="31" grpId="0"/>
      <p:bldP spid="32" grpId="0"/>
      <p:bldP spid="18" grpId="0" animBg="1"/>
      <p:bldP spid="36" grpId="0" animBg="1"/>
      <p:bldP spid="38" grpId="0"/>
      <p:bldP spid="39" grpId="0"/>
      <p:bldP spid="40" grpId="0" animBg="1"/>
      <p:bldP spid="33" grpId="0" animBg="1"/>
      <p:bldP spid="37"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圆角矩形 11"/>
          <p:cNvSpPr/>
          <p:nvPr/>
        </p:nvSpPr>
        <p:spPr>
          <a:xfrm>
            <a:off x="9772022" y="260648"/>
            <a:ext cx="1944216" cy="600163"/>
          </a:xfrm>
          <a:prstGeom prst="roundRect">
            <a:avLst/>
          </a:prstGeom>
          <a:solidFill>
            <a:srgbClr val="FFFFFF"/>
          </a:solidFill>
          <a:ln>
            <a:noFill/>
          </a:ln>
          <a:effectLst>
            <a:reflection blurRad="6350" stA="25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4" name="TextBox 13"/>
          <p:cNvSpPr txBox="1"/>
          <p:nvPr/>
        </p:nvSpPr>
        <p:spPr>
          <a:xfrm>
            <a:off x="10292725" y="260648"/>
            <a:ext cx="902811" cy="523220"/>
          </a:xfrm>
          <a:prstGeom prst="rect">
            <a:avLst/>
          </a:prstGeom>
          <a:noFill/>
        </p:spPr>
        <p:txBody>
          <a:bodyPr wrap="none" rtlCol="0" anchor="ctr">
            <a:spAutoFit/>
          </a:bodyPr>
          <a:lstStyle>
            <a:defPPr>
              <a:defRPr lang="zh-CN"/>
            </a:defPPr>
            <a:lvl1pPr algn="ctr">
              <a:defRPr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anose="02010600040101010101" pitchFamily="2" charset="-122"/>
                <a:cs typeface="华文黑体" pitchFamily="2" charset="-122"/>
              </a:defRPr>
            </a:lvl1pPr>
          </a:lstStyle>
          <a:p>
            <a:r>
              <a:rPr lang="zh-CN" altLang="en-US" sz="2800">
                <a:gradFill>
                  <a:gsLst>
                    <a:gs pos="0">
                      <a:srgbClr val="2A4DFE"/>
                    </a:gs>
                    <a:gs pos="57000">
                      <a:srgbClr val="4F92FF"/>
                    </a:gs>
                    <a:gs pos="70000">
                      <a:srgbClr val="44028C"/>
                    </a:gs>
                    <a:gs pos="100000">
                      <a:srgbClr val="FF09A7"/>
                    </a:gs>
                    <a:gs pos="83000">
                      <a:srgbClr val="B00071"/>
                    </a:gs>
                  </a:gsLst>
                  <a:lin ang="5400000" scaled="0"/>
                </a:gradFill>
              </a:rPr>
              <a:t>目录</a:t>
            </a:r>
            <a:endParaRPr lang="zh-CN" altLang="en-US" sz="2800">
              <a:gradFill>
                <a:gsLst>
                  <a:gs pos="0">
                    <a:srgbClr val="2A4DFE"/>
                  </a:gs>
                  <a:gs pos="57000">
                    <a:srgbClr val="4F92FF"/>
                  </a:gs>
                  <a:gs pos="70000">
                    <a:srgbClr val="44028C"/>
                  </a:gs>
                  <a:gs pos="100000">
                    <a:srgbClr val="FF09A7"/>
                  </a:gs>
                  <a:gs pos="83000">
                    <a:srgbClr val="B00071"/>
                  </a:gs>
                </a:gsLst>
                <a:lin ang="5400000" scaled="0"/>
              </a:gradFill>
            </a:endParaRPr>
          </a:p>
        </p:txBody>
      </p:sp>
      <p:sp>
        <p:nvSpPr>
          <p:cNvPr id="15" name="TextBox 14"/>
          <p:cNvSpPr txBox="1"/>
          <p:nvPr/>
        </p:nvSpPr>
        <p:spPr>
          <a:xfrm>
            <a:off x="7323750" y="276036"/>
            <a:ext cx="2294218" cy="584775"/>
          </a:xfrm>
          <a:prstGeom prst="rect">
            <a:avLst/>
          </a:prstGeom>
          <a:noFill/>
        </p:spPr>
        <p:txBody>
          <a:bodyPr wrap="none" rtlCol="0">
            <a:spAutoFit/>
          </a:bodyPr>
          <a:lstStyle/>
          <a:p>
            <a:pPr algn="ctr"/>
            <a:r>
              <a:rPr lang="en-US" altLang="zh-CN" sz="3200" smtClean="0">
                <a:solidFill>
                  <a:schemeClr val="bg1"/>
                </a:solidFill>
                <a:latin typeface="HelveticaNeueLT Pro 35 Th" pitchFamily="34" charset="0"/>
                <a:ea typeface="华文细黑" panose="02010600040101010101" pitchFamily="2" charset="-122"/>
                <a:cs typeface="华文黑体" pitchFamily="2" charset="-122"/>
              </a:rPr>
              <a:t>CONTENTS</a:t>
            </a:r>
            <a:endParaRPr lang="zh-CN" altLang="en-US" sz="3200">
              <a:solidFill>
                <a:schemeClr val="bg1"/>
              </a:solidFill>
              <a:latin typeface="HelveticaNeueLT Pro 35 Th" pitchFamily="34" charset="0"/>
              <a:ea typeface="华文细黑" panose="02010600040101010101" pitchFamily="2" charset="-122"/>
              <a:cs typeface="华文黑体" pitchFamily="2" charset="-122"/>
            </a:endParaRPr>
          </a:p>
        </p:txBody>
      </p:sp>
      <p:grpSp>
        <p:nvGrpSpPr>
          <p:cNvPr id="36" name="组合 35"/>
          <p:cNvGrpSpPr/>
          <p:nvPr/>
        </p:nvGrpSpPr>
        <p:grpSpPr>
          <a:xfrm>
            <a:off x="2584817" y="1844824"/>
            <a:ext cx="7020779" cy="655104"/>
            <a:chOff x="2584817" y="2125824"/>
            <a:chExt cx="7020779" cy="655104"/>
          </a:xfrm>
        </p:grpSpPr>
        <p:sp>
          <p:nvSpPr>
            <p:cNvPr id="17" name="矩形 16"/>
            <p:cNvSpPr/>
            <p:nvPr/>
          </p:nvSpPr>
          <p:spPr>
            <a:xfrm>
              <a:off x="2584817" y="2125824"/>
              <a:ext cx="936104" cy="655104"/>
            </a:xfrm>
            <a:prstGeom prst="rect">
              <a:avLst/>
            </a:prstGeom>
            <a:solidFill>
              <a:srgbClr val="47A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smtClean="0">
                  <a:latin typeface="HelveticaNeueLT Pro 35 Th" pitchFamily="34" charset="0"/>
                </a:rPr>
                <a:t>1</a:t>
              </a:r>
              <a:endParaRPr lang="zh-CN" altLang="en-US" sz="3600">
                <a:latin typeface="HelveticaNeueLT Pro 35 Th" pitchFamily="34" charset="0"/>
              </a:endParaRPr>
            </a:p>
          </p:txBody>
        </p:sp>
        <p:sp>
          <p:nvSpPr>
            <p:cNvPr id="29" name="矩形 28"/>
            <p:cNvSpPr/>
            <p:nvPr/>
          </p:nvSpPr>
          <p:spPr>
            <a:xfrm>
              <a:off x="3621305" y="2125824"/>
              <a:ext cx="5984291" cy="655104"/>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smtClean="0">
                  <a:latin typeface="华文黑体" pitchFamily="2" charset="-122"/>
                  <a:ea typeface="华文黑体" pitchFamily="2" charset="-122"/>
                  <a:cs typeface="华文黑体" pitchFamily="2" charset="-122"/>
                </a:rPr>
                <a:t>                     点击添加标题</a:t>
              </a:r>
              <a:endParaRPr lang="zh-CN" altLang="en-US" sz="2800">
                <a:latin typeface="华文黑体" pitchFamily="2" charset="-122"/>
                <a:ea typeface="华文黑体" pitchFamily="2" charset="-122"/>
                <a:cs typeface="华文黑体" pitchFamily="2" charset="-122"/>
              </a:endParaRPr>
            </a:p>
          </p:txBody>
        </p:sp>
      </p:grpSp>
      <p:grpSp>
        <p:nvGrpSpPr>
          <p:cNvPr id="37" name="组合 36"/>
          <p:cNvGrpSpPr/>
          <p:nvPr/>
        </p:nvGrpSpPr>
        <p:grpSpPr>
          <a:xfrm>
            <a:off x="2584817" y="2695295"/>
            <a:ext cx="7020779" cy="655104"/>
            <a:chOff x="2584817" y="2976295"/>
            <a:chExt cx="7020779" cy="655104"/>
          </a:xfrm>
        </p:grpSpPr>
        <p:sp>
          <p:nvSpPr>
            <p:cNvPr id="26" name="矩形 25"/>
            <p:cNvSpPr/>
            <p:nvPr/>
          </p:nvSpPr>
          <p:spPr>
            <a:xfrm>
              <a:off x="2584817" y="2976295"/>
              <a:ext cx="936104" cy="655104"/>
            </a:xfrm>
            <a:prstGeom prst="rect">
              <a:avLst/>
            </a:prstGeom>
            <a:solidFill>
              <a:srgbClr val="47A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smtClean="0">
                  <a:latin typeface="HelveticaNeueLT Pro 35 Th" pitchFamily="34" charset="0"/>
                </a:rPr>
                <a:t>2</a:t>
              </a:r>
              <a:endParaRPr lang="zh-CN" altLang="en-US" sz="3600">
                <a:latin typeface="HelveticaNeueLT Pro 35 Th" pitchFamily="34" charset="0"/>
              </a:endParaRPr>
            </a:p>
          </p:txBody>
        </p:sp>
        <p:sp>
          <p:nvSpPr>
            <p:cNvPr id="30" name="矩形 29"/>
            <p:cNvSpPr/>
            <p:nvPr/>
          </p:nvSpPr>
          <p:spPr>
            <a:xfrm>
              <a:off x="3621305" y="2976295"/>
              <a:ext cx="5984291" cy="655104"/>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smtClean="0">
                  <a:latin typeface="华文黑体" pitchFamily="2" charset="-122"/>
                  <a:ea typeface="华文黑体" pitchFamily="2" charset="-122"/>
                  <a:cs typeface="华文黑体" pitchFamily="2" charset="-122"/>
                </a:rPr>
                <a:t>                     点击添加标题</a:t>
              </a:r>
              <a:endParaRPr lang="zh-CN" altLang="en-US" sz="2800">
                <a:latin typeface="华文黑体" pitchFamily="2" charset="-122"/>
                <a:ea typeface="华文黑体" pitchFamily="2" charset="-122"/>
                <a:cs typeface="华文黑体" pitchFamily="2" charset="-122"/>
              </a:endParaRPr>
            </a:p>
          </p:txBody>
        </p:sp>
      </p:grpSp>
      <p:grpSp>
        <p:nvGrpSpPr>
          <p:cNvPr id="38" name="组合 37"/>
          <p:cNvGrpSpPr/>
          <p:nvPr/>
        </p:nvGrpSpPr>
        <p:grpSpPr>
          <a:xfrm>
            <a:off x="2584817" y="3545766"/>
            <a:ext cx="7020779" cy="655104"/>
            <a:chOff x="2584817" y="3826766"/>
            <a:chExt cx="7020779" cy="655104"/>
          </a:xfrm>
        </p:grpSpPr>
        <p:sp>
          <p:nvSpPr>
            <p:cNvPr id="27" name="矩形 26"/>
            <p:cNvSpPr/>
            <p:nvPr/>
          </p:nvSpPr>
          <p:spPr>
            <a:xfrm>
              <a:off x="2584817" y="3826766"/>
              <a:ext cx="936104" cy="655104"/>
            </a:xfrm>
            <a:prstGeom prst="rect">
              <a:avLst/>
            </a:prstGeom>
            <a:solidFill>
              <a:srgbClr val="47A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smtClean="0">
                  <a:latin typeface="HelveticaNeueLT Pro 35 Th" pitchFamily="34" charset="0"/>
                </a:rPr>
                <a:t>3</a:t>
              </a:r>
              <a:endParaRPr lang="zh-CN" altLang="en-US" sz="3600">
                <a:latin typeface="HelveticaNeueLT Pro 35 Th" pitchFamily="34" charset="0"/>
              </a:endParaRPr>
            </a:p>
          </p:txBody>
        </p:sp>
        <p:sp>
          <p:nvSpPr>
            <p:cNvPr id="31" name="矩形 30"/>
            <p:cNvSpPr/>
            <p:nvPr/>
          </p:nvSpPr>
          <p:spPr>
            <a:xfrm>
              <a:off x="3621305" y="3826766"/>
              <a:ext cx="5984291" cy="655104"/>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smtClean="0">
                  <a:latin typeface="华文黑体" pitchFamily="2" charset="-122"/>
                  <a:ea typeface="华文黑体" pitchFamily="2" charset="-122"/>
                  <a:cs typeface="华文黑体" pitchFamily="2" charset="-122"/>
                </a:rPr>
                <a:t>                     点击添加标题</a:t>
              </a:r>
              <a:endParaRPr lang="zh-CN" altLang="en-US" sz="2800">
                <a:latin typeface="华文黑体" pitchFamily="2" charset="-122"/>
                <a:ea typeface="华文黑体" pitchFamily="2" charset="-122"/>
                <a:cs typeface="华文黑体" pitchFamily="2" charset="-122"/>
              </a:endParaRPr>
            </a:p>
          </p:txBody>
        </p:sp>
      </p:grpSp>
      <p:grpSp>
        <p:nvGrpSpPr>
          <p:cNvPr id="39" name="组合 38"/>
          <p:cNvGrpSpPr/>
          <p:nvPr/>
        </p:nvGrpSpPr>
        <p:grpSpPr>
          <a:xfrm>
            <a:off x="2584817" y="4396236"/>
            <a:ext cx="7020779" cy="655104"/>
            <a:chOff x="2584817" y="4677236"/>
            <a:chExt cx="7020779" cy="655104"/>
          </a:xfrm>
        </p:grpSpPr>
        <p:sp>
          <p:nvSpPr>
            <p:cNvPr id="28" name="矩形 27"/>
            <p:cNvSpPr/>
            <p:nvPr/>
          </p:nvSpPr>
          <p:spPr>
            <a:xfrm>
              <a:off x="2584817" y="4677236"/>
              <a:ext cx="936104" cy="655104"/>
            </a:xfrm>
            <a:prstGeom prst="rect">
              <a:avLst/>
            </a:prstGeom>
            <a:solidFill>
              <a:srgbClr val="47A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smtClean="0">
                  <a:latin typeface="HelveticaNeueLT Pro 35 Th" pitchFamily="34" charset="0"/>
                </a:rPr>
                <a:t>4</a:t>
              </a:r>
              <a:endParaRPr lang="zh-CN" altLang="en-US" sz="3600">
                <a:latin typeface="HelveticaNeueLT Pro 35 Th" pitchFamily="34" charset="0"/>
              </a:endParaRPr>
            </a:p>
          </p:txBody>
        </p:sp>
        <p:sp>
          <p:nvSpPr>
            <p:cNvPr id="32" name="矩形 31"/>
            <p:cNvSpPr/>
            <p:nvPr/>
          </p:nvSpPr>
          <p:spPr>
            <a:xfrm>
              <a:off x="3621305" y="4677236"/>
              <a:ext cx="5984291" cy="655104"/>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smtClean="0">
                  <a:latin typeface="华文黑体" pitchFamily="2" charset="-122"/>
                  <a:ea typeface="华文黑体" pitchFamily="2" charset="-122"/>
                  <a:cs typeface="华文黑体" pitchFamily="2" charset="-122"/>
                </a:rPr>
                <a:t>                     点击添加标题</a:t>
              </a:r>
              <a:endParaRPr lang="zh-CN" altLang="en-US" sz="2800">
                <a:latin typeface="华文黑体" pitchFamily="2" charset="-122"/>
                <a:ea typeface="华文黑体" pitchFamily="2" charset="-122"/>
                <a:cs typeface="华文黑体" pitchFamily="2" charset="-122"/>
              </a:endParaRPr>
            </a:p>
          </p:txBody>
        </p:sp>
      </p:grpSp>
      <p:grpSp>
        <p:nvGrpSpPr>
          <p:cNvPr id="40" name="组合 39"/>
          <p:cNvGrpSpPr/>
          <p:nvPr/>
        </p:nvGrpSpPr>
        <p:grpSpPr>
          <a:xfrm>
            <a:off x="2584817" y="5236232"/>
            <a:ext cx="7020779" cy="655104"/>
            <a:chOff x="2584817" y="4677236"/>
            <a:chExt cx="7020779" cy="655104"/>
          </a:xfrm>
        </p:grpSpPr>
        <p:sp>
          <p:nvSpPr>
            <p:cNvPr id="41" name="矩形 40"/>
            <p:cNvSpPr/>
            <p:nvPr/>
          </p:nvSpPr>
          <p:spPr>
            <a:xfrm>
              <a:off x="2584817" y="4677236"/>
              <a:ext cx="936104" cy="655104"/>
            </a:xfrm>
            <a:prstGeom prst="rect">
              <a:avLst/>
            </a:prstGeom>
            <a:solidFill>
              <a:srgbClr val="47A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smtClean="0">
                  <a:latin typeface="HelveticaNeueLT Pro 35 Th" pitchFamily="34" charset="0"/>
                </a:rPr>
                <a:t>5</a:t>
              </a:r>
              <a:endParaRPr lang="zh-CN" altLang="en-US" sz="3600">
                <a:latin typeface="HelveticaNeueLT Pro 35 Th" pitchFamily="34" charset="0"/>
              </a:endParaRPr>
            </a:p>
          </p:txBody>
        </p:sp>
        <p:sp>
          <p:nvSpPr>
            <p:cNvPr id="42" name="矩形 41"/>
            <p:cNvSpPr/>
            <p:nvPr/>
          </p:nvSpPr>
          <p:spPr>
            <a:xfrm>
              <a:off x="3621305" y="4677236"/>
              <a:ext cx="5984291" cy="655104"/>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smtClean="0">
                  <a:latin typeface="华文黑体" pitchFamily="2" charset="-122"/>
                  <a:ea typeface="华文黑体" pitchFamily="2" charset="-122"/>
                  <a:cs typeface="华文黑体" pitchFamily="2" charset="-122"/>
                </a:rPr>
                <a:t>                     点击添加标题</a:t>
              </a:r>
              <a:endParaRPr lang="zh-CN" altLang="en-US" sz="2800">
                <a:latin typeface="华文黑体" pitchFamily="2" charset="-122"/>
                <a:ea typeface="华文黑体" pitchFamily="2" charset="-122"/>
                <a:cs typeface="华文黑体" pitchFamily="2" charset="-122"/>
              </a:endParaRPr>
            </a:p>
          </p:txBody>
        </p:sp>
      </p:grpSp>
      <p:sp>
        <p:nvSpPr>
          <p:cNvPr id="46" name="矩形 45"/>
          <p:cNvSpPr/>
          <p:nvPr/>
        </p:nvSpPr>
        <p:spPr>
          <a:xfrm>
            <a:off x="2584817" y="1844824"/>
            <a:ext cx="936104" cy="6551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smtClean="0">
                <a:solidFill>
                  <a:srgbClr val="47A7FF"/>
                </a:solidFill>
                <a:latin typeface="HelveticaNeueLT Pro 35 Th" pitchFamily="34" charset="0"/>
              </a:rPr>
              <a:t>1</a:t>
            </a:r>
            <a:endParaRPr lang="zh-CN" altLang="en-US" sz="3600">
              <a:solidFill>
                <a:srgbClr val="47A7FF"/>
              </a:solidFill>
              <a:latin typeface="HelveticaNeueLT Pro 35 Th" pitchFamily="34" charset="0"/>
            </a:endParaRPr>
          </a:p>
        </p:txBody>
      </p:sp>
      <p:sp>
        <p:nvSpPr>
          <p:cNvPr id="47" name="矩形 46"/>
          <p:cNvSpPr/>
          <p:nvPr/>
        </p:nvSpPr>
        <p:spPr>
          <a:xfrm>
            <a:off x="3621305" y="1844824"/>
            <a:ext cx="5984291" cy="655104"/>
          </a:xfrm>
          <a:prstGeom prst="rect">
            <a:avLst/>
          </a:prstGeom>
          <a:solidFill>
            <a:srgbClr val="FF78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smtClean="0">
                <a:latin typeface="华文黑体" pitchFamily="2" charset="-122"/>
                <a:ea typeface="华文黑体" pitchFamily="2" charset="-122"/>
                <a:cs typeface="华文黑体" pitchFamily="2" charset="-122"/>
              </a:rPr>
              <a:t>                     点击添加标题</a:t>
            </a:r>
            <a:endParaRPr lang="zh-CN" altLang="en-US" sz="2800">
              <a:latin typeface="华文黑体" pitchFamily="2" charset="-122"/>
              <a:ea typeface="华文黑体" pitchFamily="2" charset="-122"/>
              <a:cs typeface="华文黑体" pitchFamily="2" charset="-122"/>
            </a:endParaRPr>
          </a:p>
        </p:txBody>
      </p:sp>
    </p:spTree>
  </p:cSld>
  <p:clrMapOvr>
    <a:masterClrMapping/>
  </p:clrMapOvr>
  <p:transition spd="slow">
    <p:cove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300"/>
                                        <p:tgtEl>
                                          <p:spTgt spid="12"/>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4"/>
                                        </p:tgtEl>
                                        <p:attrNameLst>
                                          <p:attrName>style.visibility</p:attrName>
                                        </p:attrNameLst>
                                      </p:cBhvr>
                                      <p:to>
                                        <p:strVal val="visible"/>
                                      </p:to>
                                    </p:set>
                                    <p:animEffect transition="in" filter="fade">
                                      <p:cBhvr>
                                        <p:cTn id="10" dur="300"/>
                                        <p:tgtEl>
                                          <p:spTgt spid="14"/>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5"/>
                                        </p:tgtEl>
                                        <p:attrNameLst>
                                          <p:attrName>style.visibility</p:attrName>
                                        </p:attrNameLst>
                                      </p:cBhvr>
                                      <p:to>
                                        <p:strVal val="visible"/>
                                      </p:to>
                                    </p:set>
                                    <p:animEffect transition="in" filter="fade">
                                      <p:cBhvr>
                                        <p:cTn id="13" dur="300"/>
                                        <p:tgtEl>
                                          <p:spTgt spid="15"/>
                                        </p:tgtEl>
                                      </p:cBhvr>
                                    </p:animEffect>
                                  </p:childTnLst>
                                </p:cTn>
                              </p:par>
                            </p:childTnLst>
                          </p:cTn>
                        </p:par>
                        <p:par>
                          <p:cTn id="14" fill="hold">
                            <p:stCondLst>
                              <p:cond delay="500"/>
                            </p:stCondLst>
                            <p:childTnLst>
                              <p:par>
                                <p:cTn id="15" presetID="2" presetClass="entr" presetSubtype="2" fill="hold" nodeType="afterEffect">
                                  <p:stCondLst>
                                    <p:cond delay="0"/>
                                  </p:stCondLst>
                                  <p:childTnLst>
                                    <p:set>
                                      <p:cBhvr>
                                        <p:cTn id="16" dur="1" fill="hold">
                                          <p:stCondLst>
                                            <p:cond delay="0"/>
                                          </p:stCondLst>
                                        </p:cTn>
                                        <p:tgtEl>
                                          <p:spTgt spid="36"/>
                                        </p:tgtEl>
                                        <p:attrNameLst>
                                          <p:attrName>style.visibility</p:attrName>
                                        </p:attrNameLst>
                                      </p:cBhvr>
                                      <p:to>
                                        <p:strVal val="visible"/>
                                      </p:to>
                                    </p:set>
                                    <p:anim calcmode="lin" valueType="num">
                                      <p:cBhvr additive="base">
                                        <p:cTn id="17" dur="1000" fill="hold"/>
                                        <p:tgtEl>
                                          <p:spTgt spid="36"/>
                                        </p:tgtEl>
                                        <p:attrNameLst>
                                          <p:attrName>ppt_x</p:attrName>
                                        </p:attrNameLst>
                                      </p:cBhvr>
                                      <p:tavLst>
                                        <p:tav tm="0">
                                          <p:val>
                                            <p:strVal val="1+#ppt_w/2"/>
                                          </p:val>
                                        </p:tav>
                                        <p:tav tm="100000">
                                          <p:val>
                                            <p:strVal val="#ppt_x"/>
                                          </p:val>
                                        </p:tav>
                                      </p:tavLst>
                                    </p:anim>
                                    <p:anim calcmode="lin" valueType="num">
                                      <p:cBhvr additive="base">
                                        <p:cTn id="18" dur="1000" fill="hold"/>
                                        <p:tgtEl>
                                          <p:spTgt spid="36"/>
                                        </p:tgtEl>
                                        <p:attrNameLst>
                                          <p:attrName>ppt_y</p:attrName>
                                        </p:attrNameLst>
                                      </p:cBhvr>
                                      <p:tavLst>
                                        <p:tav tm="0">
                                          <p:val>
                                            <p:strVal val="#ppt_y"/>
                                          </p:val>
                                        </p:tav>
                                        <p:tav tm="100000">
                                          <p:val>
                                            <p:strVal val="#ppt_y"/>
                                          </p:val>
                                        </p:tav>
                                      </p:tavLst>
                                    </p:anim>
                                  </p:childTnLst>
                                </p:cTn>
                              </p:par>
                              <p:par>
                                <p:cTn id="19" presetID="2" presetClass="entr" presetSubtype="2" fill="hold" nodeType="withEffect">
                                  <p:stCondLst>
                                    <p:cond delay="200"/>
                                  </p:stCondLst>
                                  <p:childTnLst>
                                    <p:set>
                                      <p:cBhvr>
                                        <p:cTn id="20" dur="1" fill="hold">
                                          <p:stCondLst>
                                            <p:cond delay="0"/>
                                          </p:stCondLst>
                                        </p:cTn>
                                        <p:tgtEl>
                                          <p:spTgt spid="37"/>
                                        </p:tgtEl>
                                        <p:attrNameLst>
                                          <p:attrName>style.visibility</p:attrName>
                                        </p:attrNameLst>
                                      </p:cBhvr>
                                      <p:to>
                                        <p:strVal val="visible"/>
                                      </p:to>
                                    </p:set>
                                    <p:anim calcmode="lin" valueType="num">
                                      <p:cBhvr additive="base">
                                        <p:cTn id="21" dur="1000" fill="hold"/>
                                        <p:tgtEl>
                                          <p:spTgt spid="37"/>
                                        </p:tgtEl>
                                        <p:attrNameLst>
                                          <p:attrName>ppt_x</p:attrName>
                                        </p:attrNameLst>
                                      </p:cBhvr>
                                      <p:tavLst>
                                        <p:tav tm="0">
                                          <p:val>
                                            <p:strVal val="1+#ppt_w/2"/>
                                          </p:val>
                                        </p:tav>
                                        <p:tav tm="100000">
                                          <p:val>
                                            <p:strVal val="#ppt_x"/>
                                          </p:val>
                                        </p:tav>
                                      </p:tavLst>
                                    </p:anim>
                                    <p:anim calcmode="lin" valueType="num">
                                      <p:cBhvr additive="base">
                                        <p:cTn id="22" dur="1000" fill="hold"/>
                                        <p:tgtEl>
                                          <p:spTgt spid="37"/>
                                        </p:tgtEl>
                                        <p:attrNameLst>
                                          <p:attrName>ppt_y</p:attrName>
                                        </p:attrNameLst>
                                      </p:cBhvr>
                                      <p:tavLst>
                                        <p:tav tm="0">
                                          <p:val>
                                            <p:strVal val="#ppt_y"/>
                                          </p:val>
                                        </p:tav>
                                        <p:tav tm="100000">
                                          <p:val>
                                            <p:strVal val="#ppt_y"/>
                                          </p:val>
                                        </p:tav>
                                      </p:tavLst>
                                    </p:anim>
                                  </p:childTnLst>
                                </p:cTn>
                              </p:par>
                              <p:par>
                                <p:cTn id="23" presetID="2" presetClass="entr" presetSubtype="2" fill="hold" nodeType="withEffect">
                                  <p:stCondLst>
                                    <p:cond delay="400"/>
                                  </p:stCondLst>
                                  <p:childTnLst>
                                    <p:set>
                                      <p:cBhvr>
                                        <p:cTn id="24" dur="1" fill="hold">
                                          <p:stCondLst>
                                            <p:cond delay="0"/>
                                          </p:stCondLst>
                                        </p:cTn>
                                        <p:tgtEl>
                                          <p:spTgt spid="38"/>
                                        </p:tgtEl>
                                        <p:attrNameLst>
                                          <p:attrName>style.visibility</p:attrName>
                                        </p:attrNameLst>
                                      </p:cBhvr>
                                      <p:to>
                                        <p:strVal val="visible"/>
                                      </p:to>
                                    </p:set>
                                    <p:anim calcmode="lin" valueType="num">
                                      <p:cBhvr additive="base">
                                        <p:cTn id="25" dur="1000" fill="hold"/>
                                        <p:tgtEl>
                                          <p:spTgt spid="38"/>
                                        </p:tgtEl>
                                        <p:attrNameLst>
                                          <p:attrName>ppt_x</p:attrName>
                                        </p:attrNameLst>
                                      </p:cBhvr>
                                      <p:tavLst>
                                        <p:tav tm="0">
                                          <p:val>
                                            <p:strVal val="1+#ppt_w/2"/>
                                          </p:val>
                                        </p:tav>
                                        <p:tav tm="100000">
                                          <p:val>
                                            <p:strVal val="#ppt_x"/>
                                          </p:val>
                                        </p:tav>
                                      </p:tavLst>
                                    </p:anim>
                                    <p:anim calcmode="lin" valueType="num">
                                      <p:cBhvr additive="base">
                                        <p:cTn id="26" dur="1000" fill="hold"/>
                                        <p:tgtEl>
                                          <p:spTgt spid="38"/>
                                        </p:tgtEl>
                                        <p:attrNameLst>
                                          <p:attrName>ppt_y</p:attrName>
                                        </p:attrNameLst>
                                      </p:cBhvr>
                                      <p:tavLst>
                                        <p:tav tm="0">
                                          <p:val>
                                            <p:strVal val="#ppt_y"/>
                                          </p:val>
                                        </p:tav>
                                        <p:tav tm="100000">
                                          <p:val>
                                            <p:strVal val="#ppt_y"/>
                                          </p:val>
                                        </p:tav>
                                      </p:tavLst>
                                    </p:anim>
                                  </p:childTnLst>
                                </p:cTn>
                              </p:par>
                              <p:par>
                                <p:cTn id="27" presetID="2" presetClass="entr" presetSubtype="2" fill="hold" nodeType="withEffect">
                                  <p:stCondLst>
                                    <p:cond delay="600"/>
                                  </p:stCondLst>
                                  <p:childTnLst>
                                    <p:set>
                                      <p:cBhvr>
                                        <p:cTn id="28" dur="1" fill="hold">
                                          <p:stCondLst>
                                            <p:cond delay="0"/>
                                          </p:stCondLst>
                                        </p:cTn>
                                        <p:tgtEl>
                                          <p:spTgt spid="39"/>
                                        </p:tgtEl>
                                        <p:attrNameLst>
                                          <p:attrName>style.visibility</p:attrName>
                                        </p:attrNameLst>
                                      </p:cBhvr>
                                      <p:to>
                                        <p:strVal val="visible"/>
                                      </p:to>
                                    </p:set>
                                    <p:anim calcmode="lin" valueType="num">
                                      <p:cBhvr additive="base">
                                        <p:cTn id="29" dur="1000" fill="hold"/>
                                        <p:tgtEl>
                                          <p:spTgt spid="39"/>
                                        </p:tgtEl>
                                        <p:attrNameLst>
                                          <p:attrName>ppt_x</p:attrName>
                                        </p:attrNameLst>
                                      </p:cBhvr>
                                      <p:tavLst>
                                        <p:tav tm="0">
                                          <p:val>
                                            <p:strVal val="1+#ppt_w/2"/>
                                          </p:val>
                                        </p:tav>
                                        <p:tav tm="100000">
                                          <p:val>
                                            <p:strVal val="#ppt_x"/>
                                          </p:val>
                                        </p:tav>
                                      </p:tavLst>
                                    </p:anim>
                                    <p:anim calcmode="lin" valueType="num">
                                      <p:cBhvr additive="base">
                                        <p:cTn id="30" dur="1000" fill="hold"/>
                                        <p:tgtEl>
                                          <p:spTgt spid="39"/>
                                        </p:tgtEl>
                                        <p:attrNameLst>
                                          <p:attrName>ppt_y</p:attrName>
                                        </p:attrNameLst>
                                      </p:cBhvr>
                                      <p:tavLst>
                                        <p:tav tm="0">
                                          <p:val>
                                            <p:strVal val="#ppt_y"/>
                                          </p:val>
                                        </p:tav>
                                        <p:tav tm="100000">
                                          <p:val>
                                            <p:strVal val="#ppt_y"/>
                                          </p:val>
                                        </p:tav>
                                      </p:tavLst>
                                    </p:anim>
                                  </p:childTnLst>
                                </p:cTn>
                              </p:par>
                              <p:par>
                                <p:cTn id="31" presetID="2" presetClass="entr" presetSubtype="2" fill="hold" nodeType="withEffect">
                                  <p:stCondLst>
                                    <p:cond delay="800"/>
                                  </p:stCondLst>
                                  <p:childTnLst>
                                    <p:set>
                                      <p:cBhvr>
                                        <p:cTn id="32" dur="1" fill="hold">
                                          <p:stCondLst>
                                            <p:cond delay="0"/>
                                          </p:stCondLst>
                                        </p:cTn>
                                        <p:tgtEl>
                                          <p:spTgt spid="40"/>
                                        </p:tgtEl>
                                        <p:attrNameLst>
                                          <p:attrName>style.visibility</p:attrName>
                                        </p:attrNameLst>
                                      </p:cBhvr>
                                      <p:to>
                                        <p:strVal val="visible"/>
                                      </p:to>
                                    </p:set>
                                    <p:anim calcmode="lin" valueType="num">
                                      <p:cBhvr additive="base">
                                        <p:cTn id="33" dur="1000" fill="hold"/>
                                        <p:tgtEl>
                                          <p:spTgt spid="40"/>
                                        </p:tgtEl>
                                        <p:attrNameLst>
                                          <p:attrName>ppt_x</p:attrName>
                                        </p:attrNameLst>
                                      </p:cBhvr>
                                      <p:tavLst>
                                        <p:tav tm="0">
                                          <p:val>
                                            <p:strVal val="1+#ppt_w/2"/>
                                          </p:val>
                                        </p:tav>
                                        <p:tav tm="100000">
                                          <p:val>
                                            <p:strVal val="#ppt_x"/>
                                          </p:val>
                                        </p:tav>
                                      </p:tavLst>
                                    </p:anim>
                                    <p:anim calcmode="lin" valueType="num">
                                      <p:cBhvr additive="base">
                                        <p:cTn id="34" dur="1000" fill="hold"/>
                                        <p:tgtEl>
                                          <p:spTgt spid="40"/>
                                        </p:tgtEl>
                                        <p:attrNameLst>
                                          <p:attrName>ppt_y</p:attrName>
                                        </p:attrNameLst>
                                      </p:cBhvr>
                                      <p:tavLst>
                                        <p:tav tm="0">
                                          <p:val>
                                            <p:strVal val="#ppt_y"/>
                                          </p:val>
                                        </p:tav>
                                        <p:tav tm="100000">
                                          <p:val>
                                            <p:strVal val="#ppt_y"/>
                                          </p:val>
                                        </p:tav>
                                      </p:tavLst>
                                    </p:anim>
                                  </p:childTnLst>
                                </p:cTn>
                              </p:par>
                            </p:childTnLst>
                          </p:cTn>
                        </p:par>
                      </p:childTnLst>
                    </p:cTn>
                  </p:par>
                  <p:par>
                    <p:cTn id="35" fill="hold">
                      <p:stCondLst>
                        <p:cond delay="indefinite"/>
                      </p:stCondLst>
                      <p:childTnLst>
                        <p:par>
                          <p:cTn id="36" fill="hold">
                            <p:stCondLst>
                              <p:cond delay="0"/>
                            </p:stCondLst>
                            <p:childTnLst>
                              <p:par>
                                <p:cTn id="37" presetID="22" presetClass="entr" presetSubtype="1" fill="hold" grpId="0" nodeType="clickEffect">
                                  <p:stCondLst>
                                    <p:cond delay="0"/>
                                  </p:stCondLst>
                                  <p:childTnLst>
                                    <p:set>
                                      <p:cBhvr>
                                        <p:cTn id="38" dur="1" fill="hold">
                                          <p:stCondLst>
                                            <p:cond delay="0"/>
                                          </p:stCondLst>
                                        </p:cTn>
                                        <p:tgtEl>
                                          <p:spTgt spid="46"/>
                                        </p:tgtEl>
                                        <p:attrNameLst>
                                          <p:attrName>style.visibility</p:attrName>
                                        </p:attrNameLst>
                                      </p:cBhvr>
                                      <p:to>
                                        <p:strVal val="visible"/>
                                      </p:to>
                                    </p:set>
                                    <p:animEffect transition="in" filter="wipe(up)">
                                      <p:cBhvr>
                                        <p:cTn id="39" dur="500"/>
                                        <p:tgtEl>
                                          <p:spTgt spid="46"/>
                                        </p:tgtEl>
                                      </p:cBhvr>
                                    </p:animEffect>
                                  </p:childTnLst>
                                </p:cTn>
                              </p:par>
                              <p:par>
                                <p:cTn id="40" presetID="22" presetClass="entr" presetSubtype="2" fill="hold" grpId="0" nodeType="withEffect">
                                  <p:stCondLst>
                                    <p:cond delay="0"/>
                                  </p:stCondLst>
                                  <p:childTnLst>
                                    <p:set>
                                      <p:cBhvr>
                                        <p:cTn id="41" dur="1" fill="hold">
                                          <p:stCondLst>
                                            <p:cond delay="0"/>
                                          </p:stCondLst>
                                        </p:cTn>
                                        <p:tgtEl>
                                          <p:spTgt spid="47"/>
                                        </p:tgtEl>
                                        <p:attrNameLst>
                                          <p:attrName>style.visibility</p:attrName>
                                        </p:attrNameLst>
                                      </p:cBhvr>
                                      <p:to>
                                        <p:strVal val="visible"/>
                                      </p:to>
                                    </p:set>
                                    <p:animEffect transition="in" filter="wipe(right)">
                                      <p:cBhvr>
                                        <p:cTn id="42" dur="500"/>
                                        <p:tgtEl>
                                          <p:spTgt spid="4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4" grpId="0"/>
      <p:bldP spid="15" grpId="0"/>
      <p:bldP spid="46" grpId="0" animBg="1"/>
      <p:bldP spid="47" grpId="0" animBg="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6" name="组合 35"/>
          <p:cNvGrpSpPr/>
          <p:nvPr/>
        </p:nvGrpSpPr>
        <p:grpSpPr>
          <a:xfrm>
            <a:off x="2584817" y="1844824"/>
            <a:ext cx="7020779" cy="655104"/>
            <a:chOff x="2584817" y="2125824"/>
            <a:chExt cx="7020779" cy="655104"/>
          </a:xfrm>
        </p:grpSpPr>
        <p:sp>
          <p:nvSpPr>
            <p:cNvPr id="17" name="矩形 16"/>
            <p:cNvSpPr/>
            <p:nvPr/>
          </p:nvSpPr>
          <p:spPr>
            <a:xfrm>
              <a:off x="2584817" y="2125824"/>
              <a:ext cx="936104" cy="655104"/>
            </a:xfrm>
            <a:prstGeom prst="rect">
              <a:avLst/>
            </a:prstGeom>
            <a:solidFill>
              <a:srgbClr val="47A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smtClean="0">
                  <a:latin typeface="HelveticaNeueLT Pro 35 Th" pitchFamily="34" charset="0"/>
                </a:rPr>
                <a:t>1</a:t>
              </a:r>
              <a:endParaRPr lang="zh-CN" altLang="en-US" sz="3600">
                <a:latin typeface="HelveticaNeueLT Pro 35 Th" pitchFamily="34" charset="0"/>
              </a:endParaRPr>
            </a:p>
          </p:txBody>
        </p:sp>
        <p:sp>
          <p:nvSpPr>
            <p:cNvPr id="29" name="矩形 28"/>
            <p:cNvSpPr/>
            <p:nvPr/>
          </p:nvSpPr>
          <p:spPr>
            <a:xfrm>
              <a:off x="3621305" y="2125824"/>
              <a:ext cx="5984291" cy="655104"/>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smtClean="0">
                  <a:latin typeface="华文黑体" pitchFamily="2" charset="-122"/>
                  <a:ea typeface="华文黑体" pitchFamily="2" charset="-122"/>
                  <a:cs typeface="华文黑体" pitchFamily="2" charset="-122"/>
                </a:rPr>
                <a:t>                     点击添加标题</a:t>
              </a:r>
              <a:endParaRPr lang="zh-CN" altLang="en-US" sz="2800">
                <a:latin typeface="华文黑体" pitchFamily="2" charset="-122"/>
                <a:ea typeface="华文黑体" pitchFamily="2" charset="-122"/>
                <a:cs typeface="华文黑体" pitchFamily="2" charset="-122"/>
              </a:endParaRPr>
            </a:p>
          </p:txBody>
        </p:sp>
      </p:grpSp>
      <p:grpSp>
        <p:nvGrpSpPr>
          <p:cNvPr id="37" name="组合 36"/>
          <p:cNvGrpSpPr/>
          <p:nvPr/>
        </p:nvGrpSpPr>
        <p:grpSpPr>
          <a:xfrm>
            <a:off x="2584817" y="2695295"/>
            <a:ext cx="7020779" cy="655104"/>
            <a:chOff x="2584817" y="2976295"/>
            <a:chExt cx="7020779" cy="655104"/>
          </a:xfrm>
        </p:grpSpPr>
        <p:sp>
          <p:nvSpPr>
            <p:cNvPr id="26" name="矩形 25"/>
            <p:cNvSpPr/>
            <p:nvPr/>
          </p:nvSpPr>
          <p:spPr>
            <a:xfrm>
              <a:off x="2584817" y="2976295"/>
              <a:ext cx="936104" cy="655104"/>
            </a:xfrm>
            <a:prstGeom prst="rect">
              <a:avLst/>
            </a:prstGeom>
            <a:solidFill>
              <a:srgbClr val="47A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smtClean="0">
                  <a:latin typeface="HelveticaNeueLT Pro 35 Th" pitchFamily="34" charset="0"/>
                </a:rPr>
                <a:t>2</a:t>
              </a:r>
              <a:endParaRPr lang="zh-CN" altLang="en-US" sz="3600">
                <a:latin typeface="HelveticaNeueLT Pro 35 Th" pitchFamily="34" charset="0"/>
              </a:endParaRPr>
            </a:p>
          </p:txBody>
        </p:sp>
        <p:sp>
          <p:nvSpPr>
            <p:cNvPr id="30" name="矩形 29"/>
            <p:cNvSpPr/>
            <p:nvPr/>
          </p:nvSpPr>
          <p:spPr>
            <a:xfrm>
              <a:off x="3621305" y="2976295"/>
              <a:ext cx="5984291" cy="655104"/>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smtClean="0">
                  <a:latin typeface="华文黑体" pitchFamily="2" charset="-122"/>
                  <a:ea typeface="华文黑体" pitchFamily="2" charset="-122"/>
                  <a:cs typeface="华文黑体" pitchFamily="2" charset="-122"/>
                </a:rPr>
                <a:t>                     点击添加标题</a:t>
              </a:r>
              <a:endParaRPr lang="zh-CN" altLang="en-US" sz="2800">
                <a:latin typeface="华文黑体" pitchFamily="2" charset="-122"/>
                <a:ea typeface="华文黑体" pitchFamily="2" charset="-122"/>
                <a:cs typeface="华文黑体" pitchFamily="2" charset="-122"/>
              </a:endParaRPr>
            </a:p>
          </p:txBody>
        </p:sp>
      </p:grpSp>
      <p:grpSp>
        <p:nvGrpSpPr>
          <p:cNvPr id="38" name="组合 37"/>
          <p:cNvGrpSpPr/>
          <p:nvPr/>
        </p:nvGrpSpPr>
        <p:grpSpPr>
          <a:xfrm>
            <a:off x="2584817" y="3545766"/>
            <a:ext cx="7020779" cy="655104"/>
            <a:chOff x="2584817" y="3826766"/>
            <a:chExt cx="7020779" cy="655104"/>
          </a:xfrm>
        </p:grpSpPr>
        <p:sp>
          <p:nvSpPr>
            <p:cNvPr id="27" name="矩形 26"/>
            <p:cNvSpPr/>
            <p:nvPr/>
          </p:nvSpPr>
          <p:spPr>
            <a:xfrm>
              <a:off x="2584817" y="3826766"/>
              <a:ext cx="936104" cy="655104"/>
            </a:xfrm>
            <a:prstGeom prst="rect">
              <a:avLst/>
            </a:prstGeom>
            <a:solidFill>
              <a:srgbClr val="47A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smtClean="0">
                  <a:latin typeface="HelveticaNeueLT Pro 35 Th" pitchFamily="34" charset="0"/>
                </a:rPr>
                <a:t>3</a:t>
              </a:r>
              <a:endParaRPr lang="zh-CN" altLang="en-US" sz="3600">
                <a:latin typeface="HelveticaNeueLT Pro 35 Th" pitchFamily="34" charset="0"/>
              </a:endParaRPr>
            </a:p>
          </p:txBody>
        </p:sp>
        <p:sp>
          <p:nvSpPr>
            <p:cNvPr id="31" name="矩形 30"/>
            <p:cNvSpPr/>
            <p:nvPr/>
          </p:nvSpPr>
          <p:spPr>
            <a:xfrm>
              <a:off x="3621305" y="3826766"/>
              <a:ext cx="5984291" cy="655104"/>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smtClean="0">
                  <a:latin typeface="华文黑体" pitchFamily="2" charset="-122"/>
                  <a:ea typeface="华文黑体" pitchFamily="2" charset="-122"/>
                  <a:cs typeface="华文黑体" pitchFamily="2" charset="-122"/>
                </a:rPr>
                <a:t>                     点击添加标题</a:t>
              </a:r>
              <a:endParaRPr lang="zh-CN" altLang="en-US" sz="2800">
                <a:latin typeface="华文黑体" pitchFamily="2" charset="-122"/>
                <a:ea typeface="华文黑体" pitchFamily="2" charset="-122"/>
                <a:cs typeface="华文黑体" pitchFamily="2" charset="-122"/>
              </a:endParaRPr>
            </a:p>
          </p:txBody>
        </p:sp>
      </p:grpSp>
      <p:grpSp>
        <p:nvGrpSpPr>
          <p:cNvPr id="39" name="组合 38"/>
          <p:cNvGrpSpPr/>
          <p:nvPr/>
        </p:nvGrpSpPr>
        <p:grpSpPr>
          <a:xfrm>
            <a:off x="2584817" y="4396236"/>
            <a:ext cx="7020779" cy="655104"/>
            <a:chOff x="2584817" y="4677236"/>
            <a:chExt cx="7020779" cy="655104"/>
          </a:xfrm>
        </p:grpSpPr>
        <p:sp>
          <p:nvSpPr>
            <p:cNvPr id="28" name="矩形 27"/>
            <p:cNvSpPr/>
            <p:nvPr/>
          </p:nvSpPr>
          <p:spPr>
            <a:xfrm>
              <a:off x="2584817" y="4677236"/>
              <a:ext cx="936104" cy="655104"/>
            </a:xfrm>
            <a:prstGeom prst="rect">
              <a:avLst/>
            </a:prstGeom>
            <a:solidFill>
              <a:srgbClr val="47A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smtClean="0">
                  <a:latin typeface="HelveticaNeueLT Pro 35 Th" pitchFamily="34" charset="0"/>
                </a:rPr>
                <a:t>4</a:t>
              </a:r>
              <a:endParaRPr lang="zh-CN" altLang="en-US" sz="3600">
                <a:latin typeface="HelveticaNeueLT Pro 35 Th" pitchFamily="34" charset="0"/>
              </a:endParaRPr>
            </a:p>
          </p:txBody>
        </p:sp>
        <p:sp>
          <p:nvSpPr>
            <p:cNvPr id="32" name="矩形 31"/>
            <p:cNvSpPr/>
            <p:nvPr/>
          </p:nvSpPr>
          <p:spPr>
            <a:xfrm>
              <a:off x="3621305" y="4677236"/>
              <a:ext cx="5984291" cy="655104"/>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smtClean="0">
                  <a:latin typeface="华文黑体" pitchFamily="2" charset="-122"/>
                  <a:ea typeface="华文黑体" pitchFamily="2" charset="-122"/>
                  <a:cs typeface="华文黑体" pitchFamily="2" charset="-122"/>
                </a:rPr>
                <a:t>                     点击添加标题</a:t>
              </a:r>
              <a:endParaRPr lang="zh-CN" altLang="en-US" sz="2800">
                <a:latin typeface="华文黑体" pitchFamily="2" charset="-122"/>
                <a:ea typeface="华文黑体" pitchFamily="2" charset="-122"/>
                <a:cs typeface="华文黑体" pitchFamily="2" charset="-122"/>
              </a:endParaRPr>
            </a:p>
          </p:txBody>
        </p:sp>
      </p:grpSp>
      <p:grpSp>
        <p:nvGrpSpPr>
          <p:cNvPr id="40" name="组合 39"/>
          <p:cNvGrpSpPr/>
          <p:nvPr/>
        </p:nvGrpSpPr>
        <p:grpSpPr>
          <a:xfrm>
            <a:off x="2584817" y="5236232"/>
            <a:ext cx="7020779" cy="655104"/>
            <a:chOff x="2584817" y="4677236"/>
            <a:chExt cx="7020779" cy="655104"/>
          </a:xfrm>
        </p:grpSpPr>
        <p:sp>
          <p:nvSpPr>
            <p:cNvPr id="41" name="矩形 40"/>
            <p:cNvSpPr/>
            <p:nvPr/>
          </p:nvSpPr>
          <p:spPr>
            <a:xfrm>
              <a:off x="2584817" y="4677236"/>
              <a:ext cx="936104" cy="655104"/>
            </a:xfrm>
            <a:prstGeom prst="rect">
              <a:avLst/>
            </a:prstGeom>
            <a:solidFill>
              <a:srgbClr val="47A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smtClean="0">
                  <a:latin typeface="HelveticaNeueLT Pro 35 Th" pitchFamily="34" charset="0"/>
                </a:rPr>
                <a:t>5</a:t>
              </a:r>
              <a:endParaRPr lang="zh-CN" altLang="en-US" sz="3600">
                <a:latin typeface="HelveticaNeueLT Pro 35 Th" pitchFamily="34" charset="0"/>
              </a:endParaRPr>
            </a:p>
          </p:txBody>
        </p:sp>
        <p:sp>
          <p:nvSpPr>
            <p:cNvPr id="42" name="矩形 41"/>
            <p:cNvSpPr/>
            <p:nvPr/>
          </p:nvSpPr>
          <p:spPr>
            <a:xfrm>
              <a:off x="3621305" y="4677236"/>
              <a:ext cx="5984291" cy="655104"/>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smtClean="0">
                  <a:latin typeface="华文黑体" pitchFamily="2" charset="-122"/>
                  <a:ea typeface="华文黑体" pitchFamily="2" charset="-122"/>
                  <a:cs typeface="华文黑体" pitchFamily="2" charset="-122"/>
                </a:rPr>
                <a:t>                     点击添加标题</a:t>
              </a:r>
              <a:endParaRPr lang="zh-CN" altLang="en-US" sz="2800">
                <a:latin typeface="华文黑体" pitchFamily="2" charset="-122"/>
                <a:ea typeface="华文黑体" pitchFamily="2" charset="-122"/>
                <a:cs typeface="华文黑体" pitchFamily="2" charset="-122"/>
              </a:endParaRPr>
            </a:p>
          </p:txBody>
        </p:sp>
      </p:grpSp>
      <p:sp>
        <p:nvSpPr>
          <p:cNvPr id="35" name="矩形 34"/>
          <p:cNvSpPr/>
          <p:nvPr/>
        </p:nvSpPr>
        <p:spPr>
          <a:xfrm>
            <a:off x="3621305" y="4396236"/>
            <a:ext cx="5984291" cy="655104"/>
          </a:xfrm>
          <a:prstGeom prst="rect">
            <a:avLst/>
          </a:prstGeom>
          <a:solidFill>
            <a:srgbClr val="FF78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smtClean="0">
                <a:latin typeface="华文黑体" pitchFamily="2" charset="-122"/>
                <a:ea typeface="华文黑体" pitchFamily="2" charset="-122"/>
                <a:cs typeface="华文黑体" pitchFamily="2" charset="-122"/>
              </a:rPr>
              <a:t>                     点击添加标题</a:t>
            </a:r>
            <a:endParaRPr lang="zh-CN" altLang="en-US" sz="2800">
              <a:latin typeface="华文黑体" pitchFamily="2" charset="-122"/>
              <a:ea typeface="华文黑体" pitchFamily="2" charset="-122"/>
              <a:cs typeface="华文黑体" pitchFamily="2" charset="-122"/>
            </a:endParaRPr>
          </a:p>
        </p:txBody>
      </p:sp>
      <p:sp>
        <p:nvSpPr>
          <p:cNvPr id="43" name="矩形 42"/>
          <p:cNvSpPr/>
          <p:nvPr/>
        </p:nvSpPr>
        <p:spPr>
          <a:xfrm>
            <a:off x="2584817" y="4396236"/>
            <a:ext cx="936104" cy="6551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smtClean="0">
                <a:solidFill>
                  <a:srgbClr val="47A7FF"/>
                </a:solidFill>
                <a:latin typeface="HelveticaNeueLT Pro 35 Th" pitchFamily="34" charset="0"/>
              </a:rPr>
              <a:t>4</a:t>
            </a:r>
            <a:endParaRPr lang="zh-CN" altLang="en-US" sz="3600">
              <a:solidFill>
                <a:srgbClr val="47A7FF"/>
              </a:solidFill>
              <a:latin typeface="HelveticaNeueLT Pro 35 Th" pitchFamily="34" charset="0"/>
            </a:endParaRPr>
          </a:p>
        </p:txBody>
      </p:sp>
      <p:sp>
        <p:nvSpPr>
          <p:cNvPr id="24" name="圆角矩形 23"/>
          <p:cNvSpPr/>
          <p:nvPr/>
        </p:nvSpPr>
        <p:spPr>
          <a:xfrm>
            <a:off x="9772022" y="260648"/>
            <a:ext cx="1944216" cy="600163"/>
          </a:xfrm>
          <a:prstGeom prst="roundRect">
            <a:avLst/>
          </a:prstGeom>
          <a:solidFill>
            <a:srgbClr val="FFFFFF"/>
          </a:solidFill>
          <a:ln>
            <a:noFill/>
          </a:ln>
          <a:effectLst>
            <a:reflection blurRad="6350" stA="25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5" name="TextBox 24"/>
          <p:cNvSpPr txBox="1"/>
          <p:nvPr/>
        </p:nvSpPr>
        <p:spPr>
          <a:xfrm>
            <a:off x="10292725" y="260648"/>
            <a:ext cx="902811" cy="523220"/>
          </a:xfrm>
          <a:prstGeom prst="rect">
            <a:avLst/>
          </a:prstGeom>
          <a:noFill/>
        </p:spPr>
        <p:txBody>
          <a:bodyPr wrap="none" rtlCol="0" anchor="ctr">
            <a:spAutoFit/>
          </a:bodyPr>
          <a:lstStyle>
            <a:defPPr>
              <a:defRPr lang="zh-CN"/>
            </a:defPPr>
            <a:lvl1pPr algn="ctr">
              <a:defRPr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anose="02010600040101010101" pitchFamily="2" charset="-122"/>
                <a:cs typeface="华文黑体" pitchFamily="2" charset="-122"/>
              </a:defRPr>
            </a:lvl1pPr>
          </a:lstStyle>
          <a:p>
            <a:r>
              <a:rPr lang="zh-CN" altLang="en-US" sz="2800">
                <a:gradFill>
                  <a:gsLst>
                    <a:gs pos="0">
                      <a:srgbClr val="2A4DFE"/>
                    </a:gs>
                    <a:gs pos="57000">
                      <a:srgbClr val="4F92FF"/>
                    </a:gs>
                    <a:gs pos="70000">
                      <a:srgbClr val="44028C"/>
                    </a:gs>
                    <a:gs pos="100000">
                      <a:srgbClr val="FF09A7"/>
                    </a:gs>
                    <a:gs pos="83000">
                      <a:srgbClr val="B00071"/>
                    </a:gs>
                  </a:gsLst>
                  <a:lin ang="5400000" scaled="0"/>
                </a:gradFill>
              </a:rPr>
              <a:t>目录</a:t>
            </a:r>
            <a:endParaRPr lang="zh-CN" altLang="en-US" sz="2800">
              <a:gradFill>
                <a:gsLst>
                  <a:gs pos="0">
                    <a:srgbClr val="2A4DFE"/>
                  </a:gs>
                  <a:gs pos="57000">
                    <a:srgbClr val="4F92FF"/>
                  </a:gs>
                  <a:gs pos="70000">
                    <a:srgbClr val="44028C"/>
                  </a:gs>
                  <a:gs pos="100000">
                    <a:srgbClr val="FF09A7"/>
                  </a:gs>
                  <a:gs pos="83000">
                    <a:srgbClr val="B00071"/>
                  </a:gs>
                </a:gsLst>
                <a:lin ang="5400000" scaled="0"/>
              </a:gradFill>
            </a:endParaRPr>
          </a:p>
        </p:txBody>
      </p:sp>
      <p:sp>
        <p:nvSpPr>
          <p:cNvPr id="33" name="TextBox 32"/>
          <p:cNvSpPr txBox="1"/>
          <p:nvPr/>
        </p:nvSpPr>
        <p:spPr>
          <a:xfrm>
            <a:off x="7323750" y="276036"/>
            <a:ext cx="2294218" cy="584775"/>
          </a:xfrm>
          <a:prstGeom prst="rect">
            <a:avLst/>
          </a:prstGeom>
          <a:noFill/>
        </p:spPr>
        <p:txBody>
          <a:bodyPr wrap="none" rtlCol="0">
            <a:spAutoFit/>
          </a:bodyPr>
          <a:lstStyle/>
          <a:p>
            <a:pPr algn="ctr"/>
            <a:r>
              <a:rPr lang="en-US" altLang="zh-CN" sz="3200" smtClean="0">
                <a:solidFill>
                  <a:schemeClr val="bg1"/>
                </a:solidFill>
                <a:latin typeface="HelveticaNeueLT Pro 35 Th" pitchFamily="34" charset="0"/>
                <a:ea typeface="华文细黑" panose="02010600040101010101" pitchFamily="2" charset="-122"/>
                <a:cs typeface="华文黑体" pitchFamily="2" charset="-122"/>
              </a:rPr>
              <a:t>CONTENTS</a:t>
            </a:r>
            <a:endParaRPr lang="zh-CN" altLang="en-US" sz="3200">
              <a:solidFill>
                <a:schemeClr val="bg1"/>
              </a:solidFill>
              <a:latin typeface="HelveticaNeueLT Pro 35 Th" pitchFamily="34" charset="0"/>
              <a:ea typeface="华文细黑" panose="02010600040101010101" pitchFamily="2" charset="-122"/>
              <a:cs typeface="华文黑体" pitchFamily="2" charset="-122"/>
            </a:endParaRPr>
          </a:p>
        </p:txBody>
      </p:sp>
    </p:spTree>
  </p:cSld>
  <p:clrMapOvr>
    <a:masterClrMapping/>
  </p:clrMapOvr>
  <p:transition spd="slow">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4"/>
                                        </p:tgtEl>
                                        <p:attrNameLst>
                                          <p:attrName>style.visibility</p:attrName>
                                        </p:attrNameLst>
                                      </p:cBhvr>
                                      <p:to>
                                        <p:strVal val="visible"/>
                                      </p:to>
                                    </p:set>
                                    <p:animEffect transition="in" filter="fade">
                                      <p:cBhvr>
                                        <p:cTn id="7" dur="300"/>
                                        <p:tgtEl>
                                          <p:spTgt spid="2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5"/>
                                        </p:tgtEl>
                                        <p:attrNameLst>
                                          <p:attrName>style.visibility</p:attrName>
                                        </p:attrNameLst>
                                      </p:cBhvr>
                                      <p:to>
                                        <p:strVal val="visible"/>
                                      </p:to>
                                    </p:set>
                                    <p:animEffect transition="in" filter="fade">
                                      <p:cBhvr>
                                        <p:cTn id="10" dur="300"/>
                                        <p:tgtEl>
                                          <p:spTgt spid="25"/>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3"/>
                                        </p:tgtEl>
                                        <p:attrNameLst>
                                          <p:attrName>style.visibility</p:attrName>
                                        </p:attrNameLst>
                                      </p:cBhvr>
                                      <p:to>
                                        <p:strVal val="visible"/>
                                      </p:to>
                                    </p:set>
                                    <p:animEffect transition="in" filter="fade">
                                      <p:cBhvr>
                                        <p:cTn id="13" dur="300"/>
                                        <p:tgtEl>
                                          <p:spTgt spid="33"/>
                                        </p:tgtEl>
                                      </p:cBhvr>
                                    </p:animEffect>
                                  </p:childTnLst>
                                </p:cTn>
                              </p:par>
                            </p:childTnLst>
                          </p:cTn>
                        </p:par>
                        <p:par>
                          <p:cTn id="14" fill="hold">
                            <p:stCondLst>
                              <p:cond delay="500"/>
                            </p:stCondLst>
                            <p:childTnLst>
                              <p:par>
                                <p:cTn id="15" presetID="22" presetClass="entr" presetSubtype="1" fill="hold" grpId="0" nodeType="afterEffect">
                                  <p:stCondLst>
                                    <p:cond delay="0"/>
                                  </p:stCondLst>
                                  <p:childTnLst>
                                    <p:set>
                                      <p:cBhvr>
                                        <p:cTn id="16" dur="1" fill="hold">
                                          <p:stCondLst>
                                            <p:cond delay="0"/>
                                          </p:stCondLst>
                                        </p:cTn>
                                        <p:tgtEl>
                                          <p:spTgt spid="43"/>
                                        </p:tgtEl>
                                        <p:attrNameLst>
                                          <p:attrName>style.visibility</p:attrName>
                                        </p:attrNameLst>
                                      </p:cBhvr>
                                      <p:to>
                                        <p:strVal val="visible"/>
                                      </p:to>
                                    </p:set>
                                    <p:animEffect transition="in" filter="wipe(up)">
                                      <p:cBhvr>
                                        <p:cTn id="17" dur="500"/>
                                        <p:tgtEl>
                                          <p:spTgt spid="43"/>
                                        </p:tgtEl>
                                      </p:cBhvr>
                                    </p:animEffect>
                                  </p:childTnLst>
                                </p:cTn>
                              </p:par>
                              <p:par>
                                <p:cTn id="18" presetID="22" presetClass="entr" presetSubtype="2" fill="hold" grpId="0" nodeType="withEffect">
                                  <p:stCondLst>
                                    <p:cond delay="0"/>
                                  </p:stCondLst>
                                  <p:childTnLst>
                                    <p:set>
                                      <p:cBhvr>
                                        <p:cTn id="19" dur="1" fill="hold">
                                          <p:stCondLst>
                                            <p:cond delay="0"/>
                                          </p:stCondLst>
                                        </p:cTn>
                                        <p:tgtEl>
                                          <p:spTgt spid="35"/>
                                        </p:tgtEl>
                                        <p:attrNameLst>
                                          <p:attrName>style.visibility</p:attrName>
                                        </p:attrNameLst>
                                      </p:cBhvr>
                                      <p:to>
                                        <p:strVal val="visible"/>
                                      </p:to>
                                    </p:set>
                                    <p:animEffect transition="in" filter="wipe(right)">
                                      <p:cBhvr>
                                        <p:cTn id="20" dur="5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 grpId="0" animBg="1"/>
      <p:bldP spid="43" grpId="0" animBg="1"/>
      <p:bldP spid="24" grpId="0" animBg="1"/>
      <p:bldP spid="25" grpId="0"/>
      <p:bldP spid="33"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矩形 33" hidden="1"/>
          <p:cNvSpPr/>
          <p:nvPr/>
        </p:nvSpPr>
        <p:spPr>
          <a:xfrm>
            <a:off x="2584817" y="2133288"/>
            <a:ext cx="936104" cy="6551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smtClean="0">
                <a:solidFill>
                  <a:srgbClr val="B0F533"/>
                </a:solidFill>
                <a:latin typeface="Gill Sans MT Pro Light" pitchFamily="34" charset="0"/>
              </a:rPr>
              <a:t>1</a:t>
            </a:r>
            <a:endParaRPr lang="zh-CN" altLang="en-US" sz="3600">
              <a:solidFill>
                <a:srgbClr val="B0F533"/>
              </a:solidFill>
              <a:latin typeface="Gill Sans MT Pro Light" pitchFamily="34" charset="0"/>
            </a:endParaRPr>
          </a:p>
        </p:txBody>
      </p:sp>
      <p:sp>
        <p:nvSpPr>
          <p:cNvPr id="35" name="矩形 34" hidden="1"/>
          <p:cNvSpPr/>
          <p:nvPr/>
        </p:nvSpPr>
        <p:spPr>
          <a:xfrm>
            <a:off x="3621305" y="2133288"/>
            <a:ext cx="5984291" cy="655104"/>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smtClean="0">
                <a:latin typeface="华文黑体" pitchFamily="2" charset="-122"/>
                <a:ea typeface="华文黑体" pitchFamily="2" charset="-122"/>
                <a:cs typeface="华文黑体" pitchFamily="2" charset="-122"/>
              </a:rPr>
              <a:t>                     点击添加标题</a:t>
            </a:r>
            <a:endParaRPr lang="zh-CN" altLang="en-US" sz="2800">
              <a:latin typeface="华文黑体" pitchFamily="2" charset="-122"/>
              <a:ea typeface="华文黑体" pitchFamily="2" charset="-122"/>
              <a:cs typeface="华文黑体" pitchFamily="2" charset="-122"/>
            </a:endParaRPr>
          </a:p>
        </p:txBody>
      </p:sp>
      <p:pic>
        <p:nvPicPr>
          <p:cNvPr id="8" name="Picture 2"/>
          <p:cNvPicPr>
            <a:picLocks noChangeAspect="1" noChangeArrowheads="1"/>
          </p:cNvPicPr>
          <p:nvPr/>
        </p:nvPicPr>
        <p:blipFill>
          <a:blip r:embed="rId1" cstate="print">
            <a:extLst>
              <a:ext uri="{28A0092B-C50C-407E-A947-70E740481C1C}">
                <a14:useLocalDpi xmlns:a14="http://schemas.microsoft.com/office/drawing/2010/main" val="0"/>
              </a:ext>
            </a:extLst>
          </a:blip>
          <a:stretch>
            <a:fillRect/>
          </a:stretch>
        </p:blipFill>
        <p:spPr bwMode="auto">
          <a:xfrm>
            <a:off x="5927914" y="1849021"/>
            <a:ext cx="5063836" cy="3368738"/>
          </a:xfrm>
          <a:prstGeom prst="rect">
            <a:avLst/>
          </a:prstGeom>
          <a:noFill/>
          <a:effectLst>
            <a:reflection blurRad="6350" stA="30000" endPos="35000" dir="5400000" sy="-100000" algn="bl" rotWithShape="0"/>
          </a:effectLst>
          <a:extLst>
            <a:ext uri="{909E8E84-426E-40DD-AFC4-6F175D3DCCD1}">
              <a14:hiddenFill xmlns:a14="http://schemas.microsoft.com/office/drawing/2010/main">
                <a:solidFill>
                  <a:srgbClr val="FFFFFF"/>
                </a:solidFill>
              </a14:hiddenFill>
            </a:ext>
          </a:extLst>
        </p:spPr>
      </p:pic>
      <p:sp>
        <p:nvSpPr>
          <p:cNvPr id="9" name="TextBox 8"/>
          <p:cNvSpPr txBox="1"/>
          <p:nvPr/>
        </p:nvSpPr>
        <p:spPr>
          <a:xfrm>
            <a:off x="1054646" y="1828850"/>
            <a:ext cx="4320480" cy="1446550"/>
          </a:xfrm>
          <a:prstGeom prst="rect">
            <a:avLst/>
          </a:prstGeom>
          <a:noFill/>
        </p:spPr>
        <p:txBody>
          <a:bodyPr wrap="square" rtlCol="0">
            <a:spAutoFit/>
          </a:bodyPr>
          <a:lstStyle/>
          <a:p>
            <a:r>
              <a:rPr lang="zh-CN" altLang="en-US" sz="2400" smtClean="0">
                <a:solidFill>
                  <a:schemeClr val="bg1"/>
                </a:solidFill>
                <a:latin typeface="华文黑体" pitchFamily="2" charset="-122"/>
                <a:ea typeface="华文黑体" pitchFamily="2" charset="-122"/>
                <a:cs typeface="华文黑体" pitchFamily="2" charset="-122"/>
              </a:rPr>
              <a:t>单击添加标题</a:t>
            </a:r>
            <a:endParaRPr lang="en-US" altLang="zh-CN" sz="2400" smtClean="0">
              <a:solidFill>
                <a:schemeClr val="bg1"/>
              </a:solidFill>
              <a:latin typeface="华文黑体" pitchFamily="2" charset="-122"/>
              <a:ea typeface="华文黑体" pitchFamily="2" charset="-122"/>
              <a:cs typeface="华文黑体" pitchFamily="2" charset="-122"/>
            </a:endParaRPr>
          </a:p>
          <a:p>
            <a:endParaRPr lang="en-US" altLang="zh-CN" sz="1000" smtClean="0">
              <a:solidFill>
                <a:schemeClr val="bg1"/>
              </a:solidFill>
              <a:latin typeface="华文黑体" pitchFamily="2" charset="-122"/>
              <a:ea typeface="华文黑体" pitchFamily="2" charset="-122"/>
              <a:cs typeface="华文黑体" pitchFamily="2" charset="-122"/>
            </a:endParaRPr>
          </a:p>
          <a:p>
            <a:r>
              <a:rPr lang="zh-CN" altLang="en-US" smtClean="0">
                <a:solidFill>
                  <a:schemeClr val="bg1"/>
                </a:solidFill>
                <a:latin typeface="华文细黑" panose="02010600040101010101" pitchFamily="2" charset="-122"/>
                <a:ea typeface="华文细黑" panose="02010600040101010101" pitchFamily="2" charset="-122"/>
                <a:cs typeface="华文黑体" pitchFamily="2" charset="-122"/>
              </a:rPr>
              <a:t>单击添加文本单击添加文本单击添加文本单击添加文本单击</a:t>
            </a:r>
            <a:r>
              <a:rPr lang="zh-CN" altLang="en-US">
                <a:solidFill>
                  <a:schemeClr val="bg1"/>
                </a:solidFill>
                <a:latin typeface="华文细黑" panose="02010600040101010101" pitchFamily="2" charset="-122"/>
                <a:ea typeface="华文细黑" panose="02010600040101010101" pitchFamily="2" charset="-122"/>
                <a:cs typeface="华文黑体" pitchFamily="2" charset="-122"/>
              </a:rPr>
              <a:t>添加</a:t>
            </a:r>
            <a:r>
              <a:rPr lang="zh-CN" altLang="en-US" smtClean="0">
                <a:solidFill>
                  <a:schemeClr val="bg1"/>
                </a:solidFill>
                <a:latin typeface="华文细黑" panose="02010600040101010101" pitchFamily="2" charset="-122"/>
                <a:ea typeface="华文细黑" panose="02010600040101010101" pitchFamily="2" charset="-122"/>
                <a:cs typeface="华文黑体" pitchFamily="2" charset="-122"/>
              </a:rPr>
              <a:t>文本单击添加</a:t>
            </a:r>
            <a:r>
              <a:rPr lang="zh-CN" altLang="en-US">
                <a:solidFill>
                  <a:schemeClr val="bg1"/>
                </a:solidFill>
                <a:latin typeface="华文细黑" panose="02010600040101010101" pitchFamily="2" charset="-122"/>
                <a:ea typeface="华文细黑" panose="02010600040101010101" pitchFamily="2" charset="-122"/>
                <a:cs typeface="华文黑体" pitchFamily="2" charset="-122"/>
              </a:rPr>
              <a:t>文本单击添加文本单击添加</a:t>
            </a:r>
            <a:r>
              <a:rPr lang="zh-CN" altLang="en-US" smtClean="0">
                <a:solidFill>
                  <a:schemeClr val="bg1"/>
                </a:solidFill>
                <a:latin typeface="华文细黑" panose="02010600040101010101" pitchFamily="2" charset="-122"/>
                <a:ea typeface="华文细黑" panose="02010600040101010101" pitchFamily="2" charset="-122"/>
                <a:cs typeface="华文黑体" pitchFamily="2" charset="-122"/>
              </a:rPr>
              <a:t>文本</a:t>
            </a:r>
            <a:endParaRPr lang="zh-CN" altLang="en-US">
              <a:solidFill>
                <a:schemeClr val="bg1"/>
              </a:solidFill>
              <a:latin typeface="华文细黑" panose="02010600040101010101" pitchFamily="2" charset="-122"/>
              <a:ea typeface="华文细黑" panose="02010600040101010101" pitchFamily="2" charset="-122"/>
              <a:cs typeface="华文黑体" pitchFamily="2" charset="-122"/>
            </a:endParaRPr>
          </a:p>
        </p:txBody>
      </p:sp>
      <p:grpSp>
        <p:nvGrpSpPr>
          <p:cNvPr id="6" name="组合 5"/>
          <p:cNvGrpSpPr/>
          <p:nvPr/>
        </p:nvGrpSpPr>
        <p:grpSpPr>
          <a:xfrm>
            <a:off x="1208359" y="3933055"/>
            <a:ext cx="3960440" cy="1284703"/>
            <a:chOff x="1208359" y="3933055"/>
            <a:chExt cx="3960440" cy="1284703"/>
          </a:xfrm>
        </p:grpSpPr>
        <p:sp>
          <p:nvSpPr>
            <p:cNvPr id="2" name="矩形标注 1"/>
            <p:cNvSpPr/>
            <p:nvPr/>
          </p:nvSpPr>
          <p:spPr>
            <a:xfrm>
              <a:off x="1208359" y="3933055"/>
              <a:ext cx="3960440" cy="1284703"/>
            </a:xfrm>
            <a:prstGeom prst="wedgeRectCallout">
              <a:avLst>
                <a:gd name="adj1" fmla="val 75185"/>
                <a:gd name="adj2" fmla="val -54997"/>
              </a:avLst>
            </a:prstGeom>
            <a:solidFill>
              <a:srgbClr val="254061">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3" name="Freeform 88"/>
            <p:cNvSpPr>
              <a:spLocks noEditPoints="1"/>
            </p:cNvSpPr>
            <p:nvPr/>
          </p:nvSpPr>
          <p:spPr bwMode="auto">
            <a:xfrm>
              <a:off x="1399742" y="4150273"/>
              <a:ext cx="360000" cy="360000"/>
            </a:xfrm>
            <a:custGeom>
              <a:avLst/>
              <a:gdLst>
                <a:gd name="T0" fmla="*/ 207 w 414"/>
                <a:gd name="T1" fmla="*/ 0 h 414"/>
                <a:gd name="T2" fmla="*/ 0 w 414"/>
                <a:gd name="T3" fmla="*/ 207 h 414"/>
                <a:gd name="T4" fmla="*/ 207 w 414"/>
                <a:gd name="T5" fmla="*/ 414 h 414"/>
                <a:gd name="T6" fmla="*/ 414 w 414"/>
                <a:gd name="T7" fmla="*/ 207 h 414"/>
                <a:gd name="T8" fmla="*/ 207 w 414"/>
                <a:gd name="T9" fmla="*/ 0 h 414"/>
                <a:gd name="T10" fmla="*/ 207 w 414"/>
                <a:gd name="T11" fmla="*/ 399 h 414"/>
                <a:gd name="T12" fmla="*/ 15 w 414"/>
                <a:gd name="T13" fmla="*/ 207 h 414"/>
                <a:gd name="T14" fmla="*/ 207 w 414"/>
                <a:gd name="T15" fmla="*/ 15 h 414"/>
                <a:gd name="T16" fmla="*/ 399 w 414"/>
                <a:gd name="T17" fmla="*/ 207 h 414"/>
                <a:gd name="T18" fmla="*/ 207 w 414"/>
                <a:gd name="T19" fmla="*/ 399 h 414"/>
                <a:gd name="T20" fmla="*/ 299 w 414"/>
                <a:gd name="T21" fmla="*/ 174 h 414"/>
                <a:gd name="T22" fmla="*/ 314 w 414"/>
                <a:gd name="T23" fmla="*/ 174 h 414"/>
                <a:gd name="T24" fmla="*/ 314 w 414"/>
                <a:gd name="T25" fmla="*/ 307 h 414"/>
                <a:gd name="T26" fmla="*/ 306 w 414"/>
                <a:gd name="T27" fmla="*/ 314 h 414"/>
                <a:gd name="T28" fmla="*/ 173 w 414"/>
                <a:gd name="T29" fmla="*/ 314 h 414"/>
                <a:gd name="T30" fmla="*/ 173 w 414"/>
                <a:gd name="T31" fmla="*/ 300 h 414"/>
                <a:gd name="T32" fmla="*/ 288 w 414"/>
                <a:gd name="T33" fmla="*/ 300 h 414"/>
                <a:gd name="T34" fmla="*/ 108 w 414"/>
                <a:gd name="T35" fmla="*/ 120 h 414"/>
                <a:gd name="T36" fmla="*/ 119 w 414"/>
                <a:gd name="T37" fmla="*/ 109 h 414"/>
                <a:gd name="T38" fmla="*/ 299 w 414"/>
                <a:gd name="T39" fmla="*/ 289 h 414"/>
                <a:gd name="T40" fmla="*/ 299 w 414"/>
                <a:gd name="T41" fmla="*/ 174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4" h="414">
                  <a:moveTo>
                    <a:pt x="207" y="0"/>
                  </a:moveTo>
                  <a:cubicBezTo>
                    <a:pt x="93" y="0"/>
                    <a:pt x="0" y="93"/>
                    <a:pt x="0" y="207"/>
                  </a:cubicBezTo>
                  <a:cubicBezTo>
                    <a:pt x="0" y="321"/>
                    <a:pt x="93" y="414"/>
                    <a:pt x="207" y="414"/>
                  </a:cubicBezTo>
                  <a:cubicBezTo>
                    <a:pt x="321" y="414"/>
                    <a:pt x="414" y="321"/>
                    <a:pt x="414" y="207"/>
                  </a:cubicBezTo>
                  <a:cubicBezTo>
                    <a:pt x="414" y="93"/>
                    <a:pt x="321" y="0"/>
                    <a:pt x="207" y="0"/>
                  </a:cubicBezTo>
                  <a:close/>
                  <a:moveTo>
                    <a:pt x="207" y="399"/>
                  </a:moveTo>
                  <a:cubicBezTo>
                    <a:pt x="101" y="399"/>
                    <a:pt x="15" y="313"/>
                    <a:pt x="15" y="207"/>
                  </a:cubicBezTo>
                  <a:cubicBezTo>
                    <a:pt x="15" y="101"/>
                    <a:pt x="101" y="15"/>
                    <a:pt x="207" y="15"/>
                  </a:cubicBezTo>
                  <a:cubicBezTo>
                    <a:pt x="313" y="15"/>
                    <a:pt x="399" y="101"/>
                    <a:pt x="399" y="207"/>
                  </a:cubicBezTo>
                  <a:cubicBezTo>
                    <a:pt x="399" y="313"/>
                    <a:pt x="313" y="399"/>
                    <a:pt x="207" y="399"/>
                  </a:cubicBezTo>
                  <a:close/>
                  <a:moveTo>
                    <a:pt x="299" y="174"/>
                  </a:moveTo>
                  <a:cubicBezTo>
                    <a:pt x="314" y="174"/>
                    <a:pt x="314" y="174"/>
                    <a:pt x="314" y="174"/>
                  </a:cubicBezTo>
                  <a:cubicBezTo>
                    <a:pt x="314" y="307"/>
                    <a:pt x="314" y="307"/>
                    <a:pt x="314" y="307"/>
                  </a:cubicBezTo>
                  <a:cubicBezTo>
                    <a:pt x="314" y="311"/>
                    <a:pt x="310" y="314"/>
                    <a:pt x="306" y="314"/>
                  </a:cubicBezTo>
                  <a:cubicBezTo>
                    <a:pt x="173" y="314"/>
                    <a:pt x="173" y="314"/>
                    <a:pt x="173" y="314"/>
                  </a:cubicBezTo>
                  <a:cubicBezTo>
                    <a:pt x="173" y="300"/>
                    <a:pt x="173" y="300"/>
                    <a:pt x="173" y="300"/>
                  </a:cubicBezTo>
                  <a:cubicBezTo>
                    <a:pt x="288" y="300"/>
                    <a:pt x="288" y="300"/>
                    <a:pt x="288" y="300"/>
                  </a:cubicBezTo>
                  <a:cubicBezTo>
                    <a:pt x="108" y="120"/>
                    <a:pt x="108" y="120"/>
                    <a:pt x="108" y="120"/>
                  </a:cubicBezTo>
                  <a:cubicBezTo>
                    <a:pt x="119" y="109"/>
                    <a:pt x="119" y="109"/>
                    <a:pt x="119" y="109"/>
                  </a:cubicBezTo>
                  <a:cubicBezTo>
                    <a:pt x="299" y="289"/>
                    <a:pt x="299" y="289"/>
                    <a:pt x="299" y="289"/>
                  </a:cubicBezTo>
                  <a:lnTo>
                    <a:pt x="299" y="174"/>
                  </a:lnTo>
                  <a:close/>
                </a:path>
              </a:pathLst>
            </a:custGeom>
            <a:solidFill>
              <a:schemeClr val="bg1"/>
            </a:solidFill>
            <a:ln>
              <a:noFill/>
            </a:ln>
          </p:spPr>
          <p:txBody>
            <a:bodyPr vert="horz" wrap="square" lIns="68571" tIns="34286" rIns="68571" bIns="34286" numCol="1" anchor="t" anchorCtr="0" compatLnSpc="1"/>
            <a:lstStyle/>
            <a:p>
              <a:endParaRPr lang="en-US"/>
            </a:p>
          </p:txBody>
        </p:sp>
        <p:sp>
          <p:nvSpPr>
            <p:cNvPr id="15" name="Freeform 88"/>
            <p:cNvSpPr>
              <a:spLocks noEditPoints="1"/>
            </p:cNvSpPr>
            <p:nvPr/>
          </p:nvSpPr>
          <p:spPr bwMode="auto">
            <a:xfrm>
              <a:off x="1399742" y="4654329"/>
              <a:ext cx="360000" cy="360000"/>
            </a:xfrm>
            <a:custGeom>
              <a:avLst/>
              <a:gdLst>
                <a:gd name="T0" fmla="*/ 207 w 414"/>
                <a:gd name="T1" fmla="*/ 0 h 414"/>
                <a:gd name="T2" fmla="*/ 0 w 414"/>
                <a:gd name="T3" fmla="*/ 207 h 414"/>
                <a:gd name="T4" fmla="*/ 207 w 414"/>
                <a:gd name="T5" fmla="*/ 414 h 414"/>
                <a:gd name="T6" fmla="*/ 414 w 414"/>
                <a:gd name="T7" fmla="*/ 207 h 414"/>
                <a:gd name="T8" fmla="*/ 207 w 414"/>
                <a:gd name="T9" fmla="*/ 0 h 414"/>
                <a:gd name="T10" fmla="*/ 207 w 414"/>
                <a:gd name="T11" fmla="*/ 399 h 414"/>
                <a:gd name="T12" fmla="*/ 15 w 414"/>
                <a:gd name="T13" fmla="*/ 207 h 414"/>
                <a:gd name="T14" fmla="*/ 207 w 414"/>
                <a:gd name="T15" fmla="*/ 15 h 414"/>
                <a:gd name="T16" fmla="*/ 399 w 414"/>
                <a:gd name="T17" fmla="*/ 207 h 414"/>
                <a:gd name="T18" fmla="*/ 207 w 414"/>
                <a:gd name="T19" fmla="*/ 399 h 414"/>
                <a:gd name="T20" fmla="*/ 299 w 414"/>
                <a:gd name="T21" fmla="*/ 174 h 414"/>
                <a:gd name="T22" fmla="*/ 314 w 414"/>
                <a:gd name="T23" fmla="*/ 174 h 414"/>
                <a:gd name="T24" fmla="*/ 314 w 414"/>
                <a:gd name="T25" fmla="*/ 307 h 414"/>
                <a:gd name="T26" fmla="*/ 306 w 414"/>
                <a:gd name="T27" fmla="*/ 314 h 414"/>
                <a:gd name="T28" fmla="*/ 173 w 414"/>
                <a:gd name="T29" fmla="*/ 314 h 414"/>
                <a:gd name="T30" fmla="*/ 173 w 414"/>
                <a:gd name="T31" fmla="*/ 300 h 414"/>
                <a:gd name="T32" fmla="*/ 288 w 414"/>
                <a:gd name="T33" fmla="*/ 300 h 414"/>
                <a:gd name="T34" fmla="*/ 108 w 414"/>
                <a:gd name="T35" fmla="*/ 120 h 414"/>
                <a:gd name="T36" fmla="*/ 119 w 414"/>
                <a:gd name="T37" fmla="*/ 109 h 414"/>
                <a:gd name="T38" fmla="*/ 299 w 414"/>
                <a:gd name="T39" fmla="*/ 289 h 414"/>
                <a:gd name="T40" fmla="*/ 299 w 414"/>
                <a:gd name="T41" fmla="*/ 174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4" h="414">
                  <a:moveTo>
                    <a:pt x="207" y="0"/>
                  </a:moveTo>
                  <a:cubicBezTo>
                    <a:pt x="93" y="0"/>
                    <a:pt x="0" y="93"/>
                    <a:pt x="0" y="207"/>
                  </a:cubicBezTo>
                  <a:cubicBezTo>
                    <a:pt x="0" y="321"/>
                    <a:pt x="93" y="414"/>
                    <a:pt x="207" y="414"/>
                  </a:cubicBezTo>
                  <a:cubicBezTo>
                    <a:pt x="321" y="414"/>
                    <a:pt x="414" y="321"/>
                    <a:pt x="414" y="207"/>
                  </a:cubicBezTo>
                  <a:cubicBezTo>
                    <a:pt x="414" y="93"/>
                    <a:pt x="321" y="0"/>
                    <a:pt x="207" y="0"/>
                  </a:cubicBezTo>
                  <a:close/>
                  <a:moveTo>
                    <a:pt x="207" y="399"/>
                  </a:moveTo>
                  <a:cubicBezTo>
                    <a:pt x="101" y="399"/>
                    <a:pt x="15" y="313"/>
                    <a:pt x="15" y="207"/>
                  </a:cubicBezTo>
                  <a:cubicBezTo>
                    <a:pt x="15" y="101"/>
                    <a:pt x="101" y="15"/>
                    <a:pt x="207" y="15"/>
                  </a:cubicBezTo>
                  <a:cubicBezTo>
                    <a:pt x="313" y="15"/>
                    <a:pt x="399" y="101"/>
                    <a:pt x="399" y="207"/>
                  </a:cubicBezTo>
                  <a:cubicBezTo>
                    <a:pt x="399" y="313"/>
                    <a:pt x="313" y="399"/>
                    <a:pt x="207" y="399"/>
                  </a:cubicBezTo>
                  <a:close/>
                  <a:moveTo>
                    <a:pt x="299" y="174"/>
                  </a:moveTo>
                  <a:cubicBezTo>
                    <a:pt x="314" y="174"/>
                    <a:pt x="314" y="174"/>
                    <a:pt x="314" y="174"/>
                  </a:cubicBezTo>
                  <a:cubicBezTo>
                    <a:pt x="314" y="307"/>
                    <a:pt x="314" y="307"/>
                    <a:pt x="314" y="307"/>
                  </a:cubicBezTo>
                  <a:cubicBezTo>
                    <a:pt x="314" y="311"/>
                    <a:pt x="310" y="314"/>
                    <a:pt x="306" y="314"/>
                  </a:cubicBezTo>
                  <a:cubicBezTo>
                    <a:pt x="173" y="314"/>
                    <a:pt x="173" y="314"/>
                    <a:pt x="173" y="314"/>
                  </a:cubicBezTo>
                  <a:cubicBezTo>
                    <a:pt x="173" y="300"/>
                    <a:pt x="173" y="300"/>
                    <a:pt x="173" y="300"/>
                  </a:cubicBezTo>
                  <a:cubicBezTo>
                    <a:pt x="288" y="300"/>
                    <a:pt x="288" y="300"/>
                    <a:pt x="288" y="300"/>
                  </a:cubicBezTo>
                  <a:cubicBezTo>
                    <a:pt x="108" y="120"/>
                    <a:pt x="108" y="120"/>
                    <a:pt x="108" y="120"/>
                  </a:cubicBezTo>
                  <a:cubicBezTo>
                    <a:pt x="119" y="109"/>
                    <a:pt x="119" y="109"/>
                    <a:pt x="119" y="109"/>
                  </a:cubicBezTo>
                  <a:cubicBezTo>
                    <a:pt x="299" y="289"/>
                    <a:pt x="299" y="289"/>
                    <a:pt x="299" y="289"/>
                  </a:cubicBezTo>
                  <a:lnTo>
                    <a:pt x="299" y="174"/>
                  </a:lnTo>
                  <a:close/>
                </a:path>
              </a:pathLst>
            </a:custGeom>
            <a:solidFill>
              <a:schemeClr val="bg1"/>
            </a:solidFill>
            <a:ln>
              <a:noFill/>
            </a:ln>
          </p:spPr>
          <p:txBody>
            <a:bodyPr vert="horz" wrap="square" lIns="68571" tIns="34286" rIns="68571" bIns="34286" numCol="1" anchor="t" anchorCtr="0" compatLnSpc="1"/>
            <a:lstStyle/>
            <a:p>
              <a:endParaRPr lang="en-US"/>
            </a:p>
          </p:txBody>
        </p:sp>
        <p:sp>
          <p:nvSpPr>
            <p:cNvPr id="17" name="Freeform 88"/>
            <p:cNvSpPr>
              <a:spLocks noEditPoints="1"/>
            </p:cNvSpPr>
            <p:nvPr/>
          </p:nvSpPr>
          <p:spPr bwMode="auto">
            <a:xfrm>
              <a:off x="3311322" y="4150273"/>
              <a:ext cx="360000" cy="360000"/>
            </a:xfrm>
            <a:custGeom>
              <a:avLst/>
              <a:gdLst>
                <a:gd name="T0" fmla="*/ 207 w 414"/>
                <a:gd name="T1" fmla="*/ 0 h 414"/>
                <a:gd name="T2" fmla="*/ 0 w 414"/>
                <a:gd name="T3" fmla="*/ 207 h 414"/>
                <a:gd name="T4" fmla="*/ 207 w 414"/>
                <a:gd name="T5" fmla="*/ 414 h 414"/>
                <a:gd name="T6" fmla="*/ 414 w 414"/>
                <a:gd name="T7" fmla="*/ 207 h 414"/>
                <a:gd name="T8" fmla="*/ 207 w 414"/>
                <a:gd name="T9" fmla="*/ 0 h 414"/>
                <a:gd name="T10" fmla="*/ 207 w 414"/>
                <a:gd name="T11" fmla="*/ 399 h 414"/>
                <a:gd name="T12" fmla="*/ 15 w 414"/>
                <a:gd name="T13" fmla="*/ 207 h 414"/>
                <a:gd name="T14" fmla="*/ 207 w 414"/>
                <a:gd name="T15" fmla="*/ 15 h 414"/>
                <a:gd name="T16" fmla="*/ 399 w 414"/>
                <a:gd name="T17" fmla="*/ 207 h 414"/>
                <a:gd name="T18" fmla="*/ 207 w 414"/>
                <a:gd name="T19" fmla="*/ 399 h 414"/>
                <a:gd name="T20" fmla="*/ 299 w 414"/>
                <a:gd name="T21" fmla="*/ 174 h 414"/>
                <a:gd name="T22" fmla="*/ 314 w 414"/>
                <a:gd name="T23" fmla="*/ 174 h 414"/>
                <a:gd name="T24" fmla="*/ 314 w 414"/>
                <a:gd name="T25" fmla="*/ 307 h 414"/>
                <a:gd name="T26" fmla="*/ 306 w 414"/>
                <a:gd name="T27" fmla="*/ 314 h 414"/>
                <a:gd name="T28" fmla="*/ 173 w 414"/>
                <a:gd name="T29" fmla="*/ 314 h 414"/>
                <a:gd name="T30" fmla="*/ 173 w 414"/>
                <a:gd name="T31" fmla="*/ 300 h 414"/>
                <a:gd name="T32" fmla="*/ 288 w 414"/>
                <a:gd name="T33" fmla="*/ 300 h 414"/>
                <a:gd name="T34" fmla="*/ 108 w 414"/>
                <a:gd name="T35" fmla="*/ 120 h 414"/>
                <a:gd name="T36" fmla="*/ 119 w 414"/>
                <a:gd name="T37" fmla="*/ 109 h 414"/>
                <a:gd name="T38" fmla="*/ 299 w 414"/>
                <a:gd name="T39" fmla="*/ 289 h 414"/>
                <a:gd name="T40" fmla="*/ 299 w 414"/>
                <a:gd name="T41" fmla="*/ 174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4" h="414">
                  <a:moveTo>
                    <a:pt x="207" y="0"/>
                  </a:moveTo>
                  <a:cubicBezTo>
                    <a:pt x="93" y="0"/>
                    <a:pt x="0" y="93"/>
                    <a:pt x="0" y="207"/>
                  </a:cubicBezTo>
                  <a:cubicBezTo>
                    <a:pt x="0" y="321"/>
                    <a:pt x="93" y="414"/>
                    <a:pt x="207" y="414"/>
                  </a:cubicBezTo>
                  <a:cubicBezTo>
                    <a:pt x="321" y="414"/>
                    <a:pt x="414" y="321"/>
                    <a:pt x="414" y="207"/>
                  </a:cubicBezTo>
                  <a:cubicBezTo>
                    <a:pt x="414" y="93"/>
                    <a:pt x="321" y="0"/>
                    <a:pt x="207" y="0"/>
                  </a:cubicBezTo>
                  <a:close/>
                  <a:moveTo>
                    <a:pt x="207" y="399"/>
                  </a:moveTo>
                  <a:cubicBezTo>
                    <a:pt x="101" y="399"/>
                    <a:pt x="15" y="313"/>
                    <a:pt x="15" y="207"/>
                  </a:cubicBezTo>
                  <a:cubicBezTo>
                    <a:pt x="15" y="101"/>
                    <a:pt x="101" y="15"/>
                    <a:pt x="207" y="15"/>
                  </a:cubicBezTo>
                  <a:cubicBezTo>
                    <a:pt x="313" y="15"/>
                    <a:pt x="399" y="101"/>
                    <a:pt x="399" y="207"/>
                  </a:cubicBezTo>
                  <a:cubicBezTo>
                    <a:pt x="399" y="313"/>
                    <a:pt x="313" y="399"/>
                    <a:pt x="207" y="399"/>
                  </a:cubicBezTo>
                  <a:close/>
                  <a:moveTo>
                    <a:pt x="299" y="174"/>
                  </a:moveTo>
                  <a:cubicBezTo>
                    <a:pt x="314" y="174"/>
                    <a:pt x="314" y="174"/>
                    <a:pt x="314" y="174"/>
                  </a:cubicBezTo>
                  <a:cubicBezTo>
                    <a:pt x="314" y="307"/>
                    <a:pt x="314" y="307"/>
                    <a:pt x="314" y="307"/>
                  </a:cubicBezTo>
                  <a:cubicBezTo>
                    <a:pt x="314" y="311"/>
                    <a:pt x="310" y="314"/>
                    <a:pt x="306" y="314"/>
                  </a:cubicBezTo>
                  <a:cubicBezTo>
                    <a:pt x="173" y="314"/>
                    <a:pt x="173" y="314"/>
                    <a:pt x="173" y="314"/>
                  </a:cubicBezTo>
                  <a:cubicBezTo>
                    <a:pt x="173" y="300"/>
                    <a:pt x="173" y="300"/>
                    <a:pt x="173" y="300"/>
                  </a:cubicBezTo>
                  <a:cubicBezTo>
                    <a:pt x="288" y="300"/>
                    <a:pt x="288" y="300"/>
                    <a:pt x="288" y="300"/>
                  </a:cubicBezTo>
                  <a:cubicBezTo>
                    <a:pt x="108" y="120"/>
                    <a:pt x="108" y="120"/>
                    <a:pt x="108" y="120"/>
                  </a:cubicBezTo>
                  <a:cubicBezTo>
                    <a:pt x="119" y="109"/>
                    <a:pt x="119" y="109"/>
                    <a:pt x="119" y="109"/>
                  </a:cubicBezTo>
                  <a:cubicBezTo>
                    <a:pt x="299" y="289"/>
                    <a:pt x="299" y="289"/>
                    <a:pt x="299" y="289"/>
                  </a:cubicBezTo>
                  <a:lnTo>
                    <a:pt x="299" y="174"/>
                  </a:lnTo>
                  <a:close/>
                </a:path>
              </a:pathLst>
            </a:custGeom>
            <a:solidFill>
              <a:schemeClr val="bg1"/>
            </a:solidFill>
            <a:ln>
              <a:noFill/>
            </a:ln>
          </p:spPr>
          <p:txBody>
            <a:bodyPr vert="horz" wrap="square" lIns="68571" tIns="34286" rIns="68571" bIns="34286" numCol="1" anchor="t" anchorCtr="0" compatLnSpc="1"/>
            <a:lstStyle/>
            <a:p>
              <a:endParaRPr lang="en-US"/>
            </a:p>
          </p:txBody>
        </p:sp>
        <p:sp>
          <p:nvSpPr>
            <p:cNvPr id="18" name="Freeform 88"/>
            <p:cNvSpPr>
              <a:spLocks noEditPoints="1"/>
            </p:cNvSpPr>
            <p:nvPr/>
          </p:nvSpPr>
          <p:spPr bwMode="auto">
            <a:xfrm>
              <a:off x="3311322" y="4654329"/>
              <a:ext cx="360000" cy="360000"/>
            </a:xfrm>
            <a:custGeom>
              <a:avLst/>
              <a:gdLst>
                <a:gd name="T0" fmla="*/ 207 w 414"/>
                <a:gd name="T1" fmla="*/ 0 h 414"/>
                <a:gd name="T2" fmla="*/ 0 w 414"/>
                <a:gd name="T3" fmla="*/ 207 h 414"/>
                <a:gd name="T4" fmla="*/ 207 w 414"/>
                <a:gd name="T5" fmla="*/ 414 h 414"/>
                <a:gd name="T6" fmla="*/ 414 w 414"/>
                <a:gd name="T7" fmla="*/ 207 h 414"/>
                <a:gd name="T8" fmla="*/ 207 w 414"/>
                <a:gd name="T9" fmla="*/ 0 h 414"/>
                <a:gd name="T10" fmla="*/ 207 w 414"/>
                <a:gd name="T11" fmla="*/ 399 h 414"/>
                <a:gd name="T12" fmla="*/ 15 w 414"/>
                <a:gd name="T13" fmla="*/ 207 h 414"/>
                <a:gd name="T14" fmla="*/ 207 w 414"/>
                <a:gd name="T15" fmla="*/ 15 h 414"/>
                <a:gd name="T16" fmla="*/ 399 w 414"/>
                <a:gd name="T17" fmla="*/ 207 h 414"/>
                <a:gd name="T18" fmla="*/ 207 w 414"/>
                <a:gd name="T19" fmla="*/ 399 h 414"/>
                <a:gd name="T20" fmla="*/ 299 w 414"/>
                <a:gd name="T21" fmla="*/ 174 h 414"/>
                <a:gd name="T22" fmla="*/ 314 w 414"/>
                <a:gd name="T23" fmla="*/ 174 h 414"/>
                <a:gd name="T24" fmla="*/ 314 w 414"/>
                <a:gd name="T25" fmla="*/ 307 h 414"/>
                <a:gd name="T26" fmla="*/ 306 w 414"/>
                <a:gd name="T27" fmla="*/ 314 h 414"/>
                <a:gd name="T28" fmla="*/ 173 w 414"/>
                <a:gd name="T29" fmla="*/ 314 h 414"/>
                <a:gd name="T30" fmla="*/ 173 w 414"/>
                <a:gd name="T31" fmla="*/ 300 h 414"/>
                <a:gd name="T32" fmla="*/ 288 w 414"/>
                <a:gd name="T33" fmla="*/ 300 h 414"/>
                <a:gd name="T34" fmla="*/ 108 w 414"/>
                <a:gd name="T35" fmla="*/ 120 h 414"/>
                <a:gd name="T36" fmla="*/ 119 w 414"/>
                <a:gd name="T37" fmla="*/ 109 h 414"/>
                <a:gd name="T38" fmla="*/ 299 w 414"/>
                <a:gd name="T39" fmla="*/ 289 h 414"/>
                <a:gd name="T40" fmla="*/ 299 w 414"/>
                <a:gd name="T41" fmla="*/ 174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4" h="414">
                  <a:moveTo>
                    <a:pt x="207" y="0"/>
                  </a:moveTo>
                  <a:cubicBezTo>
                    <a:pt x="93" y="0"/>
                    <a:pt x="0" y="93"/>
                    <a:pt x="0" y="207"/>
                  </a:cubicBezTo>
                  <a:cubicBezTo>
                    <a:pt x="0" y="321"/>
                    <a:pt x="93" y="414"/>
                    <a:pt x="207" y="414"/>
                  </a:cubicBezTo>
                  <a:cubicBezTo>
                    <a:pt x="321" y="414"/>
                    <a:pt x="414" y="321"/>
                    <a:pt x="414" y="207"/>
                  </a:cubicBezTo>
                  <a:cubicBezTo>
                    <a:pt x="414" y="93"/>
                    <a:pt x="321" y="0"/>
                    <a:pt x="207" y="0"/>
                  </a:cubicBezTo>
                  <a:close/>
                  <a:moveTo>
                    <a:pt x="207" y="399"/>
                  </a:moveTo>
                  <a:cubicBezTo>
                    <a:pt x="101" y="399"/>
                    <a:pt x="15" y="313"/>
                    <a:pt x="15" y="207"/>
                  </a:cubicBezTo>
                  <a:cubicBezTo>
                    <a:pt x="15" y="101"/>
                    <a:pt x="101" y="15"/>
                    <a:pt x="207" y="15"/>
                  </a:cubicBezTo>
                  <a:cubicBezTo>
                    <a:pt x="313" y="15"/>
                    <a:pt x="399" y="101"/>
                    <a:pt x="399" y="207"/>
                  </a:cubicBezTo>
                  <a:cubicBezTo>
                    <a:pt x="399" y="313"/>
                    <a:pt x="313" y="399"/>
                    <a:pt x="207" y="399"/>
                  </a:cubicBezTo>
                  <a:close/>
                  <a:moveTo>
                    <a:pt x="299" y="174"/>
                  </a:moveTo>
                  <a:cubicBezTo>
                    <a:pt x="314" y="174"/>
                    <a:pt x="314" y="174"/>
                    <a:pt x="314" y="174"/>
                  </a:cubicBezTo>
                  <a:cubicBezTo>
                    <a:pt x="314" y="307"/>
                    <a:pt x="314" y="307"/>
                    <a:pt x="314" y="307"/>
                  </a:cubicBezTo>
                  <a:cubicBezTo>
                    <a:pt x="314" y="311"/>
                    <a:pt x="310" y="314"/>
                    <a:pt x="306" y="314"/>
                  </a:cubicBezTo>
                  <a:cubicBezTo>
                    <a:pt x="173" y="314"/>
                    <a:pt x="173" y="314"/>
                    <a:pt x="173" y="314"/>
                  </a:cubicBezTo>
                  <a:cubicBezTo>
                    <a:pt x="173" y="300"/>
                    <a:pt x="173" y="300"/>
                    <a:pt x="173" y="300"/>
                  </a:cubicBezTo>
                  <a:cubicBezTo>
                    <a:pt x="288" y="300"/>
                    <a:pt x="288" y="300"/>
                    <a:pt x="288" y="300"/>
                  </a:cubicBezTo>
                  <a:cubicBezTo>
                    <a:pt x="108" y="120"/>
                    <a:pt x="108" y="120"/>
                    <a:pt x="108" y="120"/>
                  </a:cubicBezTo>
                  <a:cubicBezTo>
                    <a:pt x="119" y="109"/>
                    <a:pt x="119" y="109"/>
                    <a:pt x="119" y="109"/>
                  </a:cubicBezTo>
                  <a:cubicBezTo>
                    <a:pt x="299" y="289"/>
                    <a:pt x="299" y="289"/>
                    <a:pt x="299" y="289"/>
                  </a:cubicBezTo>
                  <a:lnTo>
                    <a:pt x="299" y="174"/>
                  </a:lnTo>
                  <a:close/>
                </a:path>
              </a:pathLst>
            </a:custGeom>
            <a:solidFill>
              <a:schemeClr val="bg1"/>
            </a:solidFill>
            <a:ln>
              <a:noFill/>
            </a:ln>
          </p:spPr>
          <p:txBody>
            <a:bodyPr vert="horz" wrap="square" lIns="68571" tIns="34286" rIns="68571" bIns="34286" numCol="1" anchor="t" anchorCtr="0" compatLnSpc="1"/>
            <a:lstStyle/>
            <a:p>
              <a:endParaRPr lang="en-US"/>
            </a:p>
          </p:txBody>
        </p:sp>
        <p:sp>
          <p:nvSpPr>
            <p:cNvPr id="3" name="矩形 2"/>
            <p:cNvSpPr/>
            <p:nvPr/>
          </p:nvSpPr>
          <p:spPr>
            <a:xfrm>
              <a:off x="1757557" y="4136112"/>
              <a:ext cx="1415772" cy="338554"/>
            </a:xfrm>
            <a:prstGeom prst="rect">
              <a:avLst/>
            </a:prstGeom>
          </p:spPr>
          <p:txBody>
            <a:bodyPr wrap="none">
              <a:spAutoFit/>
            </a:bodyPr>
            <a:lstStyle/>
            <a:p>
              <a:r>
                <a:rPr lang="zh-CN" altLang="en-US" sz="1600">
                  <a:solidFill>
                    <a:schemeClr val="bg1"/>
                  </a:solidFill>
                  <a:latin typeface="华文细黑" panose="02010600040101010101" pitchFamily="2" charset="-122"/>
                  <a:ea typeface="华文细黑" panose="02010600040101010101" pitchFamily="2" charset="-122"/>
                  <a:cs typeface="华文黑体" pitchFamily="2" charset="-122"/>
                </a:rPr>
                <a:t>单击添加文本</a:t>
              </a:r>
              <a:endParaRPr lang="zh-CN" altLang="en-US" sz="1600">
                <a:solidFill>
                  <a:schemeClr val="bg1"/>
                </a:solidFill>
                <a:latin typeface="华文细黑" panose="02010600040101010101" pitchFamily="2" charset="-122"/>
                <a:ea typeface="华文细黑" panose="02010600040101010101" pitchFamily="2" charset="-122"/>
                <a:cs typeface="华文黑体" pitchFamily="2" charset="-122"/>
              </a:endParaRPr>
            </a:p>
          </p:txBody>
        </p:sp>
        <p:sp>
          <p:nvSpPr>
            <p:cNvPr id="19" name="矩形 18"/>
            <p:cNvSpPr/>
            <p:nvPr/>
          </p:nvSpPr>
          <p:spPr>
            <a:xfrm>
              <a:off x="3671322" y="4136112"/>
              <a:ext cx="1415772" cy="338554"/>
            </a:xfrm>
            <a:prstGeom prst="rect">
              <a:avLst/>
            </a:prstGeom>
          </p:spPr>
          <p:txBody>
            <a:bodyPr wrap="none">
              <a:spAutoFit/>
            </a:bodyPr>
            <a:lstStyle/>
            <a:p>
              <a:r>
                <a:rPr lang="zh-CN" altLang="en-US" sz="1600">
                  <a:solidFill>
                    <a:schemeClr val="bg1"/>
                  </a:solidFill>
                  <a:latin typeface="华文细黑" panose="02010600040101010101" pitchFamily="2" charset="-122"/>
                  <a:ea typeface="华文细黑" panose="02010600040101010101" pitchFamily="2" charset="-122"/>
                  <a:cs typeface="华文黑体" pitchFamily="2" charset="-122"/>
                </a:rPr>
                <a:t>单击添加文本</a:t>
              </a:r>
              <a:endParaRPr lang="zh-CN" altLang="en-US" sz="1600">
                <a:solidFill>
                  <a:schemeClr val="bg1"/>
                </a:solidFill>
                <a:latin typeface="华文细黑" panose="02010600040101010101" pitchFamily="2" charset="-122"/>
                <a:ea typeface="华文细黑" panose="02010600040101010101" pitchFamily="2" charset="-122"/>
                <a:cs typeface="华文黑体" pitchFamily="2" charset="-122"/>
              </a:endParaRPr>
            </a:p>
          </p:txBody>
        </p:sp>
        <p:sp>
          <p:nvSpPr>
            <p:cNvPr id="20" name="矩形 19"/>
            <p:cNvSpPr/>
            <p:nvPr/>
          </p:nvSpPr>
          <p:spPr>
            <a:xfrm>
              <a:off x="1761202" y="4676147"/>
              <a:ext cx="1415772" cy="338554"/>
            </a:xfrm>
            <a:prstGeom prst="rect">
              <a:avLst/>
            </a:prstGeom>
          </p:spPr>
          <p:txBody>
            <a:bodyPr wrap="none">
              <a:spAutoFit/>
            </a:bodyPr>
            <a:lstStyle/>
            <a:p>
              <a:r>
                <a:rPr lang="zh-CN" altLang="en-US" sz="1600">
                  <a:solidFill>
                    <a:schemeClr val="bg1"/>
                  </a:solidFill>
                  <a:latin typeface="华文细黑" panose="02010600040101010101" pitchFamily="2" charset="-122"/>
                  <a:ea typeface="华文细黑" panose="02010600040101010101" pitchFamily="2" charset="-122"/>
                  <a:cs typeface="华文黑体" pitchFamily="2" charset="-122"/>
                </a:rPr>
                <a:t>单击添加文本</a:t>
              </a:r>
              <a:endParaRPr lang="zh-CN" altLang="en-US" sz="1600">
                <a:solidFill>
                  <a:schemeClr val="bg1"/>
                </a:solidFill>
                <a:latin typeface="华文细黑" panose="02010600040101010101" pitchFamily="2" charset="-122"/>
                <a:ea typeface="华文细黑" panose="02010600040101010101" pitchFamily="2" charset="-122"/>
                <a:cs typeface="华文黑体" pitchFamily="2" charset="-122"/>
              </a:endParaRPr>
            </a:p>
          </p:txBody>
        </p:sp>
        <p:sp>
          <p:nvSpPr>
            <p:cNvPr id="21" name="矩形 20"/>
            <p:cNvSpPr/>
            <p:nvPr/>
          </p:nvSpPr>
          <p:spPr>
            <a:xfrm>
              <a:off x="3671322" y="4676147"/>
              <a:ext cx="1415772" cy="338554"/>
            </a:xfrm>
            <a:prstGeom prst="rect">
              <a:avLst/>
            </a:prstGeom>
          </p:spPr>
          <p:txBody>
            <a:bodyPr wrap="none">
              <a:spAutoFit/>
            </a:bodyPr>
            <a:lstStyle/>
            <a:p>
              <a:r>
                <a:rPr lang="zh-CN" altLang="en-US" sz="1600">
                  <a:solidFill>
                    <a:schemeClr val="bg1"/>
                  </a:solidFill>
                  <a:latin typeface="华文细黑" panose="02010600040101010101" pitchFamily="2" charset="-122"/>
                  <a:ea typeface="华文细黑" panose="02010600040101010101" pitchFamily="2" charset="-122"/>
                  <a:cs typeface="华文黑体" pitchFamily="2" charset="-122"/>
                </a:rPr>
                <a:t>单击添加文本</a:t>
              </a:r>
              <a:endParaRPr lang="zh-CN" altLang="en-US" sz="1600">
                <a:solidFill>
                  <a:schemeClr val="bg1"/>
                </a:solidFill>
                <a:latin typeface="华文细黑" panose="02010600040101010101" pitchFamily="2" charset="-122"/>
                <a:ea typeface="华文细黑" panose="02010600040101010101" pitchFamily="2" charset="-122"/>
                <a:cs typeface="华文黑体" pitchFamily="2" charset="-122"/>
              </a:endParaRPr>
            </a:p>
          </p:txBody>
        </p:sp>
      </p:grpSp>
      <p:sp>
        <p:nvSpPr>
          <p:cNvPr id="23" name="圆角矩形 22"/>
          <p:cNvSpPr/>
          <p:nvPr/>
        </p:nvSpPr>
        <p:spPr>
          <a:xfrm>
            <a:off x="8894702" y="260648"/>
            <a:ext cx="2673112" cy="600163"/>
          </a:xfrm>
          <a:prstGeom prst="roundRect">
            <a:avLst/>
          </a:prstGeom>
          <a:solidFill>
            <a:srgbClr val="FFFFFF"/>
          </a:solidFill>
          <a:ln>
            <a:noFill/>
          </a:ln>
          <a:effectLst>
            <a:reflection blurRad="6350" stA="25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4" name="TextBox 23"/>
          <p:cNvSpPr txBox="1"/>
          <p:nvPr/>
        </p:nvSpPr>
        <p:spPr>
          <a:xfrm>
            <a:off x="9061707" y="260648"/>
            <a:ext cx="2339102" cy="523220"/>
          </a:xfrm>
          <a:prstGeom prst="rect">
            <a:avLst/>
          </a:prstGeom>
          <a:noFill/>
        </p:spPr>
        <p:txBody>
          <a:bodyPr wrap="none" rtlCol="0" anchor="ctr">
            <a:spAutoFit/>
          </a:bodyPr>
          <a:lstStyle>
            <a:defPPr>
              <a:defRPr lang="zh-CN"/>
            </a:defPPr>
            <a:lvl1pPr algn="ctr">
              <a:defRPr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anose="02010600040101010101" pitchFamily="2" charset="-122"/>
                <a:cs typeface="华文黑体" pitchFamily="2" charset="-122"/>
              </a:defRPr>
            </a:lvl1pPr>
          </a:lstStyle>
          <a:p>
            <a:r>
              <a:rPr lang="zh-CN" altLang="en-US" sz="2800" dirty="0"/>
              <a:t>点击添加标题</a:t>
            </a:r>
            <a:endParaRPr lang="zh-CN" altLang="en-US" sz="2800" dirty="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fade">
                                      <p:cBhvr>
                                        <p:cTn id="7" dur="300"/>
                                        <p:tgtEl>
                                          <p:spTgt spid="2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4"/>
                                        </p:tgtEl>
                                        <p:attrNameLst>
                                          <p:attrName>style.visibility</p:attrName>
                                        </p:attrNameLst>
                                      </p:cBhvr>
                                      <p:to>
                                        <p:strVal val="visible"/>
                                      </p:to>
                                    </p:set>
                                    <p:animEffect transition="in" filter="fade">
                                      <p:cBhvr>
                                        <p:cTn id="10" dur="300"/>
                                        <p:tgtEl>
                                          <p:spTgt spid="24"/>
                                        </p:tgtEl>
                                      </p:cBhvr>
                                    </p:animEffect>
                                  </p:childTnLst>
                                </p:cTn>
                              </p:par>
                            </p:childTnLst>
                          </p:cTn>
                        </p:par>
                        <p:par>
                          <p:cTn id="11" fill="hold">
                            <p:stCondLst>
                              <p:cond delay="500"/>
                            </p:stCondLst>
                            <p:childTnLst>
                              <p:par>
                                <p:cTn id="12" presetID="2" presetClass="entr" presetSubtype="8" fill="hold" grpId="0" nodeType="afterEffect">
                                  <p:stCondLst>
                                    <p:cond delay="0"/>
                                  </p:stCondLst>
                                  <p:childTnLst>
                                    <p:set>
                                      <p:cBhvr>
                                        <p:cTn id="13" dur="1" fill="hold">
                                          <p:stCondLst>
                                            <p:cond delay="0"/>
                                          </p:stCondLst>
                                        </p:cTn>
                                        <p:tgtEl>
                                          <p:spTgt spid="9"/>
                                        </p:tgtEl>
                                        <p:attrNameLst>
                                          <p:attrName>style.visibility</p:attrName>
                                        </p:attrNameLst>
                                      </p:cBhvr>
                                      <p:to>
                                        <p:strVal val="visible"/>
                                      </p:to>
                                    </p:set>
                                    <p:anim calcmode="lin" valueType="num">
                                      <p:cBhvr additive="base">
                                        <p:cTn id="14" dur="500" fill="hold"/>
                                        <p:tgtEl>
                                          <p:spTgt spid="9"/>
                                        </p:tgtEl>
                                        <p:attrNameLst>
                                          <p:attrName>ppt_x</p:attrName>
                                        </p:attrNameLst>
                                      </p:cBhvr>
                                      <p:tavLst>
                                        <p:tav tm="0">
                                          <p:val>
                                            <p:strVal val="0-#ppt_w/2"/>
                                          </p:val>
                                        </p:tav>
                                        <p:tav tm="100000">
                                          <p:val>
                                            <p:strVal val="#ppt_x"/>
                                          </p:val>
                                        </p:tav>
                                      </p:tavLst>
                                    </p:anim>
                                    <p:anim calcmode="lin" valueType="num">
                                      <p:cBhvr additive="base">
                                        <p:cTn id="15" dur="500" fill="hold"/>
                                        <p:tgtEl>
                                          <p:spTgt spid="9"/>
                                        </p:tgtEl>
                                        <p:attrNameLst>
                                          <p:attrName>ppt_y</p:attrName>
                                        </p:attrNameLst>
                                      </p:cBhvr>
                                      <p:tavLst>
                                        <p:tav tm="0">
                                          <p:val>
                                            <p:strVal val="#ppt_y"/>
                                          </p:val>
                                        </p:tav>
                                        <p:tav tm="100000">
                                          <p:val>
                                            <p:strVal val="#ppt_y"/>
                                          </p:val>
                                        </p:tav>
                                      </p:tavLst>
                                    </p:anim>
                                  </p:childTnLst>
                                </p:cTn>
                              </p:par>
                            </p:childTnLst>
                          </p:cTn>
                        </p:par>
                        <p:par>
                          <p:cTn id="16" fill="hold">
                            <p:stCondLst>
                              <p:cond delay="1000"/>
                            </p:stCondLst>
                            <p:childTnLst>
                              <p:par>
                                <p:cTn id="17" presetID="14" presetClass="entr" presetSubtype="10" fill="hold" nodeType="afterEffect">
                                  <p:stCondLst>
                                    <p:cond delay="0"/>
                                  </p:stCondLst>
                                  <p:childTnLst>
                                    <p:set>
                                      <p:cBhvr>
                                        <p:cTn id="18" dur="1" fill="hold">
                                          <p:stCondLst>
                                            <p:cond delay="0"/>
                                          </p:stCondLst>
                                        </p:cTn>
                                        <p:tgtEl>
                                          <p:spTgt spid="8"/>
                                        </p:tgtEl>
                                        <p:attrNameLst>
                                          <p:attrName>style.visibility</p:attrName>
                                        </p:attrNameLst>
                                      </p:cBhvr>
                                      <p:to>
                                        <p:strVal val="visible"/>
                                      </p:to>
                                    </p:set>
                                    <p:animEffect transition="in" filter="randombar(horizontal)">
                                      <p:cBhvr>
                                        <p:cTn id="19" dur="500"/>
                                        <p:tgtEl>
                                          <p:spTgt spid="8"/>
                                        </p:tgtEl>
                                      </p:cBhvr>
                                    </p:animEffect>
                                  </p:childTnLst>
                                </p:cTn>
                              </p:par>
                            </p:childTnLst>
                          </p:cTn>
                        </p:par>
                        <p:par>
                          <p:cTn id="20" fill="hold">
                            <p:stCondLst>
                              <p:cond delay="1500"/>
                            </p:stCondLst>
                            <p:childTnLst>
                              <p:par>
                                <p:cTn id="21" presetID="22" presetClass="entr" presetSubtype="1" fill="hold" nodeType="afterEffect">
                                  <p:stCondLst>
                                    <p:cond delay="0"/>
                                  </p:stCondLst>
                                  <p:childTnLst>
                                    <p:set>
                                      <p:cBhvr>
                                        <p:cTn id="22" dur="1" fill="hold">
                                          <p:stCondLst>
                                            <p:cond delay="0"/>
                                          </p:stCondLst>
                                        </p:cTn>
                                        <p:tgtEl>
                                          <p:spTgt spid="6"/>
                                        </p:tgtEl>
                                        <p:attrNameLst>
                                          <p:attrName>style.visibility</p:attrName>
                                        </p:attrNameLst>
                                      </p:cBhvr>
                                      <p:to>
                                        <p:strVal val="visible"/>
                                      </p:to>
                                    </p:set>
                                    <p:animEffect transition="in" filter="wipe(up)">
                                      <p:cBhvr>
                                        <p:cTn id="23"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23" grpId="0" animBg="1"/>
      <p:bldP spid="24"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矩形 33" hidden="1"/>
          <p:cNvSpPr/>
          <p:nvPr/>
        </p:nvSpPr>
        <p:spPr>
          <a:xfrm>
            <a:off x="2584817" y="2133288"/>
            <a:ext cx="936104" cy="6551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smtClean="0">
                <a:solidFill>
                  <a:srgbClr val="B0F533"/>
                </a:solidFill>
                <a:latin typeface="Gill Sans MT Pro Light" pitchFamily="34" charset="0"/>
              </a:rPr>
              <a:t>1</a:t>
            </a:r>
            <a:endParaRPr lang="zh-CN" altLang="en-US" sz="3600">
              <a:solidFill>
                <a:srgbClr val="B0F533"/>
              </a:solidFill>
              <a:latin typeface="Gill Sans MT Pro Light" pitchFamily="34" charset="0"/>
            </a:endParaRPr>
          </a:p>
        </p:txBody>
      </p:sp>
      <p:sp>
        <p:nvSpPr>
          <p:cNvPr id="35" name="矩形 34" hidden="1"/>
          <p:cNvSpPr/>
          <p:nvPr/>
        </p:nvSpPr>
        <p:spPr>
          <a:xfrm>
            <a:off x="3621305" y="2133288"/>
            <a:ext cx="5984291" cy="655104"/>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smtClean="0">
                <a:latin typeface="华文黑体" pitchFamily="2" charset="-122"/>
                <a:ea typeface="华文黑体" pitchFamily="2" charset="-122"/>
                <a:cs typeface="华文黑体" pitchFamily="2" charset="-122"/>
              </a:rPr>
              <a:t>                     点击添加标题</a:t>
            </a:r>
            <a:endParaRPr lang="zh-CN" altLang="en-US" sz="2800">
              <a:latin typeface="华文黑体" pitchFamily="2" charset="-122"/>
              <a:ea typeface="华文黑体" pitchFamily="2" charset="-122"/>
              <a:cs typeface="华文黑体" pitchFamily="2" charset="-122"/>
            </a:endParaRPr>
          </a:p>
        </p:txBody>
      </p:sp>
      <p:grpSp>
        <p:nvGrpSpPr>
          <p:cNvPr id="20" name="Group 66"/>
          <p:cNvGrpSpPr/>
          <p:nvPr/>
        </p:nvGrpSpPr>
        <p:grpSpPr bwMode="auto">
          <a:xfrm>
            <a:off x="550590" y="1196752"/>
            <a:ext cx="5937250" cy="4994275"/>
            <a:chOff x="720" y="839"/>
            <a:chExt cx="3740" cy="3146"/>
          </a:xfrm>
          <a:solidFill>
            <a:srgbClr val="FFFFFF">
              <a:alpha val="10196"/>
            </a:srgbClr>
          </a:solidFill>
        </p:grpSpPr>
        <p:sp>
          <p:nvSpPr>
            <p:cNvPr id="21" name="Freeform 67"/>
            <p:cNvSpPr/>
            <p:nvPr/>
          </p:nvSpPr>
          <p:spPr bwMode="gray">
            <a:xfrm>
              <a:off x="720" y="1296"/>
              <a:ext cx="1495" cy="1136"/>
            </a:xfrm>
            <a:custGeom>
              <a:avLst/>
              <a:gdLst>
                <a:gd name="T0" fmla="*/ 3 w 2990"/>
                <a:gd name="T1" fmla="*/ 357 h 2273"/>
                <a:gd name="T2" fmla="*/ 23 w 2990"/>
                <a:gd name="T3" fmla="*/ 365 h 2273"/>
                <a:gd name="T4" fmla="*/ 29 w 2990"/>
                <a:gd name="T5" fmla="*/ 390 h 2273"/>
                <a:gd name="T6" fmla="*/ 28 w 2990"/>
                <a:gd name="T7" fmla="*/ 419 h 2273"/>
                <a:gd name="T8" fmla="*/ 18 w 2990"/>
                <a:gd name="T9" fmla="*/ 419 h 2273"/>
                <a:gd name="T10" fmla="*/ 0 w 2990"/>
                <a:gd name="T11" fmla="*/ 429 h 2273"/>
                <a:gd name="T12" fmla="*/ 31 w 2990"/>
                <a:gd name="T13" fmla="*/ 438 h 2273"/>
                <a:gd name="T14" fmla="*/ 47 w 2990"/>
                <a:gd name="T15" fmla="*/ 456 h 2273"/>
                <a:gd name="T16" fmla="*/ 49 w 2990"/>
                <a:gd name="T17" fmla="*/ 490 h 2273"/>
                <a:gd name="T18" fmla="*/ 71 w 2990"/>
                <a:gd name="T19" fmla="*/ 507 h 2273"/>
                <a:gd name="T20" fmla="*/ 109 w 2990"/>
                <a:gd name="T21" fmla="*/ 521 h 2273"/>
                <a:gd name="T22" fmla="*/ 152 w 2990"/>
                <a:gd name="T23" fmla="*/ 516 h 2273"/>
                <a:gd name="T24" fmla="*/ 185 w 2990"/>
                <a:gd name="T25" fmla="*/ 542 h 2273"/>
                <a:gd name="T26" fmla="*/ 259 w 2990"/>
                <a:gd name="T27" fmla="*/ 549 h 2273"/>
                <a:gd name="T28" fmla="*/ 414 w 2990"/>
                <a:gd name="T29" fmla="*/ 546 h 2273"/>
                <a:gd name="T30" fmla="*/ 539 w 2990"/>
                <a:gd name="T31" fmla="*/ 549 h 2273"/>
                <a:gd name="T32" fmla="*/ 585 w 2990"/>
                <a:gd name="T33" fmla="*/ 458 h 2273"/>
                <a:gd name="T34" fmla="*/ 714 w 2990"/>
                <a:gd name="T35" fmla="*/ 339 h 2273"/>
                <a:gd name="T36" fmla="*/ 743 w 2990"/>
                <a:gd name="T37" fmla="*/ 295 h 2273"/>
                <a:gd name="T38" fmla="*/ 727 w 2990"/>
                <a:gd name="T39" fmla="*/ 263 h 2273"/>
                <a:gd name="T40" fmla="*/ 716 w 2990"/>
                <a:gd name="T41" fmla="*/ 233 h 2273"/>
                <a:gd name="T42" fmla="*/ 678 w 2990"/>
                <a:gd name="T43" fmla="*/ 213 h 2273"/>
                <a:gd name="T44" fmla="*/ 631 w 2990"/>
                <a:gd name="T45" fmla="*/ 198 h 2273"/>
                <a:gd name="T46" fmla="*/ 592 w 2990"/>
                <a:gd name="T47" fmla="*/ 185 h 2273"/>
                <a:gd name="T48" fmla="*/ 578 w 2990"/>
                <a:gd name="T49" fmla="*/ 170 h 2273"/>
                <a:gd name="T50" fmla="*/ 594 w 2990"/>
                <a:gd name="T51" fmla="*/ 148 h 2273"/>
                <a:gd name="T52" fmla="*/ 598 w 2990"/>
                <a:gd name="T53" fmla="*/ 114 h 2273"/>
                <a:gd name="T54" fmla="*/ 580 w 2990"/>
                <a:gd name="T55" fmla="*/ 75 h 2273"/>
                <a:gd name="T56" fmla="*/ 562 w 2990"/>
                <a:gd name="T57" fmla="*/ 63 h 2273"/>
                <a:gd name="T58" fmla="*/ 540 w 2990"/>
                <a:gd name="T59" fmla="*/ 55 h 2273"/>
                <a:gd name="T60" fmla="*/ 520 w 2990"/>
                <a:gd name="T61" fmla="*/ 29 h 2273"/>
                <a:gd name="T62" fmla="*/ 517 w 2990"/>
                <a:gd name="T63" fmla="*/ 8 h 2273"/>
                <a:gd name="T64" fmla="*/ 492 w 2990"/>
                <a:gd name="T65" fmla="*/ 0 h 2273"/>
                <a:gd name="T66" fmla="*/ 479 w 2990"/>
                <a:gd name="T67" fmla="*/ 21 h 2273"/>
                <a:gd name="T68" fmla="*/ 449 w 2990"/>
                <a:gd name="T69" fmla="*/ 35 h 2273"/>
                <a:gd name="T70" fmla="*/ 438 w 2990"/>
                <a:gd name="T71" fmla="*/ 79 h 2273"/>
                <a:gd name="T72" fmla="*/ 411 w 2990"/>
                <a:gd name="T73" fmla="*/ 85 h 2273"/>
                <a:gd name="T74" fmla="*/ 384 w 2990"/>
                <a:gd name="T75" fmla="*/ 75 h 2273"/>
                <a:gd name="T76" fmla="*/ 363 w 2990"/>
                <a:gd name="T77" fmla="*/ 71 h 2273"/>
                <a:gd name="T78" fmla="*/ 334 w 2990"/>
                <a:gd name="T79" fmla="*/ 122 h 2273"/>
                <a:gd name="T80" fmla="*/ 344 w 2990"/>
                <a:gd name="T81" fmla="*/ 140 h 2273"/>
                <a:gd name="T82" fmla="*/ 322 w 2990"/>
                <a:gd name="T83" fmla="*/ 144 h 2273"/>
                <a:gd name="T84" fmla="*/ 295 w 2990"/>
                <a:gd name="T85" fmla="*/ 136 h 2273"/>
                <a:gd name="T86" fmla="*/ 257 w 2990"/>
                <a:gd name="T87" fmla="*/ 138 h 2273"/>
                <a:gd name="T88" fmla="*/ 266 w 2990"/>
                <a:gd name="T89" fmla="*/ 148 h 2273"/>
                <a:gd name="T90" fmla="*/ 262 w 2990"/>
                <a:gd name="T91" fmla="*/ 173 h 2273"/>
                <a:gd name="T92" fmla="*/ 263 w 2990"/>
                <a:gd name="T93" fmla="*/ 220 h 2273"/>
                <a:gd name="T94" fmla="*/ 241 w 2990"/>
                <a:gd name="T95" fmla="*/ 242 h 2273"/>
                <a:gd name="T96" fmla="*/ 230 w 2990"/>
                <a:gd name="T97" fmla="*/ 267 h 2273"/>
                <a:gd name="T98" fmla="*/ 177 w 2990"/>
                <a:gd name="T99" fmla="*/ 281 h 2273"/>
                <a:gd name="T100" fmla="*/ 147 w 2990"/>
                <a:gd name="T101" fmla="*/ 286 h 2273"/>
                <a:gd name="T102" fmla="*/ 114 w 2990"/>
                <a:gd name="T103" fmla="*/ 294 h 2273"/>
                <a:gd name="T104" fmla="*/ 80 w 2990"/>
                <a:gd name="T105" fmla="*/ 302 h 2273"/>
                <a:gd name="T106" fmla="*/ 80 w 2990"/>
                <a:gd name="T107" fmla="*/ 289 h 2273"/>
                <a:gd name="T108" fmla="*/ 55 w 2990"/>
                <a:gd name="T109" fmla="*/ 291 h 2273"/>
                <a:gd name="T110" fmla="*/ 29 w 2990"/>
                <a:gd name="T111" fmla="*/ 297 h 2273"/>
                <a:gd name="T112" fmla="*/ 10 w 2990"/>
                <a:gd name="T113" fmla="*/ 318 h 2273"/>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990"/>
                <a:gd name="T172" fmla="*/ 0 h 2273"/>
                <a:gd name="T173" fmla="*/ 2990 w 2990"/>
                <a:gd name="T174" fmla="*/ 2273 h 2273"/>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990" h="2273">
                  <a:moveTo>
                    <a:pt x="29" y="1289"/>
                  </a:moveTo>
                  <a:lnTo>
                    <a:pt x="4" y="1329"/>
                  </a:lnTo>
                  <a:lnTo>
                    <a:pt x="12" y="1378"/>
                  </a:lnTo>
                  <a:lnTo>
                    <a:pt x="12" y="1382"/>
                  </a:lnTo>
                  <a:lnTo>
                    <a:pt x="10" y="1395"/>
                  </a:lnTo>
                  <a:lnTo>
                    <a:pt x="10" y="1411"/>
                  </a:lnTo>
                  <a:lnTo>
                    <a:pt x="10" y="1429"/>
                  </a:lnTo>
                  <a:lnTo>
                    <a:pt x="14" y="1443"/>
                  </a:lnTo>
                  <a:lnTo>
                    <a:pt x="20" y="1451"/>
                  </a:lnTo>
                  <a:lnTo>
                    <a:pt x="31" y="1453"/>
                  </a:lnTo>
                  <a:lnTo>
                    <a:pt x="43" y="1451"/>
                  </a:lnTo>
                  <a:lnTo>
                    <a:pt x="55" y="1449"/>
                  </a:lnTo>
                  <a:lnTo>
                    <a:pt x="73" y="1451"/>
                  </a:lnTo>
                  <a:lnTo>
                    <a:pt x="94" y="1462"/>
                  </a:lnTo>
                  <a:lnTo>
                    <a:pt x="116" y="1480"/>
                  </a:lnTo>
                  <a:lnTo>
                    <a:pt x="132" y="1502"/>
                  </a:lnTo>
                  <a:lnTo>
                    <a:pt x="136" y="1514"/>
                  </a:lnTo>
                  <a:lnTo>
                    <a:pt x="132" y="1525"/>
                  </a:lnTo>
                  <a:lnTo>
                    <a:pt x="126" y="1537"/>
                  </a:lnTo>
                  <a:lnTo>
                    <a:pt x="120" y="1549"/>
                  </a:lnTo>
                  <a:lnTo>
                    <a:pt x="116" y="1561"/>
                  </a:lnTo>
                  <a:lnTo>
                    <a:pt x="116" y="1577"/>
                  </a:lnTo>
                  <a:lnTo>
                    <a:pt x="114" y="1596"/>
                  </a:lnTo>
                  <a:lnTo>
                    <a:pt x="110" y="1618"/>
                  </a:lnTo>
                  <a:lnTo>
                    <a:pt x="108" y="1640"/>
                  </a:lnTo>
                  <a:lnTo>
                    <a:pt x="108" y="1657"/>
                  </a:lnTo>
                  <a:lnTo>
                    <a:pt x="112" y="1669"/>
                  </a:lnTo>
                  <a:lnTo>
                    <a:pt x="114" y="1679"/>
                  </a:lnTo>
                  <a:lnTo>
                    <a:pt x="114" y="1691"/>
                  </a:lnTo>
                  <a:lnTo>
                    <a:pt x="106" y="1699"/>
                  </a:lnTo>
                  <a:lnTo>
                    <a:pt x="96" y="1703"/>
                  </a:lnTo>
                  <a:lnTo>
                    <a:pt x="89" y="1701"/>
                  </a:lnTo>
                  <a:lnTo>
                    <a:pt x="83" y="1695"/>
                  </a:lnTo>
                  <a:lnTo>
                    <a:pt x="77" y="1687"/>
                  </a:lnTo>
                  <a:lnTo>
                    <a:pt x="69" y="1679"/>
                  </a:lnTo>
                  <a:lnTo>
                    <a:pt x="63" y="1673"/>
                  </a:lnTo>
                  <a:lnTo>
                    <a:pt x="53" y="1675"/>
                  </a:lnTo>
                  <a:lnTo>
                    <a:pt x="41" y="1685"/>
                  </a:lnTo>
                  <a:lnTo>
                    <a:pt x="26" y="1699"/>
                  </a:lnTo>
                  <a:lnTo>
                    <a:pt x="12" y="1708"/>
                  </a:lnTo>
                  <a:lnTo>
                    <a:pt x="4" y="1712"/>
                  </a:lnTo>
                  <a:lnTo>
                    <a:pt x="0" y="1716"/>
                  </a:lnTo>
                  <a:lnTo>
                    <a:pt x="6" y="1720"/>
                  </a:lnTo>
                  <a:lnTo>
                    <a:pt x="20" y="1724"/>
                  </a:lnTo>
                  <a:lnTo>
                    <a:pt x="41" y="1728"/>
                  </a:lnTo>
                  <a:lnTo>
                    <a:pt x="65" y="1734"/>
                  </a:lnTo>
                  <a:lnTo>
                    <a:pt x="89" y="1740"/>
                  </a:lnTo>
                  <a:lnTo>
                    <a:pt x="110" y="1746"/>
                  </a:lnTo>
                  <a:lnTo>
                    <a:pt x="126" y="1754"/>
                  </a:lnTo>
                  <a:lnTo>
                    <a:pt x="136" y="1764"/>
                  </a:lnTo>
                  <a:lnTo>
                    <a:pt x="140" y="1771"/>
                  </a:lnTo>
                  <a:lnTo>
                    <a:pt x="150" y="1779"/>
                  </a:lnTo>
                  <a:lnTo>
                    <a:pt x="159" y="1785"/>
                  </a:lnTo>
                  <a:lnTo>
                    <a:pt x="169" y="1795"/>
                  </a:lnTo>
                  <a:lnTo>
                    <a:pt x="177" y="1807"/>
                  </a:lnTo>
                  <a:lnTo>
                    <a:pt x="185" y="1825"/>
                  </a:lnTo>
                  <a:lnTo>
                    <a:pt x="187" y="1848"/>
                  </a:lnTo>
                  <a:lnTo>
                    <a:pt x="185" y="1870"/>
                  </a:lnTo>
                  <a:lnTo>
                    <a:pt x="179" y="1888"/>
                  </a:lnTo>
                  <a:lnTo>
                    <a:pt x="175" y="1905"/>
                  </a:lnTo>
                  <a:lnTo>
                    <a:pt x="177" y="1921"/>
                  </a:lnTo>
                  <a:lnTo>
                    <a:pt x="185" y="1941"/>
                  </a:lnTo>
                  <a:lnTo>
                    <a:pt x="195" y="1960"/>
                  </a:lnTo>
                  <a:lnTo>
                    <a:pt x="207" y="1978"/>
                  </a:lnTo>
                  <a:lnTo>
                    <a:pt x="218" y="1986"/>
                  </a:lnTo>
                  <a:lnTo>
                    <a:pt x="232" y="1990"/>
                  </a:lnTo>
                  <a:lnTo>
                    <a:pt x="246" y="1994"/>
                  </a:lnTo>
                  <a:lnTo>
                    <a:pt x="260" y="2002"/>
                  </a:lnTo>
                  <a:lnTo>
                    <a:pt x="270" y="2014"/>
                  </a:lnTo>
                  <a:lnTo>
                    <a:pt x="281" y="2029"/>
                  </a:lnTo>
                  <a:lnTo>
                    <a:pt x="299" y="2045"/>
                  </a:lnTo>
                  <a:lnTo>
                    <a:pt x="327" y="2057"/>
                  </a:lnTo>
                  <a:lnTo>
                    <a:pt x="352" y="2067"/>
                  </a:lnTo>
                  <a:lnTo>
                    <a:pt x="378" y="2076"/>
                  </a:lnTo>
                  <a:lnTo>
                    <a:pt x="402" y="2082"/>
                  </a:lnTo>
                  <a:lnTo>
                    <a:pt x="421" y="2086"/>
                  </a:lnTo>
                  <a:lnTo>
                    <a:pt x="435" y="2084"/>
                  </a:lnTo>
                  <a:lnTo>
                    <a:pt x="457" y="2078"/>
                  </a:lnTo>
                  <a:lnTo>
                    <a:pt x="484" y="2073"/>
                  </a:lnTo>
                  <a:lnTo>
                    <a:pt x="514" y="2065"/>
                  </a:lnTo>
                  <a:lnTo>
                    <a:pt x="543" y="2059"/>
                  </a:lnTo>
                  <a:lnTo>
                    <a:pt x="569" y="2057"/>
                  </a:lnTo>
                  <a:lnTo>
                    <a:pt x="589" y="2057"/>
                  </a:lnTo>
                  <a:lnTo>
                    <a:pt x="608" y="2065"/>
                  </a:lnTo>
                  <a:lnTo>
                    <a:pt x="626" y="2078"/>
                  </a:lnTo>
                  <a:lnTo>
                    <a:pt x="642" y="2096"/>
                  </a:lnTo>
                  <a:lnTo>
                    <a:pt x="661" y="2116"/>
                  </a:lnTo>
                  <a:lnTo>
                    <a:pt x="687" y="2134"/>
                  </a:lnTo>
                  <a:lnTo>
                    <a:pt x="711" y="2149"/>
                  </a:lnTo>
                  <a:lnTo>
                    <a:pt x="726" y="2161"/>
                  </a:lnTo>
                  <a:lnTo>
                    <a:pt x="738" y="2171"/>
                  </a:lnTo>
                  <a:lnTo>
                    <a:pt x="742" y="2177"/>
                  </a:lnTo>
                  <a:lnTo>
                    <a:pt x="744" y="2179"/>
                  </a:lnTo>
                  <a:lnTo>
                    <a:pt x="856" y="2218"/>
                  </a:lnTo>
                  <a:lnTo>
                    <a:pt x="892" y="2242"/>
                  </a:lnTo>
                  <a:lnTo>
                    <a:pt x="949" y="2236"/>
                  </a:lnTo>
                  <a:lnTo>
                    <a:pt x="986" y="2191"/>
                  </a:lnTo>
                  <a:lnTo>
                    <a:pt x="1035" y="2199"/>
                  </a:lnTo>
                  <a:lnTo>
                    <a:pt x="1152" y="2222"/>
                  </a:lnTo>
                  <a:lnTo>
                    <a:pt x="1201" y="2261"/>
                  </a:lnTo>
                  <a:lnTo>
                    <a:pt x="1256" y="2273"/>
                  </a:lnTo>
                  <a:lnTo>
                    <a:pt x="1392" y="2236"/>
                  </a:lnTo>
                  <a:lnTo>
                    <a:pt x="1431" y="2260"/>
                  </a:lnTo>
                  <a:lnTo>
                    <a:pt x="1539" y="2189"/>
                  </a:lnTo>
                  <a:lnTo>
                    <a:pt x="1657" y="2187"/>
                  </a:lnTo>
                  <a:lnTo>
                    <a:pt x="1726" y="2155"/>
                  </a:lnTo>
                  <a:lnTo>
                    <a:pt x="1821" y="2167"/>
                  </a:lnTo>
                  <a:lnTo>
                    <a:pt x="1935" y="2242"/>
                  </a:lnTo>
                  <a:lnTo>
                    <a:pt x="2026" y="2230"/>
                  </a:lnTo>
                  <a:lnTo>
                    <a:pt x="2088" y="2265"/>
                  </a:lnTo>
                  <a:lnTo>
                    <a:pt x="2193" y="2230"/>
                  </a:lnTo>
                  <a:lnTo>
                    <a:pt x="2155" y="2197"/>
                  </a:lnTo>
                  <a:lnTo>
                    <a:pt x="2161" y="2147"/>
                  </a:lnTo>
                  <a:lnTo>
                    <a:pt x="2214" y="2128"/>
                  </a:lnTo>
                  <a:lnTo>
                    <a:pt x="2242" y="2063"/>
                  </a:lnTo>
                  <a:lnTo>
                    <a:pt x="2124" y="1970"/>
                  </a:lnTo>
                  <a:lnTo>
                    <a:pt x="2128" y="1890"/>
                  </a:lnTo>
                  <a:lnTo>
                    <a:pt x="2199" y="1850"/>
                  </a:lnTo>
                  <a:lnTo>
                    <a:pt x="2337" y="1834"/>
                  </a:lnTo>
                  <a:lnTo>
                    <a:pt x="2484" y="1797"/>
                  </a:lnTo>
                  <a:lnTo>
                    <a:pt x="2545" y="1764"/>
                  </a:lnTo>
                  <a:lnTo>
                    <a:pt x="2624" y="1777"/>
                  </a:lnTo>
                  <a:lnTo>
                    <a:pt x="2592" y="1514"/>
                  </a:lnTo>
                  <a:lnTo>
                    <a:pt x="2673" y="1466"/>
                  </a:lnTo>
                  <a:lnTo>
                    <a:pt x="2752" y="1388"/>
                  </a:lnTo>
                  <a:lnTo>
                    <a:pt x="2856" y="1356"/>
                  </a:lnTo>
                  <a:lnTo>
                    <a:pt x="2939" y="1329"/>
                  </a:lnTo>
                  <a:lnTo>
                    <a:pt x="2966" y="1299"/>
                  </a:lnTo>
                  <a:lnTo>
                    <a:pt x="2957" y="1258"/>
                  </a:lnTo>
                  <a:lnTo>
                    <a:pt x="2990" y="1207"/>
                  </a:lnTo>
                  <a:lnTo>
                    <a:pt x="2988" y="1205"/>
                  </a:lnTo>
                  <a:lnTo>
                    <a:pt x="2982" y="1195"/>
                  </a:lnTo>
                  <a:lnTo>
                    <a:pt x="2972" y="1183"/>
                  </a:lnTo>
                  <a:lnTo>
                    <a:pt x="2961" y="1167"/>
                  </a:lnTo>
                  <a:lnTo>
                    <a:pt x="2949" y="1149"/>
                  </a:lnTo>
                  <a:lnTo>
                    <a:pt x="2937" y="1134"/>
                  </a:lnTo>
                  <a:lnTo>
                    <a:pt x="2929" y="1116"/>
                  </a:lnTo>
                  <a:lnTo>
                    <a:pt x="2923" y="1102"/>
                  </a:lnTo>
                  <a:lnTo>
                    <a:pt x="2915" y="1079"/>
                  </a:lnTo>
                  <a:lnTo>
                    <a:pt x="2905" y="1053"/>
                  </a:lnTo>
                  <a:lnTo>
                    <a:pt x="2898" y="1025"/>
                  </a:lnTo>
                  <a:lnTo>
                    <a:pt x="2888" y="1000"/>
                  </a:lnTo>
                  <a:lnTo>
                    <a:pt x="2880" y="982"/>
                  </a:lnTo>
                  <a:lnTo>
                    <a:pt x="2872" y="957"/>
                  </a:lnTo>
                  <a:lnTo>
                    <a:pt x="2870" y="941"/>
                  </a:lnTo>
                  <a:lnTo>
                    <a:pt x="2870" y="935"/>
                  </a:lnTo>
                  <a:lnTo>
                    <a:pt x="2864" y="933"/>
                  </a:lnTo>
                  <a:lnTo>
                    <a:pt x="2850" y="933"/>
                  </a:lnTo>
                  <a:lnTo>
                    <a:pt x="2829" y="929"/>
                  </a:lnTo>
                  <a:lnTo>
                    <a:pt x="2805" y="923"/>
                  </a:lnTo>
                  <a:lnTo>
                    <a:pt x="2781" y="913"/>
                  </a:lnTo>
                  <a:lnTo>
                    <a:pt x="2760" y="898"/>
                  </a:lnTo>
                  <a:lnTo>
                    <a:pt x="2734" y="874"/>
                  </a:lnTo>
                  <a:lnTo>
                    <a:pt x="2709" y="854"/>
                  </a:lnTo>
                  <a:lnTo>
                    <a:pt x="2687" y="837"/>
                  </a:lnTo>
                  <a:lnTo>
                    <a:pt x="2665" y="819"/>
                  </a:lnTo>
                  <a:lnTo>
                    <a:pt x="2648" y="809"/>
                  </a:lnTo>
                  <a:lnTo>
                    <a:pt x="2622" y="803"/>
                  </a:lnTo>
                  <a:lnTo>
                    <a:pt x="2590" y="801"/>
                  </a:lnTo>
                  <a:lnTo>
                    <a:pt x="2557" y="797"/>
                  </a:lnTo>
                  <a:lnTo>
                    <a:pt x="2524" y="795"/>
                  </a:lnTo>
                  <a:lnTo>
                    <a:pt x="2494" y="789"/>
                  </a:lnTo>
                  <a:lnTo>
                    <a:pt x="2468" y="781"/>
                  </a:lnTo>
                  <a:lnTo>
                    <a:pt x="2443" y="770"/>
                  </a:lnTo>
                  <a:lnTo>
                    <a:pt x="2417" y="760"/>
                  </a:lnTo>
                  <a:lnTo>
                    <a:pt x="2396" y="752"/>
                  </a:lnTo>
                  <a:lnTo>
                    <a:pt x="2378" y="746"/>
                  </a:lnTo>
                  <a:lnTo>
                    <a:pt x="2366" y="742"/>
                  </a:lnTo>
                  <a:lnTo>
                    <a:pt x="2360" y="740"/>
                  </a:lnTo>
                  <a:lnTo>
                    <a:pt x="2356" y="738"/>
                  </a:lnTo>
                  <a:lnTo>
                    <a:pt x="2348" y="730"/>
                  </a:lnTo>
                  <a:lnTo>
                    <a:pt x="2337" y="720"/>
                  </a:lnTo>
                  <a:lnTo>
                    <a:pt x="2325" y="709"/>
                  </a:lnTo>
                  <a:lnTo>
                    <a:pt x="2315" y="695"/>
                  </a:lnTo>
                  <a:lnTo>
                    <a:pt x="2309" y="683"/>
                  </a:lnTo>
                  <a:lnTo>
                    <a:pt x="2311" y="669"/>
                  </a:lnTo>
                  <a:lnTo>
                    <a:pt x="2321" y="655"/>
                  </a:lnTo>
                  <a:lnTo>
                    <a:pt x="2333" y="646"/>
                  </a:lnTo>
                  <a:lnTo>
                    <a:pt x="2348" y="634"/>
                  </a:lnTo>
                  <a:lnTo>
                    <a:pt x="2360" y="622"/>
                  </a:lnTo>
                  <a:lnTo>
                    <a:pt x="2372" y="610"/>
                  </a:lnTo>
                  <a:lnTo>
                    <a:pt x="2376" y="592"/>
                  </a:lnTo>
                  <a:lnTo>
                    <a:pt x="2378" y="569"/>
                  </a:lnTo>
                  <a:lnTo>
                    <a:pt x="2378" y="547"/>
                  </a:lnTo>
                  <a:lnTo>
                    <a:pt x="2380" y="528"/>
                  </a:lnTo>
                  <a:lnTo>
                    <a:pt x="2390" y="506"/>
                  </a:lnTo>
                  <a:lnTo>
                    <a:pt x="2396" y="490"/>
                  </a:lnTo>
                  <a:lnTo>
                    <a:pt x="2396" y="474"/>
                  </a:lnTo>
                  <a:lnTo>
                    <a:pt x="2390" y="459"/>
                  </a:lnTo>
                  <a:lnTo>
                    <a:pt x="2382" y="445"/>
                  </a:lnTo>
                  <a:lnTo>
                    <a:pt x="2374" y="433"/>
                  </a:lnTo>
                  <a:lnTo>
                    <a:pt x="2358" y="407"/>
                  </a:lnTo>
                  <a:lnTo>
                    <a:pt x="2342" y="378"/>
                  </a:lnTo>
                  <a:lnTo>
                    <a:pt x="2335" y="344"/>
                  </a:lnTo>
                  <a:lnTo>
                    <a:pt x="2329" y="321"/>
                  </a:lnTo>
                  <a:lnTo>
                    <a:pt x="2319" y="303"/>
                  </a:lnTo>
                  <a:lnTo>
                    <a:pt x="2307" y="287"/>
                  </a:lnTo>
                  <a:lnTo>
                    <a:pt x="2295" y="276"/>
                  </a:lnTo>
                  <a:lnTo>
                    <a:pt x="2285" y="270"/>
                  </a:lnTo>
                  <a:lnTo>
                    <a:pt x="2276" y="266"/>
                  </a:lnTo>
                  <a:lnTo>
                    <a:pt x="2264" y="266"/>
                  </a:lnTo>
                  <a:lnTo>
                    <a:pt x="2256" y="262"/>
                  </a:lnTo>
                  <a:lnTo>
                    <a:pt x="2248" y="254"/>
                  </a:lnTo>
                  <a:lnTo>
                    <a:pt x="2238" y="248"/>
                  </a:lnTo>
                  <a:lnTo>
                    <a:pt x="2224" y="246"/>
                  </a:lnTo>
                  <a:lnTo>
                    <a:pt x="2209" y="248"/>
                  </a:lnTo>
                  <a:lnTo>
                    <a:pt x="2191" y="248"/>
                  </a:lnTo>
                  <a:lnTo>
                    <a:pt x="2177" y="246"/>
                  </a:lnTo>
                  <a:lnTo>
                    <a:pt x="2169" y="238"/>
                  </a:lnTo>
                  <a:lnTo>
                    <a:pt x="2159" y="221"/>
                  </a:lnTo>
                  <a:lnTo>
                    <a:pt x="2150" y="197"/>
                  </a:lnTo>
                  <a:lnTo>
                    <a:pt x="2136" y="173"/>
                  </a:lnTo>
                  <a:lnTo>
                    <a:pt x="2120" y="156"/>
                  </a:lnTo>
                  <a:lnTo>
                    <a:pt x="2106" y="144"/>
                  </a:lnTo>
                  <a:lnTo>
                    <a:pt x="2092" y="136"/>
                  </a:lnTo>
                  <a:lnTo>
                    <a:pt x="2083" y="128"/>
                  </a:lnTo>
                  <a:lnTo>
                    <a:pt x="2077" y="118"/>
                  </a:lnTo>
                  <a:lnTo>
                    <a:pt x="2075" y="104"/>
                  </a:lnTo>
                  <a:lnTo>
                    <a:pt x="2071" y="87"/>
                  </a:lnTo>
                  <a:lnTo>
                    <a:pt x="2061" y="73"/>
                  </a:lnTo>
                  <a:lnTo>
                    <a:pt x="2053" y="63"/>
                  </a:lnTo>
                  <a:lnTo>
                    <a:pt x="2051" y="53"/>
                  </a:lnTo>
                  <a:lnTo>
                    <a:pt x="2057" y="41"/>
                  </a:lnTo>
                  <a:lnTo>
                    <a:pt x="2065" y="32"/>
                  </a:lnTo>
                  <a:lnTo>
                    <a:pt x="2071" y="20"/>
                  </a:lnTo>
                  <a:lnTo>
                    <a:pt x="2073" y="14"/>
                  </a:lnTo>
                  <a:lnTo>
                    <a:pt x="2063" y="8"/>
                  </a:lnTo>
                  <a:lnTo>
                    <a:pt x="2045" y="4"/>
                  </a:lnTo>
                  <a:lnTo>
                    <a:pt x="2020" y="2"/>
                  </a:lnTo>
                  <a:lnTo>
                    <a:pt x="1994" y="0"/>
                  </a:lnTo>
                  <a:lnTo>
                    <a:pt x="1970" y="0"/>
                  </a:lnTo>
                  <a:lnTo>
                    <a:pt x="1955" y="6"/>
                  </a:lnTo>
                  <a:lnTo>
                    <a:pt x="1945" y="14"/>
                  </a:lnTo>
                  <a:lnTo>
                    <a:pt x="1941" y="30"/>
                  </a:lnTo>
                  <a:lnTo>
                    <a:pt x="1937" y="45"/>
                  </a:lnTo>
                  <a:lnTo>
                    <a:pt x="1933" y="61"/>
                  </a:lnTo>
                  <a:lnTo>
                    <a:pt x="1927" y="75"/>
                  </a:lnTo>
                  <a:lnTo>
                    <a:pt x="1915" y="85"/>
                  </a:lnTo>
                  <a:lnTo>
                    <a:pt x="1898" y="87"/>
                  </a:lnTo>
                  <a:lnTo>
                    <a:pt x="1878" y="91"/>
                  </a:lnTo>
                  <a:lnTo>
                    <a:pt x="1858" y="93"/>
                  </a:lnTo>
                  <a:lnTo>
                    <a:pt x="1840" y="95"/>
                  </a:lnTo>
                  <a:lnTo>
                    <a:pt x="1823" y="102"/>
                  </a:lnTo>
                  <a:lnTo>
                    <a:pt x="1809" y="116"/>
                  </a:lnTo>
                  <a:lnTo>
                    <a:pt x="1797" y="140"/>
                  </a:lnTo>
                  <a:lnTo>
                    <a:pt x="1785" y="169"/>
                  </a:lnTo>
                  <a:lnTo>
                    <a:pt x="1777" y="203"/>
                  </a:lnTo>
                  <a:lnTo>
                    <a:pt x="1774" y="236"/>
                  </a:lnTo>
                  <a:lnTo>
                    <a:pt x="1770" y="262"/>
                  </a:lnTo>
                  <a:lnTo>
                    <a:pt x="1768" y="283"/>
                  </a:lnTo>
                  <a:lnTo>
                    <a:pt x="1762" y="303"/>
                  </a:lnTo>
                  <a:lnTo>
                    <a:pt x="1754" y="319"/>
                  </a:lnTo>
                  <a:lnTo>
                    <a:pt x="1740" y="329"/>
                  </a:lnTo>
                  <a:lnTo>
                    <a:pt x="1722" y="337"/>
                  </a:lnTo>
                  <a:lnTo>
                    <a:pt x="1703" y="341"/>
                  </a:lnTo>
                  <a:lnTo>
                    <a:pt x="1685" y="346"/>
                  </a:lnTo>
                  <a:lnTo>
                    <a:pt x="1669" y="350"/>
                  </a:lnTo>
                  <a:lnTo>
                    <a:pt x="1655" y="348"/>
                  </a:lnTo>
                  <a:lnTo>
                    <a:pt x="1644" y="341"/>
                  </a:lnTo>
                  <a:lnTo>
                    <a:pt x="1634" y="333"/>
                  </a:lnTo>
                  <a:lnTo>
                    <a:pt x="1618" y="331"/>
                  </a:lnTo>
                  <a:lnTo>
                    <a:pt x="1600" y="331"/>
                  </a:lnTo>
                  <a:lnTo>
                    <a:pt x="1581" y="329"/>
                  </a:lnTo>
                  <a:lnTo>
                    <a:pt x="1563" y="325"/>
                  </a:lnTo>
                  <a:lnTo>
                    <a:pt x="1549" y="315"/>
                  </a:lnTo>
                  <a:lnTo>
                    <a:pt x="1537" y="303"/>
                  </a:lnTo>
                  <a:lnTo>
                    <a:pt x="1524" y="289"/>
                  </a:lnTo>
                  <a:lnTo>
                    <a:pt x="1508" y="276"/>
                  </a:lnTo>
                  <a:lnTo>
                    <a:pt x="1494" y="266"/>
                  </a:lnTo>
                  <a:lnTo>
                    <a:pt x="1480" y="260"/>
                  </a:lnTo>
                  <a:lnTo>
                    <a:pt x="1468" y="260"/>
                  </a:lnTo>
                  <a:lnTo>
                    <a:pt x="1461" y="268"/>
                  </a:lnTo>
                  <a:lnTo>
                    <a:pt x="1449" y="287"/>
                  </a:lnTo>
                  <a:lnTo>
                    <a:pt x="1435" y="311"/>
                  </a:lnTo>
                  <a:lnTo>
                    <a:pt x="1417" y="341"/>
                  </a:lnTo>
                  <a:lnTo>
                    <a:pt x="1400" y="372"/>
                  </a:lnTo>
                  <a:lnTo>
                    <a:pt x="1382" y="407"/>
                  </a:lnTo>
                  <a:lnTo>
                    <a:pt x="1366" y="439"/>
                  </a:lnTo>
                  <a:lnTo>
                    <a:pt x="1348" y="467"/>
                  </a:lnTo>
                  <a:lnTo>
                    <a:pt x="1335" y="488"/>
                  </a:lnTo>
                  <a:lnTo>
                    <a:pt x="1327" y="506"/>
                  </a:lnTo>
                  <a:lnTo>
                    <a:pt x="1327" y="522"/>
                  </a:lnTo>
                  <a:lnTo>
                    <a:pt x="1335" y="533"/>
                  </a:lnTo>
                  <a:lnTo>
                    <a:pt x="1344" y="541"/>
                  </a:lnTo>
                  <a:lnTo>
                    <a:pt x="1358" y="549"/>
                  </a:lnTo>
                  <a:lnTo>
                    <a:pt x="1370" y="555"/>
                  </a:lnTo>
                  <a:lnTo>
                    <a:pt x="1376" y="563"/>
                  </a:lnTo>
                  <a:lnTo>
                    <a:pt x="1374" y="569"/>
                  </a:lnTo>
                  <a:lnTo>
                    <a:pt x="1362" y="575"/>
                  </a:lnTo>
                  <a:lnTo>
                    <a:pt x="1348" y="577"/>
                  </a:lnTo>
                  <a:lnTo>
                    <a:pt x="1331" y="577"/>
                  </a:lnTo>
                  <a:lnTo>
                    <a:pt x="1313" y="577"/>
                  </a:lnTo>
                  <a:lnTo>
                    <a:pt x="1297" y="577"/>
                  </a:lnTo>
                  <a:lnTo>
                    <a:pt x="1285" y="577"/>
                  </a:lnTo>
                  <a:lnTo>
                    <a:pt x="1274" y="571"/>
                  </a:lnTo>
                  <a:lnTo>
                    <a:pt x="1264" y="561"/>
                  </a:lnTo>
                  <a:lnTo>
                    <a:pt x="1252" y="551"/>
                  </a:lnTo>
                  <a:lnTo>
                    <a:pt x="1238" y="543"/>
                  </a:lnTo>
                  <a:lnTo>
                    <a:pt x="1222" y="541"/>
                  </a:lnTo>
                  <a:lnTo>
                    <a:pt x="1201" y="543"/>
                  </a:lnTo>
                  <a:lnTo>
                    <a:pt x="1177" y="547"/>
                  </a:lnTo>
                  <a:lnTo>
                    <a:pt x="1153" y="551"/>
                  </a:lnTo>
                  <a:lnTo>
                    <a:pt x="1126" y="553"/>
                  </a:lnTo>
                  <a:lnTo>
                    <a:pt x="1100" y="553"/>
                  </a:lnTo>
                  <a:lnTo>
                    <a:pt x="1079" y="551"/>
                  </a:lnTo>
                  <a:lnTo>
                    <a:pt x="1059" y="551"/>
                  </a:lnTo>
                  <a:lnTo>
                    <a:pt x="1039" y="553"/>
                  </a:lnTo>
                  <a:lnTo>
                    <a:pt x="1026" y="555"/>
                  </a:lnTo>
                  <a:lnTo>
                    <a:pt x="1014" y="561"/>
                  </a:lnTo>
                  <a:lnTo>
                    <a:pt x="1010" y="567"/>
                  </a:lnTo>
                  <a:lnTo>
                    <a:pt x="1014" y="577"/>
                  </a:lnTo>
                  <a:lnTo>
                    <a:pt x="1024" y="585"/>
                  </a:lnTo>
                  <a:lnTo>
                    <a:pt x="1035" y="589"/>
                  </a:lnTo>
                  <a:lnTo>
                    <a:pt x="1049" y="592"/>
                  </a:lnTo>
                  <a:lnTo>
                    <a:pt x="1061" y="594"/>
                  </a:lnTo>
                  <a:lnTo>
                    <a:pt x="1073" y="598"/>
                  </a:lnTo>
                  <a:lnTo>
                    <a:pt x="1081" y="604"/>
                  </a:lnTo>
                  <a:lnTo>
                    <a:pt x="1085" y="616"/>
                  </a:lnTo>
                  <a:lnTo>
                    <a:pt x="1081" y="632"/>
                  </a:lnTo>
                  <a:lnTo>
                    <a:pt x="1069" y="655"/>
                  </a:lnTo>
                  <a:lnTo>
                    <a:pt x="1057" y="677"/>
                  </a:lnTo>
                  <a:lnTo>
                    <a:pt x="1047" y="695"/>
                  </a:lnTo>
                  <a:lnTo>
                    <a:pt x="1041" y="715"/>
                  </a:lnTo>
                  <a:lnTo>
                    <a:pt x="1039" y="736"/>
                  </a:lnTo>
                  <a:lnTo>
                    <a:pt x="1045" y="762"/>
                  </a:lnTo>
                  <a:lnTo>
                    <a:pt x="1057" y="799"/>
                  </a:lnTo>
                  <a:lnTo>
                    <a:pt x="1061" y="833"/>
                  </a:lnTo>
                  <a:lnTo>
                    <a:pt x="1059" y="860"/>
                  </a:lnTo>
                  <a:lnTo>
                    <a:pt x="1051" y="882"/>
                  </a:lnTo>
                  <a:lnTo>
                    <a:pt x="1039" y="894"/>
                  </a:lnTo>
                  <a:lnTo>
                    <a:pt x="1024" y="905"/>
                  </a:lnTo>
                  <a:lnTo>
                    <a:pt x="1004" y="915"/>
                  </a:lnTo>
                  <a:lnTo>
                    <a:pt x="986" y="927"/>
                  </a:lnTo>
                  <a:lnTo>
                    <a:pt x="972" y="939"/>
                  </a:lnTo>
                  <a:lnTo>
                    <a:pt x="966" y="953"/>
                  </a:lnTo>
                  <a:lnTo>
                    <a:pt x="966" y="968"/>
                  </a:lnTo>
                  <a:lnTo>
                    <a:pt x="966" y="988"/>
                  </a:lnTo>
                  <a:lnTo>
                    <a:pt x="966" y="1010"/>
                  </a:lnTo>
                  <a:lnTo>
                    <a:pt x="965" y="1031"/>
                  </a:lnTo>
                  <a:lnTo>
                    <a:pt x="961" y="1049"/>
                  </a:lnTo>
                  <a:lnTo>
                    <a:pt x="953" y="1063"/>
                  </a:lnTo>
                  <a:lnTo>
                    <a:pt x="941" y="1069"/>
                  </a:lnTo>
                  <a:lnTo>
                    <a:pt x="921" y="1071"/>
                  </a:lnTo>
                  <a:lnTo>
                    <a:pt x="892" y="1075"/>
                  </a:lnTo>
                  <a:lnTo>
                    <a:pt x="858" y="1079"/>
                  </a:lnTo>
                  <a:lnTo>
                    <a:pt x="821" y="1085"/>
                  </a:lnTo>
                  <a:lnTo>
                    <a:pt x="783" y="1092"/>
                  </a:lnTo>
                  <a:lnTo>
                    <a:pt x="752" y="1100"/>
                  </a:lnTo>
                  <a:lnTo>
                    <a:pt x="728" y="1110"/>
                  </a:lnTo>
                  <a:lnTo>
                    <a:pt x="705" y="1124"/>
                  </a:lnTo>
                  <a:lnTo>
                    <a:pt x="685" y="1138"/>
                  </a:lnTo>
                  <a:lnTo>
                    <a:pt x="671" y="1151"/>
                  </a:lnTo>
                  <a:lnTo>
                    <a:pt x="655" y="1159"/>
                  </a:lnTo>
                  <a:lnTo>
                    <a:pt x="642" y="1163"/>
                  </a:lnTo>
                  <a:lnTo>
                    <a:pt x="628" y="1159"/>
                  </a:lnTo>
                  <a:lnTo>
                    <a:pt x="606" y="1153"/>
                  </a:lnTo>
                  <a:lnTo>
                    <a:pt x="585" y="1146"/>
                  </a:lnTo>
                  <a:lnTo>
                    <a:pt x="559" y="1138"/>
                  </a:lnTo>
                  <a:lnTo>
                    <a:pt x="535" y="1132"/>
                  </a:lnTo>
                  <a:lnTo>
                    <a:pt x="516" y="1130"/>
                  </a:lnTo>
                  <a:lnTo>
                    <a:pt x="500" y="1132"/>
                  </a:lnTo>
                  <a:lnTo>
                    <a:pt x="486" y="1142"/>
                  </a:lnTo>
                  <a:lnTo>
                    <a:pt x="470" y="1157"/>
                  </a:lnTo>
                  <a:lnTo>
                    <a:pt x="457" y="1177"/>
                  </a:lnTo>
                  <a:lnTo>
                    <a:pt x="443" y="1197"/>
                  </a:lnTo>
                  <a:lnTo>
                    <a:pt x="427" y="1212"/>
                  </a:lnTo>
                  <a:lnTo>
                    <a:pt x="413" y="1220"/>
                  </a:lnTo>
                  <a:lnTo>
                    <a:pt x="390" y="1220"/>
                  </a:lnTo>
                  <a:lnTo>
                    <a:pt x="362" y="1216"/>
                  </a:lnTo>
                  <a:lnTo>
                    <a:pt x="339" y="1212"/>
                  </a:lnTo>
                  <a:lnTo>
                    <a:pt x="319" y="1210"/>
                  </a:lnTo>
                  <a:lnTo>
                    <a:pt x="313" y="1207"/>
                  </a:lnTo>
                  <a:lnTo>
                    <a:pt x="309" y="1199"/>
                  </a:lnTo>
                  <a:lnTo>
                    <a:pt x="309" y="1189"/>
                  </a:lnTo>
                  <a:lnTo>
                    <a:pt x="313" y="1177"/>
                  </a:lnTo>
                  <a:lnTo>
                    <a:pt x="315" y="1167"/>
                  </a:lnTo>
                  <a:lnTo>
                    <a:pt x="317" y="1159"/>
                  </a:lnTo>
                  <a:lnTo>
                    <a:pt x="319" y="1157"/>
                  </a:lnTo>
                  <a:lnTo>
                    <a:pt x="315" y="1157"/>
                  </a:lnTo>
                  <a:lnTo>
                    <a:pt x="303" y="1159"/>
                  </a:lnTo>
                  <a:lnTo>
                    <a:pt x="287" y="1161"/>
                  </a:lnTo>
                  <a:lnTo>
                    <a:pt x="268" y="1163"/>
                  </a:lnTo>
                  <a:lnTo>
                    <a:pt x="250" y="1165"/>
                  </a:lnTo>
                  <a:lnTo>
                    <a:pt x="234" y="1165"/>
                  </a:lnTo>
                  <a:lnTo>
                    <a:pt x="220" y="1165"/>
                  </a:lnTo>
                  <a:lnTo>
                    <a:pt x="211" y="1171"/>
                  </a:lnTo>
                  <a:lnTo>
                    <a:pt x="201" y="1177"/>
                  </a:lnTo>
                  <a:lnTo>
                    <a:pt x="189" y="1185"/>
                  </a:lnTo>
                  <a:lnTo>
                    <a:pt x="171" y="1191"/>
                  </a:lnTo>
                  <a:lnTo>
                    <a:pt x="154" y="1193"/>
                  </a:lnTo>
                  <a:lnTo>
                    <a:pt x="136" y="1193"/>
                  </a:lnTo>
                  <a:lnTo>
                    <a:pt x="116" y="1191"/>
                  </a:lnTo>
                  <a:lnTo>
                    <a:pt x="100" y="1191"/>
                  </a:lnTo>
                  <a:lnTo>
                    <a:pt x="87" y="1197"/>
                  </a:lnTo>
                  <a:lnTo>
                    <a:pt x="77" y="1210"/>
                  </a:lnTo>
                  <a:lnTo>
                    <a:pt x="69" y="1228"/>
                  </a:lnTo>
                  <a:lnTo>
                    <a:pt x="59" y="1246"/>
                  </a:lnTo>
                  <a:lnTo>
                    <a:pt x="49" y="1262"/>
                  </a:lnTo>
                  <a:lnTo>
                    <a:pt x="39" y="1275"/>
                  </a:lnTo>
                  <a:lnTo>
                    <a:pt x="33" y="1285"/>
                  </a:lnTo>
                  <a:lnTo>
                    <a:pt x="29" y="1289"/>
                  </a:lnTo>
                  <a:close/>
                </a:path>
              </a:pathLst>
            </a:custGeom>
            <a:grpFill/>
            <a:ln w="0">
              <a:solidFill>
                <a:schemeClr val="bg1"/>
              </a:solidFill>
              <a:prstDash val="solid"/>
              <a:round/>
            </a:ln>
          </p:spPr>
          <p:txBody>
            <a:bodyPr/>
            <a:lstStyle/>
            <a:p>
              <a:endParaRPr lang="zh-CN" altLang="en-US"/>
            </a:p>
          </p:txBody>
        </p:sp>
        <p:sp>
          <p:nvSpPr>
            <p:cNvPr id="23" name="Freeform 68"/>
            <p:cNvSpPr/>
            <p:nvPr/>
          </p:nvSpPr>
          <p:spPr bwMode="gray">
            <a:xfrm>
              <a:off x="720" y="1296"/>
              <a:ext cx="1495" cy="1136"/>
            </a:xfrm>
            <a:custGeom>
              <a:avLst/>
              <a:gdLst>
                <a:gd name="T0" fmla="*/ 3 w 2990"/>
                <a:gd name="T1" fmla="*/ 357 h 2273"/>
                <a:gd name="T2" fmla="*/ 23 w 2990"/>
                <a:gd name="T3" fmla="*/ 365 h 2273"/>
                <a:gd name="T4" fmla="*/ 29 w 2990"/>
                <a:gd name="T5" fmla="*/ 390 h 2273"/>
                <a:gd name="T6" fmla="*/ 28 w 2990"/>
                <a:gd name="T7" fmla="*/ 419 h 2273"/>
                <a:gd name="T8" fmla="*/ 18 w 2990"/>
                <a:gd name="T9" fmla="*/ 419 h 2273"/>
                <a:gd name="T10" fmla="*/ 0 w 2990"/>
                <a:gd name="T11" fmla="*/ 429 h 2273"/>
                <a:gd name="T12" fmla="*/ 31 w 2990"/>
                <a:gd name="T13" fmla="*/ 438 h 2273"/>
                <a:gd name="T14" fmla="*/ 47 w 2990"/>
                <a:gd name="T15" fmla="*/ 456 h 2273"/>
                <a:gd name="T16" fmla="*/ 49 w 2990"/>
                <a:gd name="T17" fmla="*/ 490 h 2273"/>
                <a:gd name="T18" fmla="*/ 71 w 2990"/>
                <a:gd name="T19" fmla="*/ 507 h 2273"/>
                <a:gd name="T20" fmla="*/ 109 w 2990"/>
                <a:gd name="T21" fmla="*/ 521 h 2273"/>
                <a:gd name="T22" fmla="*/ 152 w 2990"/>
                <a:gd name="T23" fmla="*/ 516 h 2273"/>
                <a:gd name="T24" fmla="*/ 185 w 2990"/>
                <a:gd name="T25" fmla="*/ 542 h 2273"/>
                <a:gd name="T26" fmla="*/ 259 w 2990"/>
                <a:gd name="T27" fmla="*/ 549 h 2273"/>
                <a:gd name="T28" fmla="*/ 414 w 2990"/>
                <a:gd name="T29" fmla="*/ 546 h 2273"/>
                <a:gd name="T30" fmla="*/ 539 w 2990"/>
                <a:gd name="T31" fmla="*/ 549 h 2273"/>
                <a:gd name="T32" fmla="*/ 585 w 2990"/>
                <a:gd name="T33" fmla="*/ 458 h 2273"/>
                <a:gd name="T34" fmla="*/ 714 w 2990"/>
                <a:gd name="T35" fmla="*/ 339 h 2273"/>
                <a:gd name="T36" fmla="*/ 743 w 2990"/>
                <a:gd name="T37" fmla="*/ 295 h 2273"/>
                <a:gd name="T38" fmla="*/ 727 w 2990"/>
                <a:gd name="T39" fmla="*/ 263 h 2273"/>
                <a:gd name="T40" fmla="*/ 716 w 2990"/>
                <a:gd name="T41" fmla="*/ 233 h 2273"/>
                <a:gd name="T42" fmla="*/ 678 w 2990"/>
                <a:gd name="T43" fmla="*/ 213 h 2273"/>
                <a:gd name="T44" fmla="*/ 631 w 2990"/>
                <a:gd name="T45" fmla="*/ 198 h 2273"/>
                <a:gd name="T46" fmla="*/ 592 w 2990"/>
                <a:gd name="T47" fmla="*/ 185 h 2273"/>
                <a:gd name="T48" fmla="*/ 578 w 2990"/>
                <a:gd name="T49" fmla="*/ 170 h 2273"/>
                <a:gd name="T50" fmla="*/ 594 w 2990"/>
                <a:gd name="T51" fmla="*/ 148 h 2273"/>
                <a:gd name="T52" fmla="*/ 598 w 2990"/>
                <a:gd name="T53" fmla="*/ 114 h 2273"/>
                <a:gd name="T54" fmla="*/ 580 w 2990"/>
                <a:gd name="T55" fmla="*/ 75 h 2273"/>
                <a:gd name="T56" fmla="*/ 562 w 2990"/>
                <a:gd name="T57" fmla="*/ 63 h 2273"/>
                <a:gd name="T58" fmla="*/ 540 w 2990"/>
                <a:gd name="T59" fmla="*/ 55 h 2273"/>
                <a:gd name="T60" fmla="*/ 520 w 2990"/>
                <a:gd name="T61" fmla="*/ 29 h 2273"/>
                <a:gd name="T62" fmla="*/ 517 w 2990"/>
                <a:gd name="T63" fmla="*/ 8 h 2273"/>
                <a:gd name="T64" fmla="*/ 492 w 2990"/>
                <a:gd name="T65" fmla="*/ 0 h 2273"/>
                <a:gd name="T66" fmla="*/ 479 w 2990"/>
                <a:gd name="T67" fmla="*/ 21 h 2273"/>
                <a:gd name="T68" fmla="*/ 449 w 2990"/>
                <a:gd name="T69" fmla="*/ 35 h 2273"/>
                <a:gd name="T70" fmla="*/ 438 w 2990"/>
                <a:gd name="T71" fmla="*/ 79 h 2273"/>
                <a:gd name="T72" fmla="*/ 411 w 2990"/>
                <a:gd name="T73" fmla="*/ 85 h 2273"/>
                <a:gd name="T74" fmla="*/ 384 w 2990"/>
                <a:gd name="T75" fmla="*/ 75 h 2273"/>
                <a:gd name="T76" fmla="*/ 363 w 2990"/>
                <a:gd name="T77" fmla="*/ 71 h 2273"/>
                <a:gd name="T78" fmla="*/ 334 w 2990"/>
                <a:gd name="T79" fmla="*/ 122 h 2273"/>
                <a:gd name="T80" fmla="*/ 344 w 2990"/>
                <a:gd name="T81" fmla="*/ 140 h 2273"/>
                <a:gd name="T82" fmla="*/ 322 w 2990"/>
                <a:gd name="T83" fmla="*/ 144 h 2273"/>
                <a:gd name="T84" fmla="*/ 295 w 2990"/>
                <a:gd name="T85" fmla="*/ 136 h 2273"/>
                <a:gd name="T86" fmla="*/ 257 w 2990"/>
                <a:gd name="T87" fmla="*/ 138 h 2273"/>
                <a:gd name="T88" fmla="*/ 266 w 2990"/>
                <a:gd name="T89" fmla="*/ 148 h 2273"/>
                <a:gd name="T90" fmla="*/ 262 w 2990"/>
                <a:gd name="T91" fmla="*/ 173 h 2273"/>
                <a:gd name="T92" fmla="*/ 263 w 2990"/>
                <a:gd name="T93" fmla="*/ 220 h 2273"/>
                <a:gd name="T94" fmla="*/ 241 w 2990"/>
                <a:gd name="T95" fmla="*/ 242 h 2273"/>
                <a:gd name="T96" fmla="*/ 230 w 2990"/>
                <a:gd name="T97" fmla="*/ 267 h 2273"/>
                <a:gd name="T98" fmla="*/ 177 w 2990"/>
                <a:gd name="T99" fmla="*/ 281 h 2273"/>
                <a:gd name="T100" fmla="*/ 147 w 2990"/>
                <a:gd name="T101" fmla="*/ 286 h 2273"/>
                <a:gd name="T102" fmla="*/ 114 w 2990"/>
                <a:gd name="T103" fmla="*/ 294 h 2273"/>
                <a:gd name="T104" fmla="*/ 80 w 2990"/>
                <a:gd name="T105" fmla="*/ 302 h 2273"/>
                <a:gd name="T106" fmla="*/ 80 w 2990"/>
                <a:gd name="T107" fmla="*/ 289 h 2273"/>
                <a:gd name="T108" fmla="*/ 55 w 2990"/>
                <a:gd name="T109" fmla="*/ 291 h 2273"/>
                <a:gd name="T110" fmla="*/ 29 w 2990"/>
                <a:gd name="T111" fmla="*/ 297 h 2273"/>
                <a:gd name="T112" fmla="*/ 10 w 2990"/>
                <a:gd name="T113" fmla="*/ 318 h 2273"/>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990"/>
                <a:gd name="T172" fmla="*/ 0 h 2273"/>
                <a:gd name="T173" fmla="*/ 2990 w 2990"/>
                <a:gd name="T174" fmla="*/ 2273 h 2273"/>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990" h="2273">
                  <a:moveTo>
                    <a:pt x="29" y="1289"/>
                  </a:moveTo>
                  <a:lnTo>
                    <a:pt x="4" y="1329"/>
                  </a:lnTo>
                  <a:lnTo>
                    <a:pt x="12" y="1378"/>
                  </a:lnTo>
                  <a:lnTo>
                    <a:pt x="12" y="1382"/>
                  </a:lnTo>
                  <a:lnTo>
                    <a:pt x="10" y="1395"/>
                  </a:lnTo>
                  <a:lnTo>
                    <a:pt x="10" y="1411"/>
                  </a:lnTo>
                  <a:lnTo>
                    <a:pt x="10" y="1429"/>
                  </a:lnTo>
                  <a:lnTo>
                    <a:pt x="14" y="1443"/>
                  </a:lnTo>
                  <a:lnTo>
                    <a:pt x="20" y="1451"/>
                  </a:lnTo>
                  <a:lnTo>
                    <a:pt x="31" y="1453"/>
                  </a:lnTo>
                  <a:lnTo>
                    <a:pt x="43" y="1451"/>
                  </a:lnTo>
                  <a:lnTo>
                    <a:pt x="55" y="1449"/>
                  </a:lnTo>
                  <a:lnTo>
                    <a:pt x="73" y="1451"/>
                  </a:lnTo>
                  <a:lnTo>
                    <a:pt x="94" y="1462"/>
                  </a:lnTo>
                  <a:lnTo>
                    <a:pt x="116" y="1480"/>
                  </a:lnTo>
                  <a:lnTo>
                    <a:pt x="132" y="1502"/>
                  </a:lnTo>
                  <a:lnTo>
                    <a:pt x="136" y="1514"/>
                  </a:lnTo>
                  <a:lnTo>
                    <a:pt x="132" y="1525"/>
                  </a:lnTo>
                  <a:lnTo>
                    <a:pt x="126" y="1537"/>
                  </a:lnTo>
                  <a:lnTo>
                    <a:pt x="120" y="1549"/>
                  </a:lnTo>
                  <a:lnTo>
                    <a:pt x="116" y="1561"/>
                  </a:lnTo>
                  <a:lnTo>
                    <a:pt x="116" y="1577"/>
                  </a:lnTo>
                  <a:lnTo>
                    <a:pt x="114" y="1596"/>
                  </a:lnTo>
                  <a:lnTo>
                    <a:pt x="110" y="1618"/>
                  </a:lnTo>
                  <a:lnTo>
                    <a:pt x="108" y="1640"/>
                  </a:lnTo>
                  <a:lnTo>
                    <a:pt x="108" y="1657"/>
                  </a:lnTo>
                  <a:lnTo>
                    <a:pt x="112" y="1669"/>
                  </a:lnTo>
                  <a:lnTo>
                    <a:pt x="114" y="1679"/>
                  </a:lnTo>
                  <a:lnTo>
                    <a:pt x="114" y="1691"/>
                  </a:lnTo>
                  <a:lnTo>
                    <a:pt x="106" y="1699"/>
                  </a:lnTo>
                  <a:lnTo>
                    <a:pt x="96" y="1703"/>
                  </a:lnTo>
                  <a:lnTo>
                    <a:pt x="89" y="1701"/>
                  </a:lnTo>
                  <a:lnTo>
                    <a:pt x="83" y="1695"/>
                  </a:lnTo>
                  <a:lnTo>
                    <a:pt x="77" y="1687"/>
                  </a:lnTo>
                  <a:lnTo>
                    <a:pt x="69" y="1679"/>
                  </a:lnTo>
                  <a:lnTo>
                    <a:pt x="63" y="1673"/>
                  </a:lnTo>
                  <a:lnTo>
                    <a:pt x="53" y="1675"/>
                  </a:lnTo>
                  <a:lnTo>
                    <a:pt x="41" y="1685"/>
                  </a:lnTo>
                  <a:lnTo>
                    <a:pt x="26" y="1699"/>
                  </a:lnTo>
                  <a:lnTo>
                    <a:pt x="12" y="1708"/>
                  </a:lnTo>
                  <a:lnTo>
                    <a:pt x="4" y="1712"/>
                  </a:lnTo>
                  <a:lnTo>
                    <a:pt x="0" y="1716"/>
                  </a:lnTo>
                  <a:lnTo>
                    <a:pt x="6" y="1720"/>
                  </a:lnTo>
                  <a:lnTo>
                    <a:pt x="20" y="1724"/>
                  </a:lnTo>
                  <a:lnTo>
                    <a:pt x="41" y="1728"/>
                  </a:lnTo>
                  <a:lnTo>
                    <a:pt x="65" y="1734"/>
                  </a:lnTo>
                  <a:lnTo>
                    <a:pt x="89" y="1740"/>
                  </a:lnTo>
                  <a:lnTo>
                    <a:pt x="110" y="1746"/>
                  </a:lnTo>
                  <a:lnTo>
                    <a:pt x="126" y="1754"/>
                  </a:lnTo>
                  <a:lnTo>
                    <a:pt x="136" y="1764"/>
                  </a:lnTo>
                  <a:lnTo>
                    <a:pt x="140" y="1771"/>
                  </a:lnTo>
                  <a:lnTo>
                    <a:pt x="150" y="1779"/>
                  </a:lnTo>
                  <a:lnTo>
                    <a:pt x="159" y="1785"/>
                  </a:lnTo>
                  <a:lnTo>
                    <a:pt x="169" y="1795"/>
                  </a:lnTo>
                  <a:lnTo>
                    <a:pt x="177" y="1807"/>
                  </a:lnTo>
                  <a:lnTo>
                    <a:pt x="185" y="1825"/>
                  </a:lnTo>
                  <a:lnTo>
                    <a:pt x="187" y="1848"/>
                  </a:lnTo>
                  <a:lnTo>
                    <a:pt x="185" y="1870"/>
                  </a:lnTo>
                  <a:lnTo>
                    <a:pt x="179" y="1888"/>
                  </a:lnTo>
                  <a:lnTo>
                    <a:pt x="175" y="1905"/>
                  </a:lnTo>
                  <a:lnTo>
                    <a:pt x="177" y="1921"/>
                  </a:lnTo>
                  <a:lnTo>
                    <a:pt x="185" y="1941"/>
                  </a:lnTo>
                  <a:lnTo>
                    <a:pt x="195" y="1960"/>
                  </a:lnTo>
                  <a:lnTo>
                    <a:pt x="207" y="1978"/>
                  </a:lnTo>
                  <a:lnTo>
                    <a:pt x="218" y="1986"/>
                  </a:lnTo>
                  <a:lnTo>
                    <a:pt x="232" y="1990"/>
                  </a:lnTo>
                  <a:lnTo>
                    <a:pt x="246" y="1994"/>
                  </a:lnTo>
                  <a:lnTo>
                    <a:pt x="260" y="2002"/>
                  </a:lnTo>
                  <a:lnTo>
                    <a:pt x="270" y="2014"/>
                  </a:lnTo>
                  <a:lnTo>
                    <a:pt x="281" y="2029"/>
                  </a:lnTo>
                  <a:lnTo>
                    <a:pt x="299" y="2045"/>
                  </a:lnTo>
                  <a:lnTo>
                    <a:pt x="327" y="2057"/>
                  </a:lnTo>
                  <a:lnTo>
                    <a:pt x="352" y="2067"/>
                  </a:lnTo>
                  <a:lnTo>
                    <a:pt x="378" y="2076"/>
                  </a:lnTo>
                  <a:lnTo>
                    <a:pt x="402" y="2082"/>
                  </a:lnTo>
                  <a:lnTo>
                    <a:pt x="421" y="2086"/>
                  </a:lnTo>
                  <a:lnTo>
                    <a:pt x="435" y="2084"/>
                  </a:lnTo>
                  <a:lnTo>
                    <a:pt x="457" y="2078"/>
                  </a:lnTo>
                  <a:lnTo>
                    <a:pt x="484" y="2073"/>
                  </a:lnTo>
                  <a:lnTo>
                    <a:pt x="514" y="2065"/>
                  </a:lnTo>
                  <a:lnTo>
                    <a:pt x="543" y="2059"/>
                  </a:lnTo>
                  <a:lnTo>
                    <a:pt x="569" y="2057"/>
                  </a:lnTo>
                  <a:lnTo>
                    <a:pt x="589" y="2057"/>
                  </a:lnTo>
                  <a:lnTo>
                    <a:pt x="608" y="2065"/>
                  </a:lnTo>
                  <a:lnTo>
                    <a:pt x="626" y="2078"/>
                  </a:lnTo>
                  <a:lnTo>
                    <a:pt x="642" y="2096"/>
                  </a:lnTo>
                  <a:lnTo>
                    <a:pt x="661" y="2116"/>
                  </a:lnTo>
                  <a:lnTo>
                    <a:pt x="687" y="2134"/>
                  </a:lnTo>
                  <a:lnTo>
                    <a:pt x="711" y="2149"/>
                  </a:lnTo>
                  <a:lnTo>
                    <a:pt x="726" y="2161"/>
                  </a:lnTo>
                  <a:lnTo>
                    <a:pt x="738" y="2171"/>
                  </a:lnTo>
                  <a:lnTo>
                    <a:pt x="742" y="2177"/>
                  </a:lnTo>
                  <a:lnTo>
                    <a:pt x="744" y="2179"/>
                  </a:lnTo>
                  <a:lnTo>
                    <a:pt x="856" y="2218"/>
                  </a:lnTo>
                  <a:lnTo>
                    <a:pt x="892" y="2242"/>
                  </a:lnTo>
                  <a:lnTo>
                    <a:pt x="949" y="2236"/>
                  </a:lnTo>
                  <a:lnTo>
                    <a:pt x="986" y="2191"/>
                  </a:lnTo>
                  <a:lnTo>
                    <a:pt x="1035" y="2199"/>
                  </a:lnTo>
                  <a:lnTo>
                    <a:pt x="1152" y="2222"/>
                  </a:lnTo>
                  <a:lnTo>
                    <a:pt x="1201" y="2261"/>
                  </a:lnTo>
                  <a:lnTo>
                    <a:pt x="1256" y="2273"/>
                  </a:lnTo>
                  <a:lnTo>
                    <a:pt x="1392" y="2236"/>
                  </a:lnTo>
                  <a:lnTo>
                    <a:pt x="1431" y="2260"/>
                  </a:lnTo>
                  <a:lnTo>
                    <a:pt x="1539" y="2189"/>
                  </a:lnTo>
                  <a:lnTo>
                    <a:pt x="1657" y="2187"/>
                  </a:lnTo>
                  <a:lnTo>
                    <a:pt x="1726" y="2155"/>
                  </a:lnTo>
                  <a:lnTo>
                    <a:pt x="1821" y="2167"/>
                  </a:lnTo>
                  <a:lnTo>
                    <a:pt x="1935" y="2242"/>
                  </a:lnTo>
                  <a:lnTo>
                    <a:pt x="2026" y="2230"/>
                  </a:lnTo>
                  <a:lnTo>
                    <a:pt x="2088" y="2265"/>
                  </a:lnTo>
                  <a:lnTo>
                    <a:pt x="2193" y="2230"/>
                  </a:lnTo>
                  <a:lnTo>
                    <a:pt x="2155" y="2197"/>
                  </a:lnTo>
                  <a:lnTo>
                    <a:pt x="2161" y="2147"/>
                  </a:lnTo>
                  <a:lnTo>
                    <a:pt x="2214" y="2128"/>
                  </a:lnTo>
                  <a:lnTo>
                    <a:pt x="2242" y="2063"/>
                  </a:lnTo>
                  <a:lnTo>
                    <a:pt x="2124" y="1970"/>
                  </a:lnTo>
                  <a:lnTo>
                    <a:pt x="2128" y="1890"/>
                  </a:lnTo>
                  <a:lnTo>
                    <a:pt x="2199" y="1850"/>
                  </a:lnTo>
                  <a:lnTo>
                    <a:pt x="2337" y="1834"/>
                  </a:lnTo>
                  <a:lnTo>
                    <a:pt x="2484" y="1797"/>
                  </a:lnTo>
                  <a:lnTo>
                    <a:pt x="2545" y="1764"/>
                  </a:lnTo>
                  <a:lnTo>
                    <a:pt x="2624" y="1777"/>
                  </a:lnTo>
                  <a:lnTo>
                    <a:pt x="2592" y="1514"/>
                  </a:lnTo>
                  <a:lnTo>
                    <a:pt x="2673" y="1466"/>
                  </a:lnTo>
                  <a:lnTo>
                    <a:pt x="2752" y="1388"/>
                  </a:lnTo>
                  <a:lnTo>
                    <a:pt x="2856" y="1356"/>
                  </a:lnTo>
                  <a:lnTo>
                    <a:pt x="2939" y="1329"/>
                  </a:lnTo>
                  <a:lnTo>
                    <a:pt x="2966" y="1299"/>
                  </a:lnTo>
                  <a:lnTo>
                    <a:pt x="2957" y="1258"/>
                  </a:lnTo>
                  <a:lnTo>
                    <a:pt x="2990" y="1207"/>
                  </a:lnTo>
                  <a:lnTo>
                    <a:pt x="2988" y="1205"/>
                  </a:lnTo>
                  <a:lnTo>
                    <a:pt x="2982" y="1195"/>
                  </a:lnTo>
                  <a:lnTo>
                    <a:pt x="2972" y="1183"/>
                  </a:lnTo>
                  <a:lnTo>
                    <a:pt x="2961" y="1167"/>
                  </a:lnTo>
                  <a:lnTo>
                    <a:pt x="2949" y="1149"/>
                  </a:lnTo>
                  <a:lnTo>
                    <a:pt x="2937" y="1134"/>
                  </a:lnTo>
                  <a:lnTo>
                    <a:pt x="2929" y="1116"/>
                  </a:lnTo>
                  <a:lnTo>
                    <a:pt x="2923" y="1102"/>
                  </a:lnTo>
                  <a:lnTo>
                    <a:pt x="2915" y="1079"/>
                  </a:lnTo>
                  <a:lnTo>
                    <a:pt x="2905" y="1053"/>
                  </a:lnTo>
                  <a:lnTo>
                    <a:pt x="2898" y="1025"/>
                  </a:lnTo>
                  <a:lnTo>
                    <a:pt x="2888" y="1000"/>
                  </a:lnTo>
                  <a:lnTo>
                    <a:pt x="2880" y="982"/>
                  </a:lnTo>
                  <a:lnTo>
                    <a:pt x="2872" y="957"/>
                  </a:lnTo>
                  <a:lnTo>
                    <a:pt x="2870" y="941"/>
                  </a:lnTo>
                  <a:lnTo>
                    <a:pt x="2870" y="935"/>
                  </a:lnTo>
                  <a:lnTo>
                    <a:pt x="2864" y="933"/>
                  </a:lnTo>
                  <a:lnTo>
                    <a:pt x="2850" y="933"/>
                  </a:lnTo>
                  <a:lnTo>
                    <a:pt x="2829" y="929"/>
                  </a:lnTo>
                  <a:lnTo>
                    <a:pt x="2805" y="923"/>
                  </a:lnTo>
                  <a:lnTo>
                    <a:pt x="2781" y="913"/>
                  </a:lnTo>
                  <a:lnTo>
                    <a:pt x="2760" y="898"/>
                  </a:lnTo>
                  <a:lnTo>
                    <a:pt x="2734" y="874"/>
                  </a:lnTo>
                  <a:lnTo>
                    <a:pt x="2709" y="854"/>
                  </a:lnTo>
                  <a:lnTo>
                    <a:pt x="2687" y="837"/>
                  </a:lnTo>
                  <a:lnTo>
                    <a:pt x="2665" y="819"/>
                  </a:lnTo>
                  <a:lnTo>
                    <a:pt x="2648" y="809"/>
                  </a:lnTo>
                  <a:lnTo>
                    <a:pt x="2622" y="803"/>
                  </a:lnTo>
                  <a:lnTo>
                    <a:pt x="2590" y="801"/>
                  </a:lnTo>
                  <a:lnTo>
                    <a:pt x="2557" y="797"/>
                  </a:lnTo>
                  <a:lnTo>
                    <a:pt x="2524" y="795"/>
                  </a:lnTo>
                  <a:lnTo>
                    <a:pt x="2494" y="789"/>
                  </a:lnTo>
                  <a:lnTo>
                    <a:pt x="2468" y="781"/>
                  </a:lnTo>
                  <a:lnTo>
                    <a:pt x="2443" y="770"/>
                  </a:lnTo>
                  <a:lnTo>
                    <a:pt x="2417" y="760"/>
                  </a:lnTo>
                  <a:lnTo>
                    <a:pt x="2396" y="752"/>
                  </a:lnTo>
                  <a:lnTo>
                    <a:pt x="2378" y="746"/>
                  </a:lnTo>
                  <a:lnTo>
                    <a:pt x="2366" y="742"/>
                  </a:lnTo>
                  <a:lnTo>
                    <a:pt x="2360" y="740"/>
                  </a:lnTo>
                  <a:lnTo>
                    <a:pt x="2356" y="738"/>
                  </a:lnTo>
                  <a:lnTo>
                    <a:pt x="2348" y="730"/>
                  </a:lnTo>
                  <a:lnTo>
                    <a:pt x="2337" y="720"/>
                  </a:lnTo>
                  <a:lnTo>
                    <a:pt x="2325" y="709"/>
                  </a:lnTo>
                  <a:lnTo>
                    <a:pt x="2315" y="695"/>
                  </a:lnTo>
                  <a:lnTo>
                    <a:pt x="2309" y="683"/>
                  </a:lnTo>
                  <a:lnTo>
                    <a:pt x="2311" y="669"/>
                  </a:lnTo>
                  <a:lnTo>
                    <a:pt x="2321" y="655"/>
                  </a:lnTo>
                  <a:lnTo>
                    <a:pt x="2333" y="646"/>
                  </a:lnTo>
                  <a:lnTo>
                    <a:pt x="2348" y="634"/>
                  </a:lnTo>
                  <a:lnTo>
                    <a:pt x="2360" y="622"/>
                  </a:lnTo>
                  <a:lnTo>
                    <a:pt x="2372" y="610"/>
                  </a:lnTo>
                  <a:lnTo>
                    <a:pt x="2376" y="592"/>
                  </a:lnTo>
                  <a:lnTo>
                    <a:pt x="2378" y="569"/>
                  </a:lnTo>
                  <a:lnTo>
                    <a:pt x="2378" y="547"/>
                  </a:lnTo>
                  <a:lnTo>
                    <a:pt x="2380" y="528"/>
                  </a:lnTo>
                  <a:lnTo>
                    <a:pt x="2390" y="506"/>
                  </a:lnTo>
                  <a:lnTo>
                    <a:pt x="2396" y="490"/>
                  </a:lnTo>
                  <a:lnTo>
                    <a:pt x="2396" y="474"/>
                  </a:lnTo>
                  <a:lnTo>
                    <a:pt x="2390" y="459"/>
                  </a:lnTo>
                  <a:lnTo>
                    <a:pt x="2382" y="445"/>
                  </a:lnTo>
                  <a:lnTo>
                    <a:pt x="2374" y="433"/>
                  </a:lnTo>
                  <a:lnTo>
                    <a:pt x="2358" y="407"/>
                  </a:lnTo>
                  <a:lnTo>
                    <a:pt x="2342" y="378"/>
                  </a:lnTo>
                  <a:lnTo>
                    <a:pt x="2335" y="344"/>
                  </a:lnTo>
                  <a:lnTo>
                    <a:pt x="2329" y="321"/>
                  </a:lnTo>
                  <a:lnTo>
                    <a:pt x="2319" y="303"/>
                  </a:lnTo>
                  <a:lnTo>
                    <a:pt x="2307" y="287"/>
                  </a:lnTo>
                  <a:lnTo>
                    <a:pt x="2295" y="276"/>
                  </a:lnTo>
                  <a:lnTo>
                    <a:pt x="2285" y="270"/>
                  </a:lnTo>
                  <a:lnTo>
                    <a:pt x="2276" y="266"/>
                  </a:lnTo>
                  <a:lnTo>
                    <a:pt x="2264" y="266"/>
                  </a:lnTo>
                  <a:lnTo>
                    <a:pt x="2256" y="262"/>
                  </a:lnTo>
                  <a:lnTo>
                    <a:pt x="2248" y="254"/>
                  </a:lnTo>
                  <a:lnTo>
                    <a:pt x="2238" y="248"/>
                  </a:lnTo>
                  <a:lnTo>
                    <a:pt x="2224" y="246"/>
                  </a:lnTo>
                  <a:lnTo>
                    <a:pt x="2209" y="248"/>
                  </a:lnTo>
                  <a:lnTo>
                    <a:pt x="2191" y="248"/>
                  </a:lnTo>
                  <a:lnTo>
                    <a:pt x="2177" y="246"/>
                  </a:lnTo>
                  <a:lnTo>
                    <a:pt x="2169" y="238"/>
                  </a:lnTo>
                  <a:lnTo>
                    <a:pt x="2159" y="221"/>
                  </a:lnTo>
                  <a:lnTo>
                    <a:pt x="2150" y="197"/>
                  </a:lnTo>
                  <a:lnTo>
                    <a:pt x="2136" y="173"/>
                  </a:lnTo>
                  <a:lnTo>
                    <a:pt x="2120" y="156"/>
                  </a:lnTo>
                  <a:lnTo>
                    <a:pt x="2106" y="144"/>
                  </a:lnTo>
                  <a:lnTo>
                    <a:pt x="2092" y="136"/>
                  </a:lnTo>
                  <a:lnTo>
                    <a:pt x="2083" y="128"/>
                  </a:lnTo>
                  <a:lnTo>
                    <a:pt x="2077" y="118"/>
                  </a:lnTo>
                  <a:lnTo>
                    <a:pt x="2075" y="104"/>
                  </a:lnTo>
                  <a:lnTo>
                    <a:pt x="2071" y="87"/>
                  </a:lnTo>
                  <a:lnTo>
                    <a:pt x="2061" y="73"/>
                  </a:lnTo>
                  <a:lnTo>
                    <a:pt x="2053" y="63"/>
                  </a:lnTo>
                  <a:lnTo>
                    <a:pt x="2051" y="53"/>
                  </a:lnTo>
                  <a:lnTo>
                    <a:pt x="2057" y="41"/>
                  </a:lnTo>
                  <a:lnTo>
                    <a:pt x="2065" y="32"/>
                  </a:lnTo>
                  <a:lnTo>
                    <a:pt x="2071" y="20"/>
                  </a:lnTo>
                  <a:lnTo>
                    <a:pt x="2073" y="14"/>
                  </a:lnTo>
                  <a:lnTo>
                    <a:pt x="2063" y="8"/>
                  </a:lnTo>
                  <a:lnTo>
                    <a:pt x="2045" y="4"/>
                  </a:lnTo>
                  <a:lnTo>
                    <a:pt x="2020" y="2"/>
                  </a:lnTo>
                  <a:lnTo>
                    <a:pt x="1994" y="0"/>
                  </a:lnTo>
                  <a:lnTo>
                    <a:pt x="1970" y="0"/>
                  </a:lnTo>
                  <a:lnTo>
                    <a:pt x="1955" y="6"/>
                  </a:lnTo>
                  <a:lnTo>
                    <a:pt x="1945" y="14"/>
                  </a:lnTo>
                  <a:lnTo>
                    <a:pt x="1941" y="30"/>
                  </a:lnTo>
                  <a:lnTo>
                    <a:pt x="1937" y="45"/>
                  </a:lnTo>
                  <a:lnTo>
                    <a:pt x="1933" y="61"/>
                  </a:lnTo>
                  <a:lnTo>
                    <a:pt x="1927" y="75"/>
                  </a:lnTo>
                  <a:lnTo>
                    <a:pt x="1915" y="85"/>
                  </a:lnTo>
                  <a:lnTo>
                    <a:pt x="1898" y="87"/>
                  </a:lnTo>
                  <a:lnTo>
                    <a:pt x="1878" y="91"/>
                  </a:lnTo>
                  <a:lnTo>
                    <a:pt x="1858" y="93"/>
                  </a:lnTo>
                  <a:lnTo>
                    <a:pt x="1840" y="95"/>
                  </a:lnTo>
                  <a:lnTo>
                    <a:pt x="1823" y="102"/>
                  </a:lnTo>
                  <a:lnTo>
                    <a:pt x="1809" y="116"/>
                  </a:lnTo>
                  <a:lnTo>
                    <a:pt x="1797" y="140"/>
                  </a:lnTo>
                  <a:lnTo>
                    <a:pt x="1785" y="169"/>
                  </a:lnTo>
                  <a:lnTo>
                    <a:pt x="1777" y="203"/>
                  </a:lnTo>
                  <a:lnTo>
                    <a:pt x="1774" y="236"/>
                  </a:lnTo>
                  <a:lnTo>
                    <a:pt x="1770" y="262"/>
                  </a:lnTo>
                  <a:lnTo>
                    <a:pt x="1768" y="283"/>
                  </a:lnTo>
                  <a:lnTo>
                    <a:pt x="1762" y="303"/>
                  </a:lnTo>
                  <a:lnTo>
                    <a:pt x="1754" y="319"/>
                  </a:lnTo>
                  <a:lnTo>
                    <a:pt x="1740" y="329"/>
                  </a:lnTo>
                  <a:lnTo>
                    <a:pt x="1722" y="337"/>
                  </a:lnTo>
                  <a:lnTo>
                    <a:pt x="1703" y="341"/>
                  </a:lnTo>
                  <a:lnTo>
                    <a:pt x="1685" y="346"/>
                  </a:lnTo>
                  <a:lnTo>
                    <a:pt x="1669" y="350"/>
                  </a:lnTo>
                  <a:lnTo>
                    <a:pt x="1655" y="348"/>
                  </a:lnTo>
                  <a:lnTo>
                    <a:pt x="1644" y="341"/>
                  </a:lnTo>
                  <a:lnTo>
                    <a:pt x="1634" y="333"/>
                  </a:lnTo>
                  <a:lnTo>
                    <a:pt x="1618" y="331"/>
                  </a:lnTo>
                  <a:lnTo>
                    <a:pt x="1600" y="331"/>
                  </a:lnTo>
                  <a:lnTo>
                    <a:pt x="1581" y="329"/>
                  </a:lnTo>
                  <a:lnTo>
                    <a:pt x="1563" y="325"/>
                  </a:lnTo>
                  <a:lnTo>
                    <a:pt x="1549" y="315"/>
                  </a:lnTo>
                  <a:lnTo>
                    <a:pt x="1537" y="303"/>
                  </a:lnTo>
                  <a:lnTo>
                    <a:pt x="1524" y="289"/>
                  </a:lnTo>
                  <a:lnTo>
                    <a:pt x="1508" y="276"/>
                  </a:lnTo>
                  <a:lnTo>
                    <a:pt x="1494" y="266"/>
                  </a:lnTo>
                  <a:lnTo>
                    <a:pt x="1480" y="260"/>
                  </a:lnTo>
                  <a:lnTo>
                    <a:pt x="1468" y="260"/>
                  </a:lnTo>
                  <a:lnTo>
                    <a:pt x="1461" y="268"/>
                  </a:lnTo>
                  <a:lnTo>
                    <a:pt x="1449" y="287"/>
                  </a:lnTo>
                  <a:lnTo>
                    <a:pt x="1435" y="311"/>
                  </a:lnTo>
                  <a:lnTo>
                    <a:pt x="1417" y="341"/>
                  </a:lnTo>
                  <a:lnTo>
                    <a:pt x="1400" y="372"/>
                  </a:lnTo>
                  <a:lnTo>
                    <a:pt x="1382" y="407"/>
                  </a:lnTo>
                  <a:lnTo>
                    <a:pt x="1366" y="439"/>
                  </a:lnTo>
                  <a:lnTo>
                    <a:pt x="1348" y="467"/>
                  </a:lnTo>
                  <a:lnTo>
                    <a:pt x="1335" y="488"/>
                  </a:lnTo>
                  <a:lnTo>
                    <a:pt x="1327" y="506"/>
                  </a:lnTo>
                  <a:lnTo>
                    <a:pt x="1327" y="522"/>
                  </a:lnTo>
                  <a:lnTo>
                    <a:pt x="1335" y="533"/>
                  </a:lnTo>
                  <a:lnTo>
                    <a:pt x="1344" y="541"/>
                  </a:lnTo>
                  <a:lnTo>
                    <a:pt x="1358" y="549"/>
                  </a:lnTo>
                  <a:lnTo>
                    <a:pt x="1370" y="555"/>
                  </a:lnTo>
                  <a:lnTo>
                    <a:pt x="1376" y="563"/>
                  </a:lnTo>
                  <a:lnTo>
                    <a:pt x="1374" y="569"/>
                  </a:lnTo>
                  <a:lnTo>
                    <a:pt x="1362" y="575"/>
                  </a:lnTo>
                  <a:lnTo>
                    <a:pt x="1348" y="577"/>
                  </a:lnTo>
                  <a:lnTo>
                    <a:pt x="1331" y="577"/>
                  </a:lnTo>
                  <a:lnTo>
                    <a:pt x="1313" y="577"/>
                  </a:lnTo>
                  <a:lnTo>
                    <a:pt x="1297" y="577"/>
                  </a:lnTo>
                  <a:lnTo>
                    <a:pt x="1285" y="577"/>
                  </a:lnTo>
                  <a:lnTo>
                    <a:pt x="1274" y="571"/>
                  </a:lnTo>
                  <a:lnTo>
                    <a:pt x="1264" y="561"/>
                  </a:lnTo>
                  <a:lnTo>
                    <a:pt x="1252" y="551"/>
                  </a:lnTo>
                  <a:lnTo>
                    <a:pt x="1238" y="543"/>
                  </a:lnTo>
                  <a:lnTo>
                    <a:pt x="1222" y="541"/>
                  </a:lnTo>
                  <a:lnTo>
                    <a:pt x="1201" y="543"/>
                  </a:lnTo>
                  <a:lnTo>
                    <a:pt x="1177" y="547"/>
                  </a:lnTo>
                  <a:lnTo>
                    <a:pt x="1153" y="551"/>
                  </a:lnTo>
                  <a:lnTo>
                    <a:pt x="1126" y="553"/>
                  </a:lnTo>
                  <a:lnTo>
                    <a:pt x="1100" y="553"/>
                  </a:lnTo>
                  <a:lnTo>
                    <a:pt x="1079" y="551"/>
                  </a:lnTo>
                  <a:lnTo>
                    <a:pt x="1059" y="551"/>
                  </a:lnTo>
                  <a:lnTo>
                    <a:pt x="1039" y="553"/>
                  </a:lnTo>
                  <a:lnTo>
                    <a:pt x="1026" y="555"/>
                  </a:lnTo>
                  <a:lnTo>
                    <a:pt x="1014" y="561"/>
                  </a:lnTo>
                  <a:lnTo>
                    <a:pt x="1010" y="567"/>
                  </a:lnTo>
                  <a:lnTo>
                    <a:pt x="1014" y="577"/>
                  </a:lnTo>
                  <a:lnTo>
                    <a:pt x="1024" y="585"/>
                  </a:lnTo>
                  <a:lnTo>
                    <a:pt x="1035" y="589"/>
                  </a:lnTo>
                  <a:lnTo>
                    <a:pt x="1049" y="592"/>
                  </a:lnTo>
                  <a:lnTo>
                    <a:pt x="1061" y="594"/>
                  </a:lnTo>
                  <a:lnTo>
                    <a:pt x="1073" y="598"/>
                  </a:lnTo>
                  <a:lnTo>
                    <a:pt x="1081" y="604"/>
                  </a:lnTo>
                  <a:lnTo>
                    <a:pt x="1085" y="616"/>
                  </a:lnTo>
                  <a:lnTo>
                    <a:pt x="1081" y="632"/>
                  </a:lnTo>
                  <a:lnTo>
                    <a:pt x="1069" y="655"/>
                  </a:lnTo>
                  <a:lnTo>
                    <a:pt x="1057" y="677"/>
                  </a:lnTo>
                  <a:lnTo>
                    <a:pt x="1047" y="695"/>
                  </a:lnTo>
                  <a:lnTo>
                    <a:pt x="1041" y="715"/>
                  </a:lnTo>
                  <a:lnTo>
                    <a:pt x="1039" y="736"/>
                  </a:lnTo>
                  <a:lnTo>
                    <a:pt x="1045" y="762"/>
                  </a:lnTo>
                  <a:lnTo>
                    <a:pt x="1057" y="799"/>
                  </a:lnTo>
                  <a:lnTo>
                    <a:pt x="1061" y="833"/>
                  </a:lnTo>
                  <a:lnTo>
                    <a:pt x="1059" y="860"/>
                  </a:lnTo>
                  <a:lnTo>
                    <a:pt x="1051" y="882"/>
                  </a:lnTo>
                  <a:lnTo>
                    <a:pt x="1039" y="894"/>
                  </a:lnTo>
                  <a:lnTo>
                    <a:pt x="1024" y="905"/>
                  </a:lnTo>
                  <a:lnTo>
                    <a:pt x="1004" y="915"/>
                  </a:lnTo>
                  <a:lnTo>
                    <a:pt x="986" y="927"/>
                  </a:lnTo>
                  <a:lnTo>
                    <a:pt x="972" y="939"/>
                  </a:lnTo>
                  <a:lnTo>
                    <a:pt x="966" y="953"/>
                  </a:lnTo>
                  <a:lnTo>
                    <a:pt x="966" y="968"/>
                  </a:lnTo>
                  <a:lnTo>
                    <a:pt x="966" y="988"/>
                  </a:lnTo>
                  <a:lnTo>
                    <a:pt x="966" y="1010"/>
                  </a:lnTo>
                  <a:lnTo>
                    <a:pt x="965" y="1031"/>
                  </a:lnTo>
                  <a:lnTo>
                    <a:pt x="961" y="1049"/>
                  </a:lnTo>
                  <a:lnTo>
                    <a:pt x="953" y="1063"/>
                  </a:lnTo>
                  <a:lnTo>
                    <a:pt x="941" y="1069"/>
                  </a:lnTo>
                  <a:lnTo>
                    <a:pt x="921" y="1071"/>
                  </a:lnTo>
                  <a:lnTo>
                    <a:pt x="892" y="1075"/>
                  </a:lnTo>
                  <a:lnTo>
                    <a:pt x="858" y="1079"/>
                  </a:lnTo>
                  <a:lnTo>
                    <a:pt x="821" y="1085"/>
                  </a:lnTo>
                  <a:lnTo>
                    <a:pt x="783" y="1092"/>
                  </a:lnTo>
                  <a:lnTo>
                    <a:pt x="752" y="1100"/>
                  </a:lnTo>
                  <a:lnTo>
                    <a:pt x="728" y="1110"/>
                  </a:lnTo>
                  <a:lnTo>
                    <a:pt x="705" y="1124"/>
                  </a:lnTo>
                  <a:lnTo>
                    <a:pt x="685" y="1138"/>
                  </a:lnTo>
                  <a:lnTo>
                    <a:pt x="671" y="1151"/>
                  </a:lnTo>
                  <a:lnTo>
                    <a:pt x="655" y="1159"/>
                  </a:lnTo>
                  <a:lnTo>
                    <a:pt x="642" y="1163"/>
                  </a:lnTo>
                  <a:lnTo>
                    <a:pt x="628" y="1159"/>
                  </a:lnTo>
                  <a:lnTo>
                    <a:pt x="606" y="1153"/>
                  </a:lnTo>
                  <a:lnTo>
                    <a:pt x="585" y="1146"/>
                  </a:lnTo>
                  <a:lnTo>
                    <a:pt x="559" y="1138"/>
                  </a:lnTo>
                  <a:lnTo>
                    <a:pt x="535" y="1132"/>
                  </a:lnTo>
                  <a:lnTo>
                    <a:pt x="516" y="1130"/>
                  </a:lnTo>
                  <a:lnTo>
                    <a:pt x="500" y="1132"/>
                  </a:lnTo>
                  <a:lnTo>
                    <a:pt x="486" y="1142"/>
                  </a:lnTo>
                  <a:lnTo>
                    <a:pt x="470" y="1157"/>
                  </a:lnTo>
                  <a:lnTo>
                    <a:pt x="457" y="1177"/>
                  </a:lnTo>
                  <a:lnTo>
                    <a:pt x="443" y="1197"/>
                  </a:lnTo>
                  <a:lnTo>
                    <a:pt x="427" y="1212"/>
                  </a:lnTo>
                  <a:lnTo>
                    <a:pt x="413" y="1220"/>
                  </a:lnTo>
                  <a:lnTo>
                    <a:pt x="390" y="1220"/>
                  </a:lnTo>
                  <a:lnTo>
                    <a:pt x="362" y="1216"/>
                  </a:lnTo>
                  <a:lnTo>
                    <a:pt x="339" y="1212"/>
                  </a:lnTo>
                  <a:lnTo>
                    <a:pt x="319" y="1210"/>
                  </a:lnTo>
                  <a:lnTo>
                    <a:pt x="313" y="1207"/>
                  </a:lnTo>
                  <a:lnTo>
                    <a:pt x="309" y="1199"/>
                  </a:lnTo>
                  <a:lnTo>
                    <a:pt x="309" y="1189"/>
                  </a:lnTo>
                  <a:lnTo>
                    <a:pt x="313" y="1177"/>
                  </a:lnTo>
                  <a:lnTo>
                    <a:pt x="315" y="1167"/>
                  </a:lnTo>
                  <a:lnTo>
                    <a:pt x="317" y="1159"/>
                  </a:lnTo>
                  <a:lnTo>
                    <a:pt x="319" y="1157"/>
                  </a:lnTo>
                  <a:lnTo>
                    <a:pt x="315" y="1157"/>
                  </a:lnTo>
                  <a:lnTo>
                    <a:pt x="303" y="1159"/>
                  </a:lnTo>
                  <a:lnTo>
                    <a:pt x="287" y="1161"/>
                  </a:lnTo>
                  <a:lnTo>
                    <a:pt x="268" y="1163"/>
                  </a:lnTo>
                  <a:lnTo>
                    <a:pt x="250" y="1165"/>
                  </a:lnTo>
                  <a:lnTo>
                    <a:pt x="234" y="1165"/>
                  </a:lnTo>
                  <a:lnTo>
                    <a:pt x="220" y="1165"/>
                  </a:lnTo>
                  <a:lnTo>
                    <a:pt x="211" y="1171"/>
                  </a:lnTo>
                  <a:lnTo>
                    <a:pt x="201" y="1177"/>
                  </a:lnTo>
                  <a:lnTo>
                    <a:pt x="189" y="1185"/>
                  </a:lnTo>
                  <a:lnTo>
                    <a:pt x="171" y="1191"/>
                  </a:lnTo>
                  <a:lnTo>
                    <a:pt x="154" y="1193"/>
                  </a:lnTo>
                  <a:lnTo>
                    <a:pt x="136" y="1193"/>
                  </a:lnTo>
                  <a:lnTo>
                    <a:pt x="116" y="1191"/>
                  </a:lnTo>
                  <a:lnTo>
                    <a:pt x="100" y="1191"/>
                  </a:lnTo>
                  <a:lnTo>
                    <a:pt x="87" y="1197"/>
                  </a:lnTo>
                  <a:lnTo>
                    <a:pt x="77" y="1210"/>
                  </a:lnTo>
                  <a:lnTo>
                    <a:pt x="69" y="1228"/>
                  </a:lnTo>
                  <a:lnTo>
                    <a:pt x="59" y="1246"/>
                  </a:lnTo>
                  <a:lnTo>
                    <a:pt x="49" y="1262"/>
                  </a:lnTo>
                  <a:lnTo>
                    <a:pt x="39" y="1275"/>
                  </a:lnTo>
                  <a:lnTo>
                    <a:pt x="33" y="1285"/>
                  </a:lnTo>
                  <a:lnTo>
                    <a:pt x="29" y="1289"/>
                  </a:lnTo>
                </a:path>
              </a:pathLst>
            </a:custGeom>
            <a:grpFill/>
            <a:ln w="6350">
              <a:solidFill>
                <a:schemeClr val="bg1"/>
              </a:solidFill>
              <a:prstDash val="solid"/>
              <a:round/>
            </a:ln>
          </p:spPr>
          <p:txBody>
            <a:bodyPr/>
            <a:lstStyle/>
            <a:p>
              <a:endParaRPr lang="zh-CN" altLang="en-US"/>
            </a:p>
          </p:txBody>
        </p:sp>
        <p:sp>
          <p:nvSpPr>
            <p:cNvPr id="24" name="Freeform 69"/>
            <p:cNvSpPr/>
            <p:nvPr/>
          </p:nvSpPr>
          <p:spPr bwMode="gray">
            <a:xfrm>
              <a:off x="900" y="2373"/>
              <a:ext cx="1448" cy="781"/>
            </a:xfrm>
            <a:custGeom>
              <a:avLst/>
              <a:gdLst>
                <a:gd name="T0" fmla="*/ 682 w 2896"/>
                <a:gd name="T1" fmla="*/ 376 h 1563"/>
                <a:gd name="T2" fmla="*/ 665 w 2896"/>
                <a:gd name="T3" fmla="*/ 372 h 1563"/>
                <a:gd name="T4" fmla="*/ 658 w 2896"/>
                <a:gd name="T5" fmla="*/ 380 h 1563"/>
                <a:gd name="T6" fmla="*/ 653 w 2896"/>
                <a:gd name="T7" fmla="*/ 378 h 1563"/>
                <a:gd name="T8" fmla="*/ 623 w 2896"/>
                <a:gd name="T9" fmla="*/ 368 h 1563"/>
                <a:gd name="T10" fmla="*/ 626 w 2896"/>
                <a:gd name="T11" fmla="*/ 363 h 1563"/>
                <a:gd name="T12" fmla="*/ 630 w 2896"/>
                <a:gd name="T13" fmla="*/ 349 h 1563"/>
                <a:gd name="T14" fmla="*/ 616 w 2896"/>
                <a:gd name="T15" fmla="*/ 326 h 1563"/>
                <a:gd name="T16" fmla="*/ 604 w 2896"/>
                <a:gd name="T17" fmla="*/ 331 h 1563"/>
                <a:gd name="T18" fmla="*/ 589 w 2896"/>
                <a:gd name="T19" fmla="*/ 341 h 1563"/>
                <a:gd name="T20" fmla="*/ 568 w 2896"/>
                <a:gd name="T21" fmla="*/ 333 h 1563"/>
                <a:gd name="T22" fmla="*/ 557 w 2896"/>
                <a:gd name="T23" fmla="*/ 332 h 1563"/>
                <a:gd name="T24" fmla="*/ 536 w 2896"/>
                <a:gd name="T25" fmla="*/ 348 h 1563"/>
                <a:gd name="T26" fmla="*/ 511 w 2896"/>
                <a:gd name="T27" fmla="*/ 355 h 1563"/>
                <a:gd name="T28" fmla="*/ 491 w 2896"/>
                <a:gd name="T29" fmla="*/ 376 h 1563"/>
                <a:gd name="T30" fmla="*/ 459 w 2896"/>
                <a:gd name="T31" fmla="*/ 388 h 1563"/>
                <a:gd name="T32" fmla="*/ 442 w 2896"/>
                <a:gd name="T33" fmla="*/ 382 h 1563"/>
                <a:gd name="T34" fmla="*/ 431 w 2896"/>
                <a:gd name="T35" fmla="*/ 370 h 1563"/>
                <a:gd name="T36" fmla="*/ 400 w 2896"/>
                <a:gd name="T37" fmla="*/ 364 h 1563"/>
                <a:gd name="T38" fmla="*/ 389 w 2896"/>
                <a:gd name="T39" fmla="*/ 353 h 1563"/>
                <a:gd name="T40" fmla="*/ 364 w 2896"/>
                <a:gd name="T41" fmla="*/ 368 h 1563"/>
                <a:gd name="T42" fmla="*/ 348 w 2896"/>
                <a:gd name="T43" fmla="*/ 384 h 1563"/>
                <a:gd name="T44" fmla="*/ 335 w 2896"/>
                <a:gd name="T45" fmla="*/ 390 h 1563"/>
                <a:gd name="T46" fmla="*/ 339 w 2896"/>
                <a:gd name="T47" fmla="*/ 373 h 1563"/>
                <a:gd name="T48" fmla="*/ 331 w 2896"/>
                <a:gd name="T49" fmla="*/ 359 h 1563"/>
                <a:gd name="T50" fmla="*/ 302 w 2896"/>
                <a:gd name="T51" fmla="*/ 366 h 1563"/>
                <a:gd name="T52" fmla="*/ 264 w 2896"/>
                <a:gd name="T53" fmla="*/ 352 h 1563"/>
                <a:gd name="T54" fmla="*/ 246 w 2896"/>
                <a:gd name="T55" fmla="*/ 351 h 1563"/>
                <a:gd name="T56" fmla="*/ 221 w 2896"/>
                <a:gd name="T57" fmla="*/ 336 h 1563"/>
                <a:gd name="T58" fmla="*/ 200 w 2896"/>
                <a:gd name="T59" fmla="*/ 320 h 1563"/>
                <a:gd name="T60" fmla="*/ 178 w 2896"/>
                <a:gd name="T61" fmla="*/ 301 h 1563"/>
                <a:gd name="T62" fmla="*/ 171 w 2896"/>
                <a:gd name="T63" fmla="*/ 281 h 1563"/>
                <a:gd name="T64" fmla="*/ 158 w 2896"/>
                <a:gd name="T65" fmla="*/ 288 h 1563"/>
                <a:gd name="T66" fmla="*/ 142 w 2896"/>
                <a:gd name="T67" fmla="*/ 265 h 1563"/>
                <a:gd name="T68" fmla="*/ 109 w 2896"/>
                <a:gd name="T69" fmla="*/ 235 h 1563"/>
                <a:gd name="T70" fmla="*/ 89 w 2896"/>
                <a:gd name="T71" fmla="*/ 223 h 1563"/>
                <a:gd name="T72" fmla="*/ 74 w 2896"/>
                <a:gd name="T73" fmla="*/ 228 h 1563"/>
                <a:gd name="T74" fmla="*/ 46 w 2896"/>
                <a:gd name="T75" fmla="*/ 195 h 1563"/>
                <a:gd name="T76" fmla="*/ 19 w 2896"/>
                <a:gd name="T77" fmla="*/ 169 h 1563"/>
                <a:gd name="T78" fmla="*/ 10 w 2896"/>
                <a:gd name="T79" fmla="*/ 162 h 1563"/>
                <a:gd name="T80" fmla="*/ 0 w 2896"/>
                <a:gd name="T81" fmla="*/ 157 h 1563"/>
                <a:gd name="T82" fmla="*/ 3 w 2896"/>
                <a:gd name="T83" fmla="*/ 135 h 1563"/>
                <a:gd name="T84" fmla="*/ 1 w 2896"/>
                <a:gd name="T85" fmla="*/ 112 h 1563"/>
                <a:gd name="T86" fmla="*/ 11 w 2896"/>
                <a:gd name="T87" fmla="*/ 109 h 1563"/>
                <a:gd name="T88" fmla="*/ 22 w 2896"/>
                <a:gd name="T89" fmla="*/ 118 h 1563"/>
                <a:gd name="T90" fmla="*/ 38 w 2896"/>
                <a:gd name="T91" fmla="*/ 112 h 1563"/>
                <a:gd name="T92" fmla="*/ 43 w 2896"/>
                <a:gd name="T93" fmla="*/ 90 h 1563"/>
                <a:gd name="T94" fmla="*/ 25 w 2896"/>
                <a:gd name="T95" fmla="*/ 76 h 1563"/>
                <a:gd name="T96" fmla="*/ 29 w 2896"/>
                <a:gd name="T97" fmla="*/ 51 h 1563"/>
                <a:gd name="T98" fmla="*/ 39 w 2896"/>
                <a:gd name="T99" fmla="*/ 36 h 1563"/>
                <a:gd name="T100" fmla="*/ 71 w 2896"/>
                <a:gd name="T101" fmla="*/ 26 h 1563"/>
                <a:gd name="T102" fmla="*/ 148 w 2896"/>
                <a:gd name="T103" fmla="*/ 20 h 1563"/>
                <a:gd name="T104" fmla="*/ 258 w 2896"/>
                <a:gd name="T105" fmla="*/ 20 h 1563"/>
                <a:gd name="T106" fmla="*/ 365 w 2896"/>
                <a:gd name="T107" fmla="*/ 3 h 1563"/>
                <a:gd name="T108" fmla="*/ 417 w 2896"/>
                <a:gd name="T109" fmla="*/ 39 h 1563"/>
                <a:gd name="T110" fmla="*/ 399 w 2896"/>
                <a:gd name="T111" fmla="*/ 107 h 1563"/>
                <a:gd name="T112" fmla="*/ 467 w 2896"/>
                <a:gd name="T113" fmla="*/ 166 h 1563"/>
                <a:gd name="T114" fmla="*/ 552 w 2896"/>
                <a:gd name="T115" fmla="*/ 189 h 1563"/>
                <a:gd name="T116" fmla="*/ 640 w 2896"/>
                <a:gd name="T117" fmla="*/ 234 h 1563"/>
                <a:gd name="T118" fmla="*/ 685 w 2896"/>
                <a:gd name="T119" fmla="*/ 200 h 1563"/>
                <a:gd name="T120" fmla="*/ 711 w 2896"/>
                <a:gd name="T121" fmla="*/ 258 h 1563"/>
                <a:gd name="T122" fmla="*/ 713 w 2896"/>
                <a:gd name="T123" fmla="*/ 353 h 1563"/>
                <a:gd name="T124" fmla="*/ 689 w 2896"/>
                <a:gd name="T125" fmla="*/ 384 h 1563"/>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2896"/>
                <a:gd name="T190" fmla="*/ 0 h 1563"/>
                <a:gd name="T191" fmla="*/ 2896 w 2896"/>
                <a:gd name="T192" fmla="*/ 1563 h 1563"/>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2896" h="1563">
                  <a:moveTo>
                    <a:pt x="2754" y="1539"/>
                  </a:moveTo>
                  <a:lnTo>
                    <a:pt x="2752" y="1535"/>
                  </a:lnTo>
                  <a:lnTo>
                    <a:pt x="2746" y="1528"/>
                  </a:lnTo>
                  <a:lnTo>
                    <a:pt x="2738" y="1516"/>
                  </a:lnTo>
                  <a:lnTo>
                    <a:pt x="2728" y="1504"/>
                  </a:lnTo>
                  <a:lnTo>
                    <a:pt x="2715" y="1496"/>
                  </a:lnTo>
                  <a:lnTo>
                    <a:pt x="2699" y="1490"/>
                  </a:lnTo>
                  <a:lnTo>
                    <a:pt x="2685" y="1486"/>
                  </a:lnTo>
                  <a:lnTo>
                    <a:pt x="2671" y="1486"/>
                  </a:lnTo>
                  <a:lnTo>
                    <a:pt x="2658" y="1490"/>
                  </a:lnTo>
                  <a:lnTo>
                    <a:pt x="2650" y="1500"/>
                  </a:lnTo>
                  <a:lnTo>
                    <a:pt x="2644" y="1510"/>
                  </a:lnTo>
                  <a:lnTo>
                    <a:pt x="2640" y="1516"/>
                  </a:lnTo>
                  <a:lnTo>
                    <a:pt x="2636" y="1520"/>
                  </a:lnTo>
                  <a:lnTo>
                    <a:pt x="2632" y="1522"/>
                  </a:lnTo>
                  <a:lnTo>
                    <a:pt x="2630" y="1524"/>
                  </a:lnTo>
                  <a:lnTo>
                    <a:pt x="2628" y="1524"/>
                  </a:lnTo>
                  <a:lnTo>
                    <a:pt x="2624" y="1522"/>
                  </a:lnTo>
                  <a:lnTo>
                    <a:pt x="2612" y="1514"/>
                  </a:lnTo>
                  <a:lnTo>
                    <a:pt x="2591" y="1504"/>
                  </a:lnTo>
                  <a:lnTo>
                    <a:pt x="2559" y="1492"/>
                  </a:lnTo>
                  <a:lnTo>
                    <a:pt x="2534" y="1486"/>
                  </a:lnTo>
                  <a:lnTo>
                    <a:pt x="2510" y="1480"/>
                  </a:lnTo>
                  <a:lnTo>
                    <a:pt x="2492" y="1474"/>
                  </a:lnTo>
                  <a:lnTo>
                    <a:pt x="2480" y="1472"/>
                  </a:lnTo>
                  <a:lnTo>
                    <a:pt x="2477" y="1472"/>
                  </a:lnTo>
                  <a:lnTo>
                    <a:pt x="2480" y="1468"/>
                  </a:lnTo>
                  <a:lnTo>
                    <a:pt x="2488" y="1463"/>
                  </a:lnTo>
                  <a:lnTo>
                    <a:pt x="2502" y="1453"/>
                  </a:lnTo>
                  <a:lnTo>
                    <a:pt x="2514" y="1443"/>
                  </a:lnTo>
                  <a:lnTo>
                    <a:pt x="2524" y="1431"/>
                  </a:lnTo>
                  <a:lnTo>
                    <a:pt x="2528" y="1421"/>
                  </a:lnTo>
                  <a:lnTo>
                    <a:pt x="2526" y="1411"/>
                  </a:lnTo>
                  <a:lnTo>
                    <a:pt x="2518" y="1396"/>
                  </a:lnTo>
                  <a:lnTo>
                    <a:pt x="2506" y="1376"/>
                  </a:lnTo>
                  <a:lnTo>
                    <a:pt x="2494" y="1356"/>
                  </a:lnTo>
                  <a:lnTo>
                    <a:pt x="2482" y="1337"/>
                  </a:lnTo>
                  <a:lnTo>
                    <a:pt x="2471" y="1319"/>
                  </a:lnTo>
                  <a:lnTo>
                    <a:pt x="2463" y="1307"/>
                  </a:lnTo>
                  <a:lnTo>
                    <a:pt x="2461" y="1303"/>
                  </a:lnTo>
                  <a:lnTo>
                    <a:pt x="2457" y="1305"/>
                  </a:lnTo>
                  <a:lnTo>
                    <a:pt x="2445" y="1309"/>
                  </a:lnTo>
                  <a:lnTo>
                    <a:pt x="2429" y="1317"/>
                  </a:lnTo>
                  <a:lnTo>
                    <a:pt x="2414" y="1325"/>
                  </a:lnTo>
                  <a:lnTo>
                    <a:pt x="2398" y="1333"/>
                  </a:lnTo>
                  <a:lnTo>
                    <a:pt x="2384" y="1341"/>
                  </a:lnTo>
                  <a:lnTo>
                    <a:pt x="2376" y="1348"/>
                  </a:lnTo>
                  <a:lnTo>
                    <a:pt x="2366" y="1358"/>
                  </a:lnTo>
                  <a:lnTo>
                    <a:pt x="2354" y="1366"/>
                  </a:lnTo>
                  <a:lnTo>
                    <a:pt x="2339" y="1366"/>
                  </a:lnTo>
                  <a:lnTo>
                    <a:pt x="2321" y="1362"/>
                  </a:lnTo>
                  <a:lnTo>
                    <a:pt x="2305" y="1354"/>
                  </a:lnTo>
                  <a:lnTo>
                    <a:pt x="2290" y="1344"/>
                  </a:lnTo>
                  <a:lnTo>
                    <a:pt x="2272" y="1335"/>
                  </a:lnTo>
                  <a:lnTo>
                    <a:pt x="2256" y="1327"/>
                  </a:lnTo>
                  <a:lnTo>
                    <a:pt x="2246" y="1321"/>
                  </a:lnTo>
                  <a:lnTo>
                    <a:pt x="2242" y="1319"/>
                  </a:lnTo>
                  <a:lnTo>
                    <a:pt x="2238" y="1323"/>
                  </a:lnTo>
                  <a:lnTo>
                    <a:pt x="2228" y="1331"/>
                  </a:lnTo>
                  <a:lnTo>
                    <a:pt x="2215" y="1342"/>
                  </a:lnTo>
                  <a:lnTo>
                    <a:pt x="2197" y="1354"/>
                  </a:lnTo>
                  <a:lnTo>
                    <a:pt x="2177" y="1370"/>
                  </a:lnTo>
                  <a:lnTo>
                    <a:pt x="2160" y="1382"/>
                  </a:lnTo>
                  <a:lnTo>
                    <a:pt x="2142" y="1394"/>
                  </a:lnTo>
                  <a:lnTo>
                    <a:pt x="2126" y="1402"/>
                  </a:lnTo>
                  <a:lnTo>
                    <a:pt x="2108" y="1405"/>
                  </a:lnTo>
                  <a:lnTo>
                    <a:pt x="2087" y="1411"/>
                  </a:lnTo>
                  <a:lnTo>
                    <a:pt x="2063" y="1415"/>
                  </a:lnTo>
                  <a:lnTo>
                    <a:pt x="2043" y="1423"/>
                  </a:lnTo>
                  <a:lnTo>
                    <a:pt x="2028" y="1431"/>
                  </a:lnTo>
                  <a:lnTo>
                    <a:pt x="2016" y="1445"/>
                  </a:lnTo>
                  <a:lnTo>
                    <a:pt x="2004" y="1465"/>
                  </a:lnTo>
                  <a:lnTo>
                    <a:pt x="1986" y="1486"/>
                  </a:lnTo>
                  <a:lnTo>
                    <a:pt x="1963" y="1506"/>
                  </a:lnTo>
                  <a:lnTo>
                    <a:pt x="1937" y="1522"/>
                  </a:lnTo>
                  <a:lnTo>
                    <a:pt x="1910" y="1531"/>
                  </a:lnTo>
                  <a:lnTo>
                    <a:pt x="1884" y="1539"/>
                  </a:lnTo>
                  <a:lnTo>
                    <a:pt x="1860" y="1547"/>
                  </a:lnTo>
                  <a:lnTo>
                    <a:pt x="1837" y="1555"/>
                  </a:lnTo>
                  <a:lnTo>
                    <a:pt x="1815" y="1561"/>
                  </a:lnTo>
                  <a:lnTo>
                    <a:pt x="1795" y="1561"/>
                  </a:lnTo>
                  <a:lnTo>
                    <a:pt x="1784" y="1553"/>
                  </a:lnTo>
                  <a:lnTo>
                    <a:pt x="1776" y="1541"/>
                  </a:lnTo>
                  <a:lnTo>
                    <a:pt x="1770" y="1528"/>
                  </a:lnTo>
                  <a:lnTo>
                    <a:pt x="1768" y="1514"/>
                  </a:lnTo>
                  <a:lnTo>
                    <a:pt x="1764" y="1502"/>
                  </a:lnTo>
                  <a:lnTo>
                    <a:pt x="1756" y="1492"/>
                  </a:lnTo>
                  <a:lnTo>
                    <a:pt x="1744" y="1484"/>
                  </a:lnTo>
                  <a:lnTo>
                    <a:pt x="1723" y="1480"/>
                  </a:lnTo>
                  <a:lnTo>
                    <a:pt x="1697" y="1478"/>
                  </a:lnTo>
                  <a:lnTo>
                    <a:pt x="1669" y="1476"/>
                  </a:lnTo>
                  <a:lnTo>
                    <a:pt x="1642" y="1472"/>
                  </a:lnTo>
                  <a:lnTo>
                    <a:pt x="1614" y="1466"/>
                  </a:lnTo>
                  <a:lnTo>
                    <a:pt x="1601" y="1459"/>
                  </a:lnTo>
                  <a:lnTo>
                    <a:pt x="1591" y="1449"/>
                  </a:lnTo>
                  <a:lnTo>
                    <a:pt x="1583" y="1439"/>
                  </a:lnTo>
                  <a:lnTo>
                    <a:pt x="1575" y="1429"/>
                  </a:lnTo>
                  <a:lnTo>
                    <a:pt x="1567" y="1419"/>
                  </a:lnTo>
                  <a:lnTo>
                    <a:pt x="1557" y="1415"/>
                  </a:lnTo>
                  <a:lnTo>
                    <a:pt x="1545" y="1415"/>
                  </a:lnTo>
                  <a:lnTo>
                    <a:pt x="1528" y="1421"/>
                  </a:lnTo>
                  <a:lnTo>
                    <a:pt x="1502" y="1437"/>
                  </a:lnTo>
                  <a:lnTo>
                    <a:pt x="1479" y="1455"/>
                  </a:lnTo>
                  <a:lnTo>
                    <a:pt x="1455" y="1472"/>
                  </a:lnTo>
                  <a:lnTo>
                    <a:pt x="1435" y="1492"/>
                  </a:lnTo>
                  <a:lnTo>
                    <a:pt x="1421" y="1508"/>
                  </a:lnTo>
                  <a:lnTo>
                    <a:pt x="1410" y="1520"/>
                  </a:lnTo>
                  <a:lnTo>
                    <a:pt x="1402" y="1528"/>
                  </a:lnTo>
                  <a:lnTo>
                    <a:pt x="1390" y="1537"/>
                  </a:lnTo>
                  <a:lnTo>
                    <a:pt x="1378" y="1547"/>
                  </a:lnTo>
                  <a:lnTo>
                    <a:pt x="1364" y="1555"/>
                  </a:lnTo>
                  <a:lnTo>
                    <a:pt x="1353" y="1561"/>
                  </a:lnTo>
                  <a:lnTo>
                    <a:pt x="1345" y="1563"/>
                  </a:lnTo>
                  <a:lnTo>
                    <a:pt x="1339" y="1561"/>
                  </a:lnTo>
                  <a:lnTo>
                    <a:pt x="1339" y="1553"/>
                  </a:lnTo>
                  <a:lnTo>
                    <a:pt x="1343" y="1541"/>
                  </a:lnTo>
                  <a:lnTo>
                    <a:pt x="1347" y="1528"/>
                  </a:lnTo>
                  <a:lnTo>
                    <a:pt x="1353" y="1510"/>
                  </a:lnTo>
                  <a:lnTo>
                    <a:pt x="1356" y="1492"/>
                  </a:lnTo>
                  <a:lnTo>
                    <a:pt x="1358" y="1476"/>
                  </a:lnTo>
                  <a:lnTo>
                    <a:pt x="1358" y="1461"/>
                  </a:lnTo>
                  <a:lnTo>
                    <a:pt x="1353" y="1449"/>
                  </a:lnTo>
                  <a:lnTo>
                    <a:pt x="1343" y="1441"/>
                  </a:lnTo>
                  <a:lnTo>
                    <a:pt x="1321" y="1437"/>
                  </a:lnTo>
                  <a:lnTo>
                    <a:pt x="1301" y="1441"/>
                  </a:lnTo>
                  <a:lnTo>
                    <a:pt x="1282" y="1449"/>
                  </a:lnTo>
                  <a:lnTo>
                    <a:pt x="1260" y="1457"/>
                  </a:lnTo>
                  <a:lnTo>
                    <a:pt x="1234" y="1463"/>
                  </a:lnTo>
                  <a:lnTo>
                    <a:pt x="1205" y="1465"/>
                  </a:lnTo>
                  <a:lnTo>
                    <a:pt x="1173" y="1459"/>
                  </a:lnTo>
                  <a:lnTo>
                    <a:pt x="1140" y="1449"/>
                  </a:lnTo>
                  <a:lnTo>
                    <a:pt x="1106" y="1435"/>
                  </a:lnTo>
                  <a:lnTo>
                    <a:pt x="1077" y="1421"/>
                  </a:lnTo>
                  <a:lnTo>
                    <a:pt x="1053" y="1409"/>
                  </a:lnTo>
                  <a:lnTo>
                    <a:pt x="1038" y="1402"/>
                  </a:lnTo>
                  <a:lnTo>
                    <a:pt x="1026" y="1398"/>
                  </a:lnTo>
                  <a:lnTo>
                    <a:pt x="1012" y="1400"/>
                  </a:lnTo>
                  <a:lnTo>
                    <a:pt x="998" y="1404"/>
                  </a:lnTo>
                  <a:lnTo>
                    <a:pt x="984" y="1405"/>
                  </a:lnTo>
                  <a:lnTo>
                    <a:pt x="969" y="1404"/>
                  </a:lnTo>
                  <a:lnTo>
                    <a:pt x="951" y="1396"/>
                  </a:lnTo>
                  <a:lnTo>
                    <a:pt x="931" y="1380"/>
                  </a:lnTo>
                  <a:lnTo>
                    <a:pt x="908" y="1364"/>
                  </a:lnTo>
                  <a:lnTo>
                    <a:pt x="884" y="1346"/>
                  </a:lnTo>
                  <a:lnTo>
                    <a:pt x="860" y="1331"/>
                  </a:lnTo>
                  <a:lnTo>
                    <a:pt x="843" y="1317"/>
                  </a:lnTo>
                  <a:lnTo>
                    <a:pt x="831" y="1307"/>
                  </a:lnTo>
                  <a:lnTo>
                    <a:pt x="817" y="1297"/>
                  </a:lnTo>
                  <a:lnTo>
                    <a:pt x="799" y="1283"/>
                  </a:lnTo>
                  <a:lnTo>
                    <a:pt x="778" y="1268"/>
                  </a:lnTo>
                  <a:lnTo>
                    <a:pt x="754" y="1250"/>
                  </a:lnTo>
                  <a:lnTo>
                    <a:pt x="734" y="1234"/>
                  </a:lnTo>
                  <a:lnTo>
                    <a:pt x="717" y="1219"/>
                  </a:lnTo>
                  <a:lnTo>
                    <a:pt x="709" y="1207"/>
                  </a:lnTo>
                  <a:lnTo>
                    <a:pt x="705" y="1189"/>
                  </a:lnTo>
                  <a:lnTo>
                    <a:pt x="701" y="1169"/>
                  </a:lnTo>
                  <a:lnTo>
                    <a:pt x="697" y="1150"/>
                  </a:lnTo>
                  <a:lnTo>
                    <a:pt x="691" y="1134"/>
                  </a:lnTo>
                  <a:lnTo>
                    <a:pt x="683" y="1126"/>
                  </a:lnTo>
                  <a:lnTo>
                    <a:pt x="675" y="1126"/>
                  </a:lnTo>
                  <a:lnTo>
                    <a:pt x="666" y="1132"/>
                  </a:lnTo>
                  <a:lnTo>
                    <a:pt x="656" y="1140"/>
                  </a:lnTo>
                  <a:lnTo>
                    <a:pt x="644" y="1148"/>
                  </a:lnTo>
                  <a:lnTo>
                    <a:pt x="632" y="1154"/>
                  </a:lnTo>
                  <a:lnTo>
                    <a:pt x="620" y="1156"/>
                  </a:lnTo>
                  <a:lnTo>
                    <a:pt x="612" y="1152"/>
                  </a:lnTo>
                  <a:lnTo>
                    <a:pt x="606" y="1142"/>
                  </a:lnTo>
                  <a:lnTo>
                    <a:pt x="591" y="1100"/>
                  </a:lnTo>
                  <a:lnTo>
                    <a:pt x="565" y="1063"/>
                  </a:lnTo>
                  <a:lnTo>
                    <a:pt x="532" y="1026"/>
                  </a:lnTo>
                  <a:lnTo>
                    <a:pt x="510" y="1006"/>
                  </a:lnTo>
                  <a:lnTo>
                    <a:pt x="484" y="984"/>
                  </a:lnTo>
                  <a:lnTo>
                    <a:pt x="461" y="963"/>
                  </a:lnTo>
                  <a:lnTo>
                    <a:pt x="437" y="943"/>
                  </a:lnTo>
                  <a:lnTo>
                    <a:pt x="419" y="923"/>
                  </a:lnTo>
                  <a:lnTo>
                    <a:pt x="406" y="908"/>
                  </a:lnTo>
                  <a:lnTo>
                    <a:pt x="390" y="894"/>
                  </a:lnTo>
                  <a:lnTo>
                    <a:pt x="374" y="890"/>
                  </a:lnTo>
                  <a:lnTo>
                    <a:pt x="356" y="892"/>
                  </a:lnTo>
                  <a:lnTo>
                    <a:pt x="343" y="900"/>
                  </a:lnTo>
                  <a:lnTo>
                    <a:pt x="331" y="910"/>
                  </a:lnTo>
                  <a:lnTo>
                    <a:pt x="321" y="919"/>
                  </a:lnTo>
                  <a:lnTo>
                    <a:pt x="309" y="921"/>
                  </a:lnTo>
                  <a:lnTo>
                    <a:pt x="295" y="913"/>
                  </a:lnTo>
                  <a:lnTo>
                    <a:pt x="280" y="898"/>
                  </a:lnTo>
                  <a:lnTo>
                    <a:pt x="266" y="870"/>
                  </a:lnTo>
                  <a:lnTo>
                    <a:pt x="246" y="839"/>
                  </a:lnTo>
                  <a:lnTo>
                    <a:pt x="217" y="809"/>
                  </a:lnTo>
                  <a:lnTo>
                    <a:pt x="183" y="782"/>
                  </a:lnTo>
                  <a:lnTo>
                    <a:pt x="152" y="756"/>
                  </a:lnTo>
                  <a:lnTo>
                    <a:pt x="124" y="734"/>
                  </a:lnTo>
                  <a:lnTo>
                    <a:pt x="105" y="717"/>
                  </a:lnTo>
                  <a:lnTo>
                    <a:pt x="87" y="697"/>
                  </a:lnTo>
                  <a:lnTo>
                    <a:pt x="73" y="677"/>
                  </a:lnTo>
                  <a:lnTo>
                    <a:pt x="61" y="662"/>
                  </a:lnTo>
                  <a:lnTo>
                    <a:pt x="53" y="652"/>
                  </a:lnTo>
                  <a:lnTo>
                    <a:pt x="51" y="648"/>
                  </a:lnTo>
                  <a:lnTo>
                    <a:pt x="47" y="648"/>
                  </a:lnTo>
                  <a:lnTo>
                    <a:pt x="40" y="650"/>
                  </a:lnTo>
                  <a:lnTo>
                    <a:pt x="30" y="650"/>
                  </a:lnTo>
                  <a:lnTo>
                    <a:pt x="20" y="648"/>
                  </a:lnTo>
                  <a:lnTo>
                    <a:pt x="8" y="646"/>
                  </a:lnTo>
                  <a:lnTo>
                    <a:pt x="2" y="638"/>
                  </a:lnTo>
                  <a:lnTo>
                    <a:pt x="0" y="628"/>
                  </a:lnTo>
                  <a:lnTo>
                    <a:pt x="4" y="614"/>
                  </a:lnTo>
                  <a:lnTo>
                    <a:pt x="10" y="593"/>
                  </a:lnTo>
                  <a:lnTo>
                    <a:pt x="14" y="575"/>
                  </a:lnTo>
                  <a:lnTo>
                    <a:pt x="14" y="559"/>
                  </a:lnTo>
                  <a:lnTo>
                    <a:pt x="12" y="541"/>
                  </a:lnTo>
                  <a:lnTo>
                    <a:pt x="10" y="524"/>
                  </a:lnTo>
                  <a:lnTo>
                    <a:pt x="12" y="504"/>
                  </a:lnTo>
                  <a:lnTo>
                    <a:pt x="12" y="482"/>
                  </a:lnTo>
                  <a:lnTo>
                    <a:pt x="8" y="463"/>
                  </a:lnTo>
                  <a:lnTo>
                    <a:pt x="6" y="449"/>
                  </a:lnTo>
                  <a:lnTo>
                    <a:pt x="4" y="439"/>
                  </a:lnTo>
                  <a:lnTo>
                    <a:pt x="10" y="431"/>
                  </a:lnTo>
                  <a:lnTo>
                    <a:pt x="22" y="427"/>
                  </a:lnTo>
                  <a:lnTo>
                    <a:pt x="34" y="429"/>
                  </a:lnTo>
                  <a:lnTo>
                    <a:pt x="44" y="437"/>
                  </a:lnTo>
                  <a:lnTo>
                    <a:pt x="51" y="449"/>
                  </a:lnTo>
                  <a:lnTo>
                    <a:pt x="57" y="461"/>
                  </a:lnTo>
                  <a:lnTo>
                    <a:pt x="65" y="471"/>
                  </a:lnTo>
                  <a:lnTo>
                    <a:pt x="75" y="475"/>
                  </a:lnTo>
                  <a:lnTo>
                    <a:pt x="87" y="473"/>
                  </a:lnTo>
                  <a:lnTo>
                    <a:pt x="105" y="465"/>
                  </a:lnTo>
                  <a:lnTo>
                    <a:pt x="118" y="463"/>
                  </a:lnTo>
                  <a:lnTo>
                    <a:pt x="132" y="463"/>
                  </a:lnTo>
                  <a:lnTo>
                    <a:pt x="144" y="459"/>
                  </a:lnTo>
                  <a:lnTo>
                    <a:pt x="152" y="451"/>
                  </a:lnTo>
                  <a:lnTo>
                    <a:pt x="158" y="435"/>
                  </a:lnTo>
                  <a:lnTo>
                    <a:pt x="164" y="412"/>
                  </a:lnTo>
                  <a:lnTo>
                    <a:pt x="169" y="394"/>
                  </a:lnTo>
                  <a:lnTo>
                    <a:pt x="171" y="376"/>
                  </a:lnTo>
                  <a:lnTo>
                    <a:pt x="169" y="360"/>
                  </a:lnTo>
                  <a:lnTo>
                    <a:pt x="156" y="347"/>
                  </a:lnTo>
                  <a:lnTo>
                    <a:pt x="140" y="335"/>
                  </a:lnTo>
                  <a:lnTo>
                    <a:pt x="122" y="325"/>
                  </a:lnTo>
                  <a:lnTo>
                    <a:pt x="108" y="315"/>
                  </a:lnTo>
                  <a:lnTo>
                    <a:pt x="99" y="305"/>
                  </a:lnTo>
                  <a:lnTo>
                    <a:pt x="97" y="293"/>
                  </a:lnTo>
                  <a:lnTo>
                    <a:pt x="101" y="278"/>
                  </a:lnTo>
                  <a:lnTo>
                    <a:pt x="108" y="254"/>
                  </a:lnTo>
                  <a:lnTo>
                    <a:pt x="114" y="229"/>
                  </a:lnTo>
                  <a:lnTo>
                    <a:pt x="118" y="205"/>
                  </a:lnTo>
                  <a:lnTo>
                    <a:pt x="124" y="183"/>
                  </a:lnTo>
                  <a:lnTo>
                    <a:pt x="132" y="168"/>
                  </a:lnTo>
                  <a:lnTo>
                    <a:pt x="140" y="158"/>
                  </a:lnTo>
                  <a:lnTo>
                    <a:pt x="148" y="150"/>
                  </a:lnTo>
                  <a:lnTo>
                    <a:pt x="154" y="146"/>
                  </a:lnTo>
                  <a:lnTo>
                    <a:pt x="158" y="142"/>
                  </a:lnTo>
                  <a:lnTo>
                    <a:pt x="160" y="140"/>
                  </a:lnTo>
                  <a:lnTo>
                    <a:pt x="162" y="138"/>
                  </a:lnTo>
                  <a:lnTo>
                    <a:pt x="256" y="152"/>
                  </a:lnTo>
                  <a:lnTo>
                    <a:pt x="284" y="105"/>
                  </a:lnTo>
                  <a:lnTo>
                    <a:pt x="355" y="42"/>
                  </a:lnTo>
                  <a:lnTo>
                    <a:pt x="384" y="24"/>
                  </a:lnTo>
                  <a:lnTo>
                    <a:pt x="492" y="61"/>
                  </a:lnTo>
                  <a:lnTo>
                    <a:pt x="530" y="87"/>
                  </a:lnTo>
                  <a:lnTo>
                    <a:pt x="589" y="81"/>
                  </a:lnTo>
                  <a:lnTo>
                    <a:pt x="626" y="36"/>
                  </a:lnTo>
                  <a:lnTo>
                    <a:pt x="792" y="67"/>
                  </a:lnTo>
                  <a:lnTo>
                    <a:pt x="841" y="106"/>
                  </a:lnTo>
                  <a:lnTo>
                    <a:pt x="896" y="118"/>
                  </a:lnTo>
                  <a:lnTo>
                    <a:pt x="1032" y="81"/>
                  </a:lnTo>
                  <a:lnTo>
                    <a:pt x="1071" y="105"/>
                  </a:lnTo>
                  <a:lnTo>
                    <a:pt x="1179" y="34"/>
                  </a:lnTo>
                  <a:lnTo>
                    <a:pt x="1297" y="32"/>
                  </a:lnTo>
                  <a:lnTo>
                    <a:pt x="1366" y="0"/>
                  </a:lnTo>
                  <a:lnTo>
                    <a:pt x="1461" y="12"/>
                  </a:lnTo>
                  <a:lnTo>
                    <a:pt x="1575" y="87"/>
                  </a:lnTo>
                  <a:lnTo>
                    <a:pt x="1666" y="75"/>
                  </a:lnTo>
                  <a:lnTo>
                    <a:pt x="1669" y="110"/>
                  </a:lnTo>
                  <a:lnTo>
                    <a:pt x="1628" y="138"/>
                  </a:lnTo>
                  <a:lnTo>
                    <a:pt x="1667" y="158"/>
                  </a:lnTo>
                  <a:lnTo>
                    <a:pt x="1666" y="205"/>
                  </a:lnTo>
                  <a:lnTo>
                    <a:pt x="1632" y="295"/>
                  </a:lnTo>
                  <a:lnTo>
                    <a:pt x="1634" y="347"/>
                  </a:lnTo>
                  <a:lnTo>
                    <a:pt x="1589" y="349"/>
                  </a:lnTo>
                  <a:lnTo>
                    <a:pt x="1595" y="431"/>
                  </a:lnTo>
                  <a:lnTo>
                    <a:pt x="1650" y="520"/>
                  </a:lnTo>
                  <a:lnTo>
                    <a:pt x="1701" y="632"/>
                  </a:lnTo>
                  <a:lnTo>
                    <a:pt x="1774" y="628"/>
                  </a:lnTo>
                  <a:lnTo>
                    <a:pt x="1845" y="663"/>
                  </a:lnTo>
                  <a:lnTo>
                    <a:pt x="1870" y="665"/>
                  </a:lnTo>
                  <a:lnTo>
                    <a:pt x="1902" y="683"/>
                  </a:lnTo>
                  <a:lnTo>
                    <a:pt x="1978" y="730"/>
                  </a:lnTo>
                  <a:lnTo>
                    <a:pt x="2041" y="726"/>
                  </a:lnTo>
                  <a:lnTo>
                    <a:pt x="2110" y="758"/>
                  </a:lnTo>
                  <a:lnTo>
                    <a:pt x="2207" y="756"/>
                  </a:lnTo>
                  <a:lnTo>
                    <a:pt x="2321" y="799"/>
                  </a:lnTo>
                  <a:lnTo>
                    <a:pt x="2402" y="860"/>
                  </a:lnTo>
                  <a:lnTo>
                    <a:pt x="2410" y="913"/>
                  </a:lnTo>
                  <a:lnTo>
                    <a:pt x="2486" y="923"/>
                  </a:lnTo>
                  <a:lnTo>
                    <a:pt x="2557" y="939"/>
                  </a:lnTo>
                  <a:lnTo>
                    <a:pt x="2628" y="843"/>
                  </a:lnTo>
                  <a:lnTo>
                    <a:pt x="2644" y="793"/>
                  </a:lnTo>
                  <a:lnTo>
                    <a:pt x="2634" y="758"/>
                  </a:lnTo>
                  <a:lnTo>
                    <a:pt x="2681" y="764"/>
                  </a:lnTo>
                  <a:lnTo>
                    <a:pt x="2740" y="803"/>
                  </a:lnTo>
                  <a:lnTo>
                    <a:pt x="2786" y="829"/>
                  </a:lnTo>
                  <a:lnTo>
                    <a:pt x="2817" y="925"/>
                  </a:lnTo>
                  <a:lnTo>
                    <a:pt x="2880" y="992"/>
                  </a:lnTo>
                  <a:lnTo>
                    <a:pt x="2874" y="1020"/>
                  </a:lnTo>
                  <a:lnTo>
                    <a:pt x="2841" y="1033"/>
                  </a:lnTo>
                  <a:lnTo>
                    <a:pt x="2880" y="1106"/>
                  </a:lnTo>
                  <a:lnTo>
                    <a:pt x="2894" y="1240"/>
                  </a:lnTo>
                  <a:lnTo>
                    <a:pt x="2896" y="1358"/>
                  </a:lnTo>
                  <a:lnTo>
                    <a:pt x="2858" y="1378"/>
                  </a:lnTo>
                  <a:lnTo>
                    <a:pt x="2849" y="1413"/>
                  </a:lnTo>
                  <a:lnTo>
                    <a:pt x="2829" y="1472"/>
                  </a:lnTo>
                  <a:lnTo>
                    <a:pt x="2835" y="1528"/>
                  </a:lnTo>
                  <a:lnTo>
                    <a:pt x="2799" y="1541"/>
                  </a:lnTo>
                  <a:lnTo>
                    <a:pt x="2774" y="1520"/>
                  </a:lnTo>
                  <a:lnTo>
                    <a:pt x="2754" y="1539"/>
                  </a:lnTo>
                  <a:close/>
                </a:path>
              </a:pathLst>
            </a:custGeom>
            <a:grpFill/>
            <a:ln w="0">
              <a:solidFill>
                <a:schemeClr val="bg1"/>
              </a:solidFill>
              <a:prstDash val="solid"/>
              <a:round/>
            </a:ln>
          </p:spPr>
          <p:txBody>
            <a:bodyPr/>
            <a:lstStyle/>
            <a:p>
              <a:endParaRPr lang="zh-CN" altLang="en-US"/>
            </a:p>
          </p:txBody>
        </p:sp>
        <p:sp>
          <p:nvSpPr>
            <p:cNvPr id="25" name="Freeform 70"/>
            <p:cNvSpPr/>
            <p:nvPr/>
          </p:nvSpPr>
          <p:spPr bwMode="gray">
            <a:xfrm>
              <a:off x="900" y="2373"/>
              <a:ext cx="1448" cy="781"/>
            </a:xfrm>
            <a:custGeom>
              <a:avLst/>
              <a:gdLst>
                <a:gd name="T0" fmla="*/ 682 w 2896"/>
                <a:gd name="T1" fmla="*/ 376 h 1563"/>
                <a:gd name="T2" fmla="*/ 665 w 2896"/>
                <a:gd name="T3" fmla="*/ 372 h 1563"/>
                <a:gd name="T4" fmla="*/ 658 w 2896"/>
                <a:gd name="T5" fmla="*/ 380 h 1563"/>
                <a:gd name="T6" fmla="*/ 653 w 2896"/>
                <a:gd name="T7" fmla="*/ 378 h 1563"/>
                <a:gd name="T8" fmla="*/ 623 w 2896"/>
                <a:gd name="T9" fmla="*/ 368 h 1563"/>
                <a:gd name="T10" fmla="*/ 626 w 2896"/>
                <a:gd name="T11" fmla="*/ 363 h 1563"/>
                <a:gd name="T12" fmla="*/ 630 w 2896"/>
                <a:gd name="T13" fmla="*/ 349 h 1563"/>
                <a:gd name="T14" fmla="*/ 616 w 2896"/>
                <a:gd name="T15" fmla="*/ 326 h 1563"/>
                <a:gd name="T16" fmla="*/ 604 w 2896"/>
                <a:gd name="T17" fmla="*/ 331 h 1563"/>
                <a:gd name="T18" fmla="*/ 589 w 2896"/>
                <a:gd name="T19" fmla="*/ 341 h 1563"/>
                <a:gd name="T20" fmla="*/ 568 w 2896"/>
                <a:gd name="T21" fmla="*/ 333 h 1563"/>
                <a:gd name="T22" fmla="*/ 557 w 2896"/>
                <a:gd name="T23" fmla="*/ 332 h 1563"/>
                <a:gd name="T24" fmla="*/ 536 w 2896"/>
                <a:gd name="T25" fmla="*/ 348 h 1563"/>
                <a:gd name="T26" fmla="*/ 511 w 2896"/>
                <a:gd name="T27" fmla="*/ 355 h 1563"/>
                <a:gd name="T28" fmla="*/ 491 w 2896"/>
                <a:gd name="T29" fmla="*/ 376 h 1563"/>
                <a:gd name="T30" fmla="*/ 459 w 2896"/>
                <a:gd name="T31" fmla="*/ 388 h 1563"/>
                <a:gd name="T32" fmla="*/ 442 w 2896"/>
                <a:gd name="T33" fmla="*/ 382 h 1563"/>
                <a:gd name="T34" fmla="*/ 431 w 2896"/>
                <a:gd name="T35" fmla="*/ 370 h 1563"/>
                <a:gd name="T36" fmla="*/ 400 w 2896"/>
                <a:gd name="T37" fmla="*/ 364 h 1563"/>
                <a:gd name="T38" fmla="*/ 389 w 2896"/>
                <a:gd name="T39" fmla="*/ 353 h 1563"/>
                <a:gd name="T40" fmla="*/ 364 w 2896"/>
                <a:gd name="T41" fmla="*/ 368 h 1563"/>
                <a:gd name="T42" fmla="*/ 348 w 2896"/>
                <a:gd name="T43" fmla="*/ 384 h 1563"/>
                <a:gd name="T44" fmla="*/ 335 w 2896"/>
                <a:gd name="T45" fmla="*/ 390 h 1563"/>
                <a:gd name="T46" fmla="*/ 339 w 2896"/>
                <a:gd name="T47" fmla="*/ 373 h 1563"/>
                <a:gd name="T48" fmla="*/ 331 w 2896"/>
                <a:gd name="T49" fmla="*/ 359 h 1563"/>
                <a:gd name="T50" fmla="*/ 302 w 2896"/>
                <a:gd name="T51" fmla="*/ 366 h 1563"/>
                <a:gd name="T52" fmla="*/ 264 w 2896"/>
                <a:gd name="T53" fmla="*/ 352 h 1563"/>
                <a:gd name="T54" fmla="*/ 246 w 2896"/>
                <a:gd name="T55" fmla="*/ 351 h 1563"/>
                <a:gd name="T56" fmla="*/ 221 w 2896"/>
                <a:gd name="T57" fmla="*/ 336 h 1563"/>
                <a:gd name="T58" fmla="*/ 200 w 2896"/>
                <a:gd name="T59" fmla="*/ 320 h 1563"/>
                <a:gd name="T60" fmla="*/ 178 w 2896"/>
                <a:gd name="T61" fmla="*/ 301 h 1563"/>
                <a:gd name="T62" fmla="*/ 171 w 2896"/>
                <a:gd name="T63" fmla="*/ 281 h 1563"/>
                <a:gd name="T64" fmla="*/ 158 w 2896"/>
                <a:gd name="T65" fmla="*/ 288 h 1563"/>
                <a:gd name="T66" fmla="*/ 142 w 2896"/>
                <a:gd name="T67" fmla="*/ 265 h 1563"/>
                <a:gd name="T68" fmla="*/ 109 w 2896"/>
                <a:gd name="T69" fmla="*/ 235 h 1563"/>
                <a:gd name="T70" fmla="*/ 89 w 2896"/>
                <a:gd name="T71" fmla="*/ 223 h 1563"/>
                <a:gd name="T72" fmla="*/ 74 w 2896"/>
                <a:gd name="T73" fmla="*/ 228 h 1563"/>
                <a:gd name="T74" fmla="*/ 46 w 2896"/>
                <a:gd name="T75" fmla="*/ 195 h 1563"/>
                <a:gd name="T76" fmla="*/ 19 w 2896"/>
                <a:gd name="T77" fmla="*/ 169 h 1563"/>
                <a:gd name="T78" fmla="*/ 10 w 2896"/>
                <a:gd name="T79" fmla="*/ 162 h 1563"/>
                <a:gd name="T80" fmla="*/ 0 w 2896"/>
                <a:gd name="T81" fmla="*/ 157 h 1563"/>
                <a:gd name="T82" fmla="*/ 3 w 2896"/>
                <a:gd name="T83" fmla="*/ 135 h 1563"/>
                <a:gd name="T84" fmla="*/ 1 w 2896"/>
                <a:gd name="T85" fmla="*/ 112 h 1563"/>
                <a:gd name="T86" fmla="*/ 11 w 2896"/>
                <a:gd name="T87" fmla="*/ 109 h 1563"/>
                <a:gd name="T88" fmla="*/ 22 w 2896"/>
                <a:gd name="T89" fmla="*/ 118 h 1563"/>
                <a:gd name="T90" fmla="*/ 38 w 2896"/>
                <a:gd name="T91" fmla="*/ 112 h 1563"/>
                <a:gd name="T92" fmla="*/ 43 w 2896"/>
                <a:gd name="T93" fmla="*/ 90 h 1563"/>
                <a:gd name="T94" fmla="*/ 25 w 2896"/>
                <a:gd name="T95" fmla="*/ 76 h 1563"/>
                <a:gd name="T96" fmla="*/ 29 w 2896"/>
                <a:gd name="T97" fmla="*/ 51 h 1563"/>
                <a:gd name="T98" fmla="*/ 39 w 2896"/>
                <a:gd name="T99" fmla="*/ 36 h 1563"/>
                <a:gd name="T100" fmla="*/ 71 w 2896"/>
                <a:gd name="T101" fmla="*/ 26 h 1563"/>
                <a:gd name="T102" fmla="*/ 148 w 2896"/>
                <a:gd name="T103" fmla="*/ 20 h 1563"/>
                <a:gd name="T104" fmla="*/ 258 w 2896"/>
                <a:gd name="T105" fmla="*/ 20 h 1563"/>
                <a:gd name="T106" fmla="*/ 365 w 2896"/>
                <a:gd name="T107" fmla="*/ 3 h 1563"/>
                <a:gd name="T108" fmla="*/ 417 w 2896"/>
                <a:gd name="T109" fmla="*/ 39 h 1563"/>
                <a:gd name="T110" fmla="*/ 399 w 2896"/>
                <a:gd name="T111" fmla="*/ 107 h 1563"/>
                <a:gd name="T112" fmla="*/ 467 w 2896"/>
                <a:gd name="T113" fmla="*/ 166 h 1563"/>
                <a:gd name="T114" fmla="*/ 552 w 2896"/>
                <a:gd name="T115" fmla="*/ 189 h 1563"/>
                <a:gd name="T116" fmla="*/ 640 w 2896"/>
                <a:gd name="T117" fmla="*/ 234 h 1563"/>
                <a:gd name="T118" fmla="*/ 685 w 2896"/>
                <a:gd name="T119" fmla="*/ 200 h 1563"/>
                <a:gd name="T120" fmla="*/ 711 w 2896"/>
                <a:gd name="T121" fmla="*/ 258 h 1563"/>
                <a:gd name="T122" fmla="*/ 713 w 2896"/>
                <a:gd name="T123" fmla="*/ 353 h 1563"/>
                <a:gd name="T124" fmla="*/ 689 w 2896"/>
                <a:gd name="T125" fmla="*/ 384 h 1563"/>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2896"/>
                <a:gd name="T190" fmla="*/ 0 h 1563"/>
                <a:gd name="T191" fmla="*/ 2896 w 2896"/>
                <a:gd name="T192" fmla="*/ 1563 h 1563"/>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2896" h="1563">
                  <a:moveTo>
                    <a:pt x="2754" y="1539"/>
                  </a:moveTo>
                  <a:lnTo>
                    <a:pt x="2752" y="1535"/>
                  </a:lnTo>
                  <a:lnTo>
                    <a:pt x="2746" y="1528"/>
                  </a:lnTo>
                  <a:lnTo>
                    <a:pt x="2738" y="1516"/>
                  </a:lnTo>
                  <a:lnTo>
                    <a:pt x="2728" y="1504"/>
                  </a:lnTo>
                  <a:lnTo>
                    <a:pt x="2715" y="1496"/>
                  </a:lnTo>
                  <a:lnTo>
                    <a:pt x="2699" y="1490"/>
                  </a:lnTo>
                  <a:lnTo>
                    <a:pt x="2685" y="1486"/>
                  </a:lnTo>
                  <a:lnTo>
                    <a:pt x="2671" y="1486"/>
                  </a:lnTo>
                  <a:lnTo>
                    <a:pt x="2658" y="1490"/>
                  </a:lnTo>
                  <a:lnTo>
                    <a:pt x="2650" y="1500"/>
                  </a:lnTo>
                  <a:lnTo>
                    <a:pt x="2644" y="1510"/>
                  </a:lnTo>
                  <a:lnTo>
                    <a:pt x="2640" y="1516"/>
                  </a:lnTo>
                  <a:lnTo>
                    <a:pt x="2636" y="1520"/>
                  </a:lnTo>
                  <a:lnTo>
                    <a:pt x="2632" y="1522"/>
                  </a:lnTo>
                  <a:lnTo>
                    <a:pt x="2630" y="1524"/>
                  </a:lnTo>
                  <a:lnTo>
                    <a:pt x="2628" y="1524"/>
                  </a:lnTo>
                  <a:lnTo>
                    <a:pt x="2624" y="1522"/>
                  </a:lnTo>
                  <a:lnTo>
                    <a:pt x="2612" y="1514"/>
                  </a:lnTo>
                  <a:lnTo>
                    <a:pt x="2591" y="1504"/>
                  </a:lnTo>
                  <a:lnTo>
                    <a:pt x="2559" y="1492"/>
                  </a:lnTo>
                  <a:lnTo>
                    <a:pt x="2534" y="1486"/>
                  </a:lnTo>
                  <a:lnTo>
                    <a:pt x="2510" y="1480"/>
                  </a:lnTo>
                  <a:lnTo>
                    <a:pt x="2492" y="1474"/>
                  </a:lnTo>
                  <a:lnTo>
                    <a:pt x="2480" y="1472"/>
                  </a:lnTo>
                  <a:lnTo>
                    <a:pt x="2477" y="1472"/>
                  </a:lnTo>
                  <a:lnTo>
                    <a:pt x="2480" y="1468"/>
                  </a:lnTo>
                  <a:lnTo>
                    <a:pt x="2488" y="1463"/>
                  </a:lnTo>
                  <a:lnTo>
                    <a:pt x="2502" y="1453"/>
                  </a:lnTo>
                  <a:lnTo>
                    <a:pt x="2514" y="1443"/>
                  </a:lnTo>
                  <a:lnTo>
                    <a:pt x="2524" y="1431"/>
                  </a:lnTo>
                  <a:lnTo>
                    <a:pt x="2528" y="1421"/>
                  </a:lnTo>
                  <a:lnTo>
                    <a:pt x="2526" y="1411"/>
                  </a:lnTo>
                  <a:lnTo>
                    <a:pt x="2518" y="1396"/>
                  </a:lnTo>
                  <a:lnTo>
                    <a:pt x="2506" y="1376"/>
                  </a:lnTo>
                  <a:lnTo>
                    <a:pt x="2494" y="1356"/>
                  </a:lnTo>
                  <a:lnTo>
                    <a:pt x="2482" y="1337"/>
                  </a:lnTo>
                  <a:lnTo>
                    <a:pt x="2471" y="1319"/>
                  </a:lnTo>
                  <a:lnTo>
                    <a:pt x="2463" y="1307"/>
                  </a:lnTo>
                  <a:lnTo>
                    <a:pt x="2461" y="1303"/>
                  </a:lnTo>
                  <a:lnTo>
                    <a:pt x="2457" y="1305"/>
                  </a:lnTo>
                  <a:lnTo>
                    <a:pt x="2445" y="1309"/>
                  </a:lnTo>
                  <a:lnTo>
                    <a:pt x="2429" y="1317"/>
                  </a:lnTo>
                  <a:lnTo>
                    <a:pt x="2414" y="1325"/>
                  </a:lnTo>
                  <a:lnTo>
                    <a:pt x="2398" y="1333"/>
                  </a:lnTo>
                  <a:lnTo>
                    <a:pt x="2384" y="1341"/>
                  </a:lnTo>
                  <a:lnTo>
                    <a:pt x="2376" y="1348"/>
                  </a:lnTo>
                  <a:lnTo>
                    <a:pt x="2366" y="1358"/>
                  </a:lnTo>
                  <a:lnTo>
                    <a:pt x="2354" y="1366"/>
                  </a:lnTo>
                  <a:lnTo>
                    <a:pt x="2339" y="1366"/>
                  </a:lnTo>
                  <a:lnTo>
                    <a:pt x="2321" y="1362"/>
                  </a:lnTo>
                  <a:lnTo>
                    <a:pt x="2305" y="1354"/>
                  </a:lnTo>
                  <a:lnTo>
                    <a:pt x="2290" y="1344"/>
                  </a:lnTo>
                  <a:lnTo>
                    <a:pt x="2272" y="1335"/>
                  </a:lnTo>
                  <a:lnTo>
                    <a:pt x="2256" y="1327"/>
                  </a:lnTo>
                  <a:lnTo>
                    <a:pt x="2246" y="1321"/>
                  </a:lnTo>
                  <a:lnTo>
                    <a:pt x="2242" y="1319"/>
                  </a:lnTo>
                  <a:lnTo>
                    <a:pt x="2238" y="1323"/>
                  </a:lnTo>
                  <a:lnTo>
                    <a:pt x="2228" y="1331"/>
                  </a:lnTo>
                  <a:lnTo>
                    <a:pt x="2215" y="1342"/>
                  </a:lnTo>
                  <a:lnTo>
                    <a:pt x="2197" y="1354"/>
                  </a:lnTo>
                  <a:lnTo>
                    <a:pt x="2177" y="1370"/>
                  </a:lnTo>
                  <a:lnTo>
                    <a:pt x="2160" y="1382"/>
                  </a:lnTo>
                  <a:lnTo>
                    <a:pt x="2142" y="1394"/>
                  </a:lnTo>
                  <a:lnTo>
                    <a:pt x="2126" y="1402"/>
                  </a:lnTo>
                  <a:lnTo>
                    <a:pt x="2108" y="1405"/>
                  </a:lnTo>
                  <a:lnTo>
                    <a:pt x="2087" y="1411"/>
                  </a:lnTo>
                  <a:lnTo>
                    <a:pt x="2063" y="1415"/>
                  </a:lnTo>
                  <a:lnTo>
                    <a:pt x="2043" y="1423"/>
                  </a:lnTo>
                  <a:lnTo>
                    <a:pt x="2028" y="1431"/>
                  </a:lnTo>
                  <a:lnTo>
                    <a:pt x="2016" y="1445"/>
                  </a:lnTo>
                  <a:lnTo>
                    <a:pt x="2004" y="1465"/>
                  </a:lnTo>
                  <a:lnTo>
                    <a:pt x="1986" y="1486"/>
                  </a:lnTo>
                  <a:lnTo>
                    <a:pt x="1963" y="1506"/>
                  </a:lnTo>
                  <a:lnTo>
                    <a:pt x="1937" y="1522"/>
                  </a:lnTo>
                  <a:lnTo>
                    <a:pt x="1910" y="1531"/>
                  </a:lnTo>
                  <a:lnTo>
                    <a:pt x="1884" y="1539"/>
                  </a:lnTo>
                  <a:lnTo>
                    <a:pt x="1860" y="1547"/>
                  </a:lnTo>
                  <a:lnTo>
                    <a:pt x="1837" y="1555"/>
                  </a:lnTo>
                  <a:lnTo>
                    <a:pt x="1815" y="1561"/>
                  </a:lnTo>
                  <a:lnTo>
                    <a:pt x="1795" y="1561"/>
                  </a:lnTo>
                  <a:lnTo>
                    <a:pt x="1784" y="1553"/>
                  </a:lnTo>
                  <a:lnTo>
                    <a:pt x="1776" y="1541"/>
                  </a:lnTo>
                  <a:lnTo>
                    <a:pt x="1770" y="1528"/>
                  </a:lnTo>
                  <a:lnTo>
                    <a:pt x="1768" y="1514"/>
                  </a:lnTo>
                  <a:lnTo>
                    <a:pt x="1764" y="1502"/>
                  </a:lnTo>
                  <a:lnTo>
                    <a:pt x="1756" y="1492"/>
                  </a:lnTo>
                  <a:lnTo>
                    <a:pt x="1744" y="1484"/>
                  </a:lnTo>
                  <a:lnTo>
                    <a:pt x="1723" y="1480"/>
                  </a:lnTo>
                  <a:lnTo>
                    <a:pt x="1697" y="1478"/>
                  </a:lnTo>
                  <a:lnTo>
                    <a:pt x="1669" y="1476"/>
                  </a:lnTo>
                  <a:lnTo>
                    <a:pt x="1642" y="1472"/>
                  </a:lnTo>
                  <a:lnTo>
                    <a:pt x="1614" y="1466"/>
                  </a:lnTo>
                  <a:lnTo>
                    <a:pt x="1601" y="1459"/>
                  </a:lnTo>
                  <a:lnTo>
                    <a:pt x="1591" y="1449"/>
                  </a:lnTo>
                  <a:lnTo>
                    <a:pt x="1583" y="1439"/>
                  </a:lnTo>
                  <a:lnTo>
                    <a:pt x="1575" y="1429"/>
                  </a:lnTo>
                  <a:lnTo>
                    <a:pt x="1567" y="1419"/>
                  </a:lnTo>
                  <a:lnTo>
                    <a:pt x="1557" y="1415"/>
                  </a:lnTo>
                  <a:lnTo>
                    <a:pt x="1545" y="1415"/>
                  </a:lnTo>
                  <a:lnTo>
                    <a:pt x="1528" y="1421"/>
                  </a:lnTo>
                  <a:lnTo>
                    <a:pt x="1502" y="1437"/>
                  </a:lnTo>
                  <a:lnTo>
                    <a:pt x="1479" y="1455"/>
                  </a:lnTo>
                  <a:lnTo>
                    <a:pt x="1455" y="1472"/>
                  </a:lnTo>
                  <a:lnTo>
                    <a:pt x="1435" y="1492"/>
                  </a:lnTo>
                  <a:lnTo>
                    <a:pt x="1421" y="1508"/>
                  </a:lnTo>
                  <a:lnTo>
                    <a:pt x="1410" y="1520"/>
                  </a:lnTo>
                  <a:lnTo>
                    <a:pt x="1402" y="1528"/>
                  </a:lnTo>
                  <a:lnTo>
                    <a:pt x="1390" y="1537"/>
                  </a:lnTo>
                  <a:lnTo>
                    <a:pt x="1378" y="1547"/>
                  </a:lnTo>
                  <a:lnTo>
                    <a:pt x="1364" y="1555"/>
                  </a:lnTo>
                  <a:lnTo>
                    <a:pt x="1353" y="1561"/>
                  </a:lnTo>
                  <a:lnTo>
                    <a:pt x="1345" y="1563"/>
                  </a:lnTo>
                  <a:lnTo>
                    <a:pt x="1339" y="1561"/>
                  </a:lnTo>
                  <a:lnTo>
                    <a:pt x="1339" y="1553"/>
                  </a:lnTo>
                  <a:lnTo>
                    <a:pt x="1343" y="1541"/>
                  </a:lnTo>
                  <a:lnTo>
                    <a:pt x="1347" y="1528"/>
                  </a:lnTo>
                  <a:lnTo>
                    <a:pt x="1353" y="1510"/>
                  </a:lnTo>
                  <a:lnTo>
                    <a:pt x="1356" y="1492"/>
                  </a:lnTo>
                  <a:lnTo>
                    <a:pt x="1358" y="1476"/>
                  </a:lnTo>
                  <a:lnTo>
                    <a:pt x="1358" y="1461"/>
                  </a:lnTo>
                  <a:lnTo>
                    <a:pt x="1353" y="1449"/>
                  </a:lnTo>
                  <a:lnTo>
                    <a:pt x="1343" y="1441"/>
                  </a:lnTo>
                  <a:lnTo>
                    <a:pt x="1321" y="1437"/>
                  </a:lnTo>
                  <a:lnTo>
                    <a:pt x="1301" y="1441"/>
                  </a:lnTo>
                  <a:lnTo>
                    <a:pt x="1282" y="1449"/>
                  </a:lnTo>
                  <a:lnTo>
                    <a:pt x="1260" y="1457"/>
                  </a:lnTo>
                  <a:lnTo>
                    <a:pt x="1234" y="1463"/>
                  </a:lnTo>
                  <a:lnTo>
                    <a:pt x="1205" y="1465"/>
                  </a:lnTo>
                  <a:lnTo>
                    <a:pt x="1173" y="1459"/>
                  </a:lnTo>
                  <a:lnTo>
                    <a:pt x="1140" y="1449"/>
                  </a:lnTo>
                  <a:lnTo>
                    <a:pt x="1106" y="1435"/>
                  </a:lnTo>
                  <a:lnTo>
                    <a:pt x="1077" y="1421"/>
                  </a:lnTo>
                  <a:lnTo>
                    <a:pt x="1053" y="1409"/>
                  </a:lnTo>
                  <a:lnTo>
                    <a:pt x="1038" y="1402"/>
                  </a:lnTo>
                  <a:lnTo>
                    <a:pt x="1026" y="1398"/>
                  </a:lnTo>
                  <a:lnTo>
                    <a:pt x="1012" y="1400"/>
                  </a:lnTo>
                  <a:lnTo>
                    <a:pt x="998" y="1404"/>
                  </a:lnTo>
                  <a:lnTo>
                    <a:pt x="984" y="1405"/>
                  </a:lnTo>
                  <a:lnTo>
                    <a:pt x="969" y="1404"/>
                  </a:lnTo>
                  <a:lnTo>
                    <a:pt x="951" y="1396"/>
                  </a:lnTo>
                  <a:lnTo>
                    <a:pt x="931" y="1380"/>
                  </a:lnTo>
                  <a:lnTo>
                    <a:pt x="908" y="1364"/>
                  </a:lnTo>
                  <a:lnTo>
                    <a:pt x="884" y="1346"/>
                  </a:lnTo>
                  <a:lnTo>
                    <a:pt x="860" y="1331"/>
                  </a:lnTo>
                  <a:lnTo>
                    <a:pt x="843" y="1317"/>
                  </a:lnTo>
                  <a:lnTo>
                    <a:pt x="831" y="1307"/>
                  </a:lnTo>
                  <a:lnTo>
                    <a:pt x="817" y="1297"/>
                  </a:lnTo>
                  <a:lnTo>
                    <a:pt x="799" y="1283"/>
                  </a:lnTo>
                  <a:lnTo>
                    <a:pt x="778" y="1268"/>
                  </a:lnTo>
                  <a:lnTo>
                    <a:pt x="754" y="1250"/>
                  </a:lnTo>
                  <a:lnTo>
                    <a:pt x="734" y="1234"/>
                  </a:lnTo>
                  <a:lnTo>
                    <a:pt x="717" y="1219"/>
                  </a:lnTo>
                  <a:lnTo>
                    <a:pt x="709" y="1207"/>
                  </a:lnTo>
                  <a:lnTo>
                    <a:pt x="705" y="1189"/>
                  </a:lnTo>
                  <a:lnTo>
                    <a:pt x="701" y="1169"/>
                  </a:lnTo>
                  <a:lnTo>
                    <a:pt x="697" y="1150"/>
                  </a:lnTo>
                  <a:lnTo>
                    <a:pt x="691" y="1134"/>
                  </a:lnTo>
                  <a:lnTo>
                    <a:pt x="683" y="1126"/>
                  </a:lnTo>
                  <a:lnTo>
                    <a:pt x="675" y="1126"/>
                  </a:lnTo>
                  <a:lnTo>
                    <a:pt x="666" y="1132"/>
                  </a:lnTo>
                  <a:lnTo>
                    <a:pt x="656" y="1140"/>
                  </a:lnTo>
                  <a:lnTo>
                    <a:pt x="644" y="1148"/>
                  </a:lnTo>
                  <a:lnTo>
                    <a:pt x="632" y="1154"/>
                  </a:lnTo>
                  <a:lnTo>
                    <a:pt x="620" y="1156"/>
                  </a:lnTo>
                  <a:lnTo>
                    <a:pt x="612" y="1152"/>
                  </a:lnTo>
                  <a:lnTo>
                    <a:pt x="606" y="1142"/>
                  </a:lnTo>
                  <a:lnTo>
                    <a:pt x="591" y="1100"/>
                  </a:lnTo>
                  <a:lnTo>
                    <a:pt x="565" y="1063"/>
                  </a:lnTo>
                  <a:lnTo>
                    <a:pt x="532" y="1026"/>
                  </a:lnTo>
                  <a:lnTo>
                    <a:pt x="510" y="1006"/>
                  </a:lnTo>
                  <a:lnTo>
                    <a:pt x="484" y="984"/>
                  </a:lnTo>
                  <a:lnTo>
                    <a:pt x="461" y="963"/>
                  </a:lnTo>
                  <a:lnTo>
                    <a:pt x="437" y="943"/>
                  </a:lnTo>
                  <a:lnTo>
                    <a:pt x="419" y="923"/>
                  </a:lnTo>
                  <a:lnTo>
                    <a:pt x="406" y="908"/>
                  </a:lnTo>
                  <a:lnTo>
                    <a:pt x="390" y="894"/>
                  </a:lnTo>
                  <a:lnTo>
                    <a:pt x="374" y="890"/>
                  </a:lnTo>
                  <a:lnTo>
                    <a:pt x="356" y="892"/>
                  </a:lnTo>
                  <a:lnTo>
                    <a:pt x="343" y="900"/>
                  </a:lnTo>
                  <a:lnTo>
                    <a:pt x="331" y="910"/>
                  </a:lnTo>
                  <a:lnTo>
                    <a:pt x="321" y="919"/>
                  </a:lnTo>
                  <a:lnTo>
                    <a:pt x="309" y="921"/>
                  </a:lnTo>
                  <a:lnTo>
                    <a:pt x="295" y="913"/>
                  </a:lnTo>
                  <a:lnTo>
                    <a:pt x="280" y="898"/>
                  </a:lnTo>
                  <a:lnTo>
                    <a:pt x="266" y="870"/>
                  </a:lnTo>
                  <a:lnTo>
                    <a:pt x="246" y="839"/>
                  </a:lnTo>
                  <a:lnTo>
                    <a:pt x="217" y="809"/>
                  </a:lnTo>
                  <a:lnTo>
                    <a:pt x="183" y="782"/>
                  </a:lnTo>
                  <a:lnTo>
                    <a:pt x="152" y="756"/>
                  </a:lnTo>
                  <a:lnTo>
                    <a:pt x="124" y="734"/>
                  </a:lnTo>
                  <a:lnTo>
                    <a:pt x="105" y="717"/>
                  </a:lnTo>
                  <a:lnTo>
                    <a:pt x="87" y="697"/>
                  </a:lnTo>
                  <a:lnTo>
                    <a:pt x="73" y="677"/>
                  </a:lnTo>
                  <a:lnTo>
                    <a:pt x="61" y="662"/>
                  </a:lnTo>
                  <a:lnTo>
                    <a:pt x="53" y="652"/>
                  </a:lnTo>
                  <a:lnTo>
                    <a:pt x="51" y="648"/>
                  </a:lnTo>
                  <a:lnTo>
                    <a:pt x="47" y="648"/>
                  </a:lnTo>
                  <a:lnTo>
                    <a:pt x="40" y="650"/>
                  </a:lnTo>
                  <a:lnTo>
                    <a:pt x="30" y="650"/>
                  </a:lnTo>
                  <a:lnTo>
                    <a:pt x="20" y="648"/>
                  </a:lnTo>
                  <a:lnTo>
                    <a:pt x="8" y="646"/>
                  </a:lnTo>
                  <a:lnTo>
                    <a:pt x="2" y="638"/>
                  </a:lnTo>
                  <a:lnTo>
                    <a:pt x="0" y="628"/>
                  </a:lnTo>
                  <a:lnTo>
                    <a:pt x="4" y="614"/>
                  </a:lnTo>
                  <a:lnTo>
                    <a:pt x="10" y="593"/>
                  </a:lnTo>
                  <a:lnTo>
                    <a:pt x="14" y="575"/>
                  </a:lnTo>
                  <a:lnTo>
                    <a:pt x="14" y="559"/>
                  </a:lnTo>
                  <a:lnTo>
                    <a:pt x="12" y="541"/>
                  </a:lnTo>
                  <a:lnTo>
                    <a:pt x="10" y="524"/>
                  </a:lnTo>
                  <a:lnTo>
                    <a:pt x="12" y="504"/>
                  </a:lnTo>
                  <a:lnTo>
                    <a:pt x="12" y="482"/>
                  </a:lnTo>
                  <a:lnTo>
                    <a:pt x="8" y="463"/>
                  </a:lnTo>
                  <a:lnTo>
                    <a:pt x="6" y="449"/>
                  </a:lnTo>
                  <a:lnTo>
                    <a:pt x="4" y="439"/>
                  </a:lnTo>
                  <a:lnTo>
                    <a:pt x="10" y="431"/>
                  </a:lnTo>
                  <a:lnTo>
                    <a:pt x="22" y="427"/>
                  </a:lnTo>
                  <a:lnTo>
                    <a:pt x="34" y="429"/>
                  </a:lnTo>
                  <a:lnTo>
                    <a:pt x="44" y="437"/>
                  </a:lnTo>
                  <a:lnTo>
                    <a:pt x="51" y="449"/>
                  </a:lnTo>
                  <a:lnTo>
                    <a:pt x="57" y="461"/>
                  </a:lnTo>
                  <a:lnTo>
                    <a:pt x="65" y="471"/>
                  </a:lnTo>
                  <a:lnTo>
                    <a:pt x="75" y="475"/>
                  </a:lnTo>
                  <a:lnTo>
                    <a:pt x="87" y="473"/>
                  </a:lnTo>
                  <a:lnTo>
                    <a:pt x="105" y="465"/>
                  </a:lnTo>
                  <a:lnTo>
                    <a:pt x="118" y="463"/>
                  </a:lnTo>
                  <a:lnTo>
                    <a:pt x="132" y="463"/>
                  </a:lnTo>
                  <a:lnTo>
                    <a:pt x="144" y="459"/>
                  </a:lnTo>
                  <a:lnTo>
                    <a:pt x="152" y="451"/>
                  </a:lnTo>
                  <a:lnTo>
                    <a:pt x="158" y="435"/>
                  </a:lnTo>
                  <a:lnTo>
                    <a:pt x="164" y="412"/>
                  </a:lnTo>
                  <a:lnTo>
                    <a:pt x="169" y="394"/>
                  </a:lnTo>
                  <a:lnTo>
                    <a:pt x="171" y="376"/>
                  </a:lnTo>
                  <a:lnTo>
                    <a:pt x="169" y="360"/>
                  </a:lnTo>
                  <a:lnTo>
                    <a:pt x="156" y="347"/>
                  </a:lnTo>
                  <a:lnTo>
                    <a:pt x="140" y="335"/>
                  </a:lnTo>
                  <a:lnTo>
                    <a:pt x="122" y="325"/>
                  </a:lnTo>
                  <a:lnTo>
                    <a:pt x="108" y="315"/>
                  </a:lnTo>
                  <a:lnTo>
                    <a:pt x="99" y="305"/>
                  </a:lnTo>
                  <a:lnTo>
                    <a:pt x="97" y="293"/>
                  </a:lnTo>
                  <a:lnTo>
                    <a:pt x="101" y="278"/>
                  </a:lnTo>
                  <a:lnTo>
                    <a:pt x="108" y="254"/>
                  </a:lnTo>
                  <a:lnTo>
                    <a:pt x="114" y="229"/>
                  </a:lnTo>
                  <a:lnTo>
                    <a:pt x="118" y="205"/>
                  </a:lnTo>
                  <a:lnTo>
                    <a:pt x="124" y="183"/>
                  </a:lnTo>
                  <a:lnTo>
                    <a:pt x="132" y="168"/>
                  </a:lnTo>
                  <a:lnTo>
                    <a:pt x="140" y="158"/>
                  </a:lnTo>
                  <a:lnTo>
                    <a:pt x="148" y="150"/>
                  </a:lnTo>
                  <a:lnTo>
                    <a:pt x="154" y="146"/>
                  </a:lnTo>
                  <a:lnTo>
                    <a:pt x="158" y="142"/>
                  </a:lnTo>
                  <a:lnTo>
                    <a:pt x="160" y="140"/>
                  </a:lnTo>
                  <a:lnTo>
                    <a:pt x="162" y="138"/>
                  </a:lnTo>
                  <a:lnTo>
                    <a:pt x="256" y="152"/>
                  </a:lnTo>
                  <a:lnTo>
                    <a:pt x="284" y="105"/>
                  </a:lnTo>
                  <a:lnTo>
                    <a:pt x="355" y="42"/>
                  </a:lnTo>
                  <a:lnTo>
                    <a:pt x="384" y="24"/>
                  </a:lnTo>
                  <a:lnTo>
                    <a:pt x="492" y="61"/>
                  </a:lnTo>
                  <a:lnTo>
                    <a:pt x="530" y="87"/>
                  </a:lnTo>
                  <a:lnTo>
                    <a:pt x="589" y="81"/>
                  </a:lnTo>
                  <a:lnTo>
                    <a:pt x="626" y="36"/>
                  </a:lnTo>
                  <a:lnTo>
                    <a:pt x="792" y="67"/>
                  </a:lnTo>
                  <a:lnTo>
                    <a:pt x="841" y="106"/>
                  </a:lnTo>
                  <a:lnTo>
                    <a:pt x="896" y="118"/>
                  </a:lnTo>
                  <a:lnTo>
                    <a:pt x="1032" y="81"/>
                  </a:lnTo>
                  <a:lnTo>
                    <a:pt x="1071" y="105"/>
                  </a:lnTo>
                  <a:lnTo>
                    <a:pt x="1179" y="34"/>
                  </a:lnTo>
                  <a:lnTo>
                    <a:pt x="1297" y="32"/>
                  </a:lnTo>
                  <a:lnTo>
                    <a:pt x="1366" y="0"/>
                  </a:lnTo>
                  <a:lnTo>
                    <a:pt x="1461" y="12"/>
                  </a:lnTo>
                  <a:lnTo>
                    <a:pt x="1575" y="87"/>
                  </a:lnTo>
                  <a:lnTo>
                    <a:pt x="1666" y="75"/>
                  </a:lnTo>
                  <a:lnTo>
                    <a:pt x="1669" y="110"/>
                  </a:lnTo>
                  <a:lnTo>
                    <a:pt x="1628" y="138"/>
                  </a:lnTo>
                  <a:lnTo>
                    <a:pt x="1667" y="158"/>
                  </a:lnTo>
                  <a:lnTo>
                    <a:pt x="1666" y="205"/>
                  </a:lnTo>
                  <a:lnTo>
                    <a:pt x="1632" y="295"/>
                  </a:lnTo>
                  <a:lnTo>
                    <a:pt x="1634" y="347"/>
                  </a:lnTo>
                  <a:lnTo>
                    <a:pt x="1589" y="349"/>
                  </a:lnTo>
                  <a:lnTo>
                    <a:pt x="1595" y="431"/>
                  </a:lnTo>
                  <a:lnTo>
                    <a:pt x="1650" y="520"/>
                  </a:lnTo>
                  <a:lnTo>
                    <a:pt x="1701" y="632"/>
                  </a:lnTo>
                  <a:lnTo>
                    <a:pt x="1774" y="628"/>
                  </a:lnTo>
                  <a:lnTo>
                    <a:pt x="1845" y="663"/>
                  </a:lnTo>
                  <a:lnTo>
                    <a:pt x="1870" y="665"/>
                  </a:lnTo>
                  <a:lnTo>
                    <a:pt x="1902" y="683"/>
                  </a:lnTo>
                  <a:lnTo>
                    <a:pt x="1978" y="730"/>
                  </a:lnTo>
                  <a:lnTo>
                    <a:pt x="2041" y="726"/>
                  </a:lnTo>
                  <a:lnTo>
                    <a:pt x="2110" y="758"/>
                  </a:lnTo>
                  <a:lnTo>
                    <a:pt x="2207" y="756"/>
                  </a:lnTo>
                  <a:lnTo>
                    <a:pt x="2321" y="799"/>
                  </a:lnTo>
                  <a:lnTo>
                    <a:pt x="2402" y="860"/>
                  </a:lnTo>
                  <a:lnTo>
                    <a:pt x="2410" y="913"/>
                  </a:lnTo>
                  <a:lnTo>
                    <a:pt x="2486" y="923"/>
                  </a:lnTo>
                  <a:lnTo>
                    <a:pt x="2557" y="939"/>
                  </a:lnTo>
                  <a:lnTo>
                    <a:pt x="2628" y="843"/>
                  </a:lnTo>
                  <a:lnTo>
                    <a:pt x="2644" y="793"/>
                  </a:lnTo>
                  <a:lnTo>
                    <a:pt x="2634" y="758"/>
                  </a:lnTo>
                  <a:lnTo>
                    <a:pt x="2681" y="764"/>
                  </a:lnTo>
                  <a:lnTo>
                    <a:pt x="2740" y="803"/>
                  </a:lnTo>
                  <a:lnTo>
                    <a:pt x="2786" y="829"/>
                  </a:lnTo>
                  <a:lnTo>
                    <a:pt x="2817" y="925"/>
                  </a:lnTo>
                  <a:lnTo>
                    <a:pt x="2880" y="992"/>
                  </a:lnTo>
                  <a:lnTo>
                    <a:pt x="2874" y="1020"/>
                  </a:lnTo>
                  <a:lnTo>
                    <a:pt x="2841" y="1033"/>
                  </a:lnTo>
                  <a:lnTo>
                    <a:pt x="2880" y="1106"/>
                  </a:lnTo>
                  <a:lnTo>
                    <a:pt x="2894" y="1240"/>
                  </a:lnTo>
                  <a:lnTo>
                    <a:pt x="2896" y="1358"/>
                  </a:lnTo>
                  <a:lnTo>
                    <a:pt x="2858" y="1378"/>
                  </a:lnTo>
                  <a:lnTo>
                    <a:pt x="2849" y="1413"/>
                  </a:lnTo>
                  <a:lnTo>
                    <a:pt x="2829" y="1472"/>
                  </a:lnTo>
                  <a:lnTo>
                    <a:pt x="2835" y="1528"/>
                  </a:lnTo>
                  <a:lnTo>
                    <a:pt x="2799" y="1541"/>
                  </a:lnTo>
                  <a:lnTo>
                    <a:pt x="2774" y="1520"/>
                  </a:lnTo>
                  <a:lnTo>
                    <a:pt x="2754" y="1539"/>
                  </a:lnTo>
                </a:path>
              </a:pathLst>
            </a:custGeom>
            <a:grpFill/>
            <a:ln w="6350">
              <a:solidFill>
                <a:schemeClr val="bg1"/>
              </a:solidFill>
              <a:prstDash val="solid"/>
              <a:round/>
            </a:ln>
          </p:spPr>
          <p:txBody>
            <a:bodyPr/>
            <a:lstStyle/>
            <a:p>
              <a:endParaRPr lang="zh-CN" altLang="en-US"/>
            </a:p>
          </p:txBody>
        </p:sp>
        <p:sp>
          <p:nvSpPr>
            <p:cNvPr id="26" name="Freeform 71"/>
            <p:cNvSpPr/>
            <p:nvPr/>
          </p:nvSpPr>
          <p:spPr bwMode="gray">
            <a:xfrm>
              <a:off x="2215" y="3052"/>
              <a:ext cx="676" cy="694"/>
            </a:xfrm>
            <a:custGeom>
              <a:avLst/>
              <a:gdLst>
                <a:gd name="T0" fmla="*/ 297 w 1352"/>
                <a:gd name="T1" fmla="*/ 258 h 1388"/>
                <a:gd name="T2" fmla="*/ 288 w 1352"/>
                <a:gd name="T3" fmla="*/ 267 h 1388"/>
                <a:gd name="T4" fmla="*/ 280 w 1352"/>
                <a:gd name="T5" fmla="*/ 277 h 1388"/>
                <a:gd name="T6" fmla="*/ 265 w 1352"/>
                <a:gd name="T7" fmla="*/ 279 h 1388"/>
                <a:gd name="T8" fmla="*/ 258 w 1352"/>
                <a:gd name="T9" fmla="*/ 281 h 1388"/>
                <a:gd name="T10" fmla="*/ 248 w 1352"/>
                <a:gd name="T11" fmla="*/ 285 h 1388"/>
                <a:gd name="T12" fmla="*/ 240 w 1352"/>
                <a:gd name="T13" fmla="*/ 279 h 1388"/>
                <a:gd name="T14" fmla="*/ 237 w 1352"/>
                <a:gd name="T15" fmla="*/ 285 h 1388"/>
                <a:gd name="T16" fmla="*/ 231 w 1352"/>
                <a:gd name="T17" fmla="*/ 284 h 1388"/>
                <a:gd name="T18" fmla="*/ 228 w 1352"/>
                <a:gd name="T19" fmla="*/ 281 h 1388"/>
                <a:gd name="T20" fmla="*/ 218 w 1352"/>
                <a:gd name="T21" fmla="*/ 290 h 1388"/>
                <a:gd name="T22" fmla="*/ 202 w 1352"/>
                <a:gd name="T23" fmla="*/ 282 h 1388"/>
                <a:gd name="T24" fmla="*/ 188 w 1352"/>
                <a:gd name="T25" fmla="*/ 290 h 1388"/>
                <a:gd name="T26" fmla="*/ 174 w 1352"/>
                <a:gd name="T27" fmla="*/ 293 h 1388"/>
                <a:gd name="T28" fmla="*/ 162 w 1352"/>
                <a:gd name="T29" fmla="*/ 303 h 1388"/>
                <a:gd name="T30" fmla="*/ 169 w 1352"/>
                <a:gd name="T31" fmla="*/ 330 h 1388"/>
                <a:gd name="T32" fmla="*/ 165 w 1352"/>
                <a:gd name="T33" fmla="*/ 346 h 1388"/>
                <a:gd name="T34" fmla="*/ 146 w 1352"/>
                <a:gd name="T35" fmla="*/ 341 h 1388"/>
                <a:gd name="T36" fmla="*/ 142 w 1352"/>
                <a:gd name="T37" fmla="*/ 322 h 1388"/>
                <a:gd name="T38" fmla="*/ 130 w 1352"/>
                <a:gd name="T39" fmla="*/ 330 h 1388"/>
                <a:gd name="T40" fmla="*/ 113 w 1352"/>
                <a:gd name="T41" fmla="*/ 336 h 1388"/>
                <a:gd name="T42" fmla="*/ 98 w 1352"/>
                <a:gd name="T43" fmla="*/ 327 h 1388"/>
                <a:gd name="T44" fmla="*/ 94 w 1352"/>
                <a:gd name="T45" fmla="*/ 310 h 1388"/>
                <a:gd name="T46" fmla="*/ 76 w 1352"/>
                <a:gd name="T47" fmla="*/ 308 h 1388"/>
                <a:gd name="T48" fmla="*/ 67 w 1352"/>
                <a:gd name="T49" fmla="*/ 301 h 1388"/>
                <a:gd name="T50" fmla="*/ 72 w 1352"/>
                <a:gd name="T51" fmla="*/ 280 h 1388"/>
                <a:gd name="T52" fmla="*/ 79 w 1352"/>
                <a:gd name="T53" fmla="*/ 267 h 1388"/>
                <a:gd name="T54" fmla="*/ 63 w 1352"/>
                <a:gd name="T55" fmla="*/ 263 h 1388"/>
                <a:gd name="T56" fmla="*/ 53 w 1352"/>
                <a:gd name="T57" fmla="*/ 245 h 1388"/>
                <a:gd name="T58" fmla="*/ 47 w 1352"/>
                <a:gd name="T59" fmla="*/ 227 h 1388"/>
                <a:gd name="T60" fmla="*/ 51 w 1352"/>
                <a:gd name="T61" fmla="*/ 218 h 1388"/>
                <a:gd name="T62" fmla="*/ 48 w 1352"/>
                <a:gd name="T63" fmla="*/ 217 h 1388"/>
                <a:gd name="T64" fmla="*/ 24 w 1352"/>
                <a:gd name="T65" fmla="*/ 220 h 1388"/>
                <a:gd name="T66" fmla="*/ 9 w 1352"/>
                <a:gd name="T67" fmla="*/ 229 h 1388"/>
                <a:gd name="T68" fmla="*/ 3 w 1352"/>
                <a:gd name="T69" fmla="*/ 224 h 1388"/>
                <a:gd name="T70" fmla="*/ 8 w 1352"/>
                <a:gd name="T71" fmla="*/ 215 h 1388"/>
                <a:gd name="T72" fmla="*/ 3 w 1352"/>
                <a:gd name="T73" fmla="*/ 206 h 1388"/>
                <a:gd name="T74" fmla="*/ 5 w 1352"/>
                <a:gd name="T75" fmla="*/ 189 h 1388"/>
                <a:gd name="T76" fmla="*/ 15 w 1352"/>
                <a:gd name="T77" fmla="*/ 172 h 1388"/>
                <a:gd name="T78" fmla="*/ 28 w 1352"/>
                <a:gd name="T79" fmla="*/ 162 h 1388"/>
                <a:gd name="T80" fmla="*/ 38 w 1352"/>
                <a:gd name="T81" fmla="*/ 150 h 1388"/>
                <a:gd name="T82" fmla="*/ 49 w 1352"/>
                <a:gd name="T83" fmla="*/ 131 h 1388"/>
                <a:gd name="T84" fmla="*/ 53 w 1352"/>
                <a:gd name="T85" fmla="*/ 89 h 1388"/>
                <a:gd name="T86" fmla="*/ 47 w 1352"/>
                <a:gd name="T87" fmla="*/ 72 h 1388"/>
                <a:gd name="T88" fmla="*/ 31 w 1352"/>
                <a:gd name="T89" fmla="*/ 60 h 1388"/>
                <a:gd name="T90" fmla="*/ 51 w 1352"/>
                <a:gd name="T91" fmla="*/ 42 h 1388"/>
                <a:gd name="T92" fmla="*/ 78 w 1352"/>
                <a:gd name="T93" fmla="*/ 44 h 1388"/>
                <a:gd name="T94" fmla="*/ 112 w 1352"/>
                <a:gd name="T95" fmla="*/ 60 h 1388"/>
                <a:gd name="T96" fmla="*/ 170 w 1352"/>
                <a:gd name="T97" fmla="*/ 138 h 1388"/>
                <a:gd name="T98" fmla="*/ 214 w 1352"/>
                <a:gd name="T99" fmla="*/ 109 h 1388"/>
                <a:gd name="T100" fmla="*/ 229 w 1352"/>
                <a:gd name="T101" fmla="*/ 50 h 1388"/>
                <a:gd name="T102" fmla="*/ 248 w 1352"/>
                <a:gd name="T103" fmla="*/ 26 h 1388"/>
                <a:gd name="T104" fmla="*/ 289 w 1352"/>
                <a:gd name="T105" fmla="*/ 47 h 1388"/>
                <a:gd name="T106" fmla="*/ 266 w 1352"/>
                <a:gd name="T107" fmla="*/ 82 h 1388"/>
                <a:gd name="T108" fmla="*/ 240 w 1352"/>
                <a:gd name="T109" fmla="*/ 101 h 1388"/>
                <a:gd name="T110" fmla="*/ 276 w 1352"/>
                <a:gd name="T111" fmla="*/ 122 h 1388"/>
                <a:gd name="T112" fmla="*/ 280 w 1352"/>
                <a:gd name="T113" fmla="*/ 183 h 1388"/>
                <a:gd name="T114" fmla="*/ 300 w 1352"/>
                <a:gd name="T115" fmla="*/ 216 h 1388"/>
                <a:gd name="T116" fmla="*/ 338 w 1352"/>
                <a:gd name="T117" fmla="*/ 225 h 138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352"/>
                <a:gd name="T178" fmla="*/ 0 h 1388"/>
                <a:gd name="T179" fmla="*/ 1352 w 1352"/>
                <a:gd name="T180" fmla="*/ 1388 h 1388"/>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352" h="1388">
                  <a:moveTo>
                    <a:pt x="1262" y="1026"/>
                  </a:moveTo>
                  <a:lnTo>
                    <a:pt x="1230" y="998"/>
                  </a:lnTo>
                  <a:lnTo>
                    <a:pt x="1203" y="1026"/>
                  </a:lnTo>
                  <a:lnTo>
                    <a:pt x="1197" y="1028"/>
                  </a:lnTo>
                  <a:lnTo>
                    <a:pt x="1185" y="1032"/>
                  </a:lnTo>
                  <a:lnTo>
                    <a:pt x="1171" y="1039"/>
                  </a:lnTo>
                  <a:lnTo>
                    <a:pt x="1159" y="1045"/>
                  </a:lnTo>
                  <a:lnTo>
                    <a:pt x="1154" y="1049"/>
                  </a:lnTo>
                  <a:lnTo>
                    <a:pt x="1152" y="1055"/>
                  </a:lnTo>
                  <a:lnTo>
                    <a:pt x="1150" y="1067"/>
                  </a:lnTo>
                  <a:lnTo>
                    <a:pt x="1148" y="1081"/>
                  </a:lnTo>
                  <a:lnTo>
                    <a:pt x="1144" y="1093"/>
                  </a:lnTo>
                  <a:lnTo>
                    <a:pt x="1138" y="1098"/>
                  </a:lnTo>
                  <a:lnTo>
                    <a:pt x="1130" y="1102"/>
                  </a:lnTo>
                  <a:lnTo>
                    <a:pt x="1118" y="1106"/>
                  </a:lnTo>
                  <a:lnTo>
                    <a:pt x="1104" y="1114"/>
                  </a:lnTo>
                  <a:lnTo>
                    <a:pt x="1091" y="1118"/>
                  </a:lnTo>
                  <a:lnTo>
                    <a:pt x="1079" y="1122"/>
                  </a:lnTo>
                  <a:lnTo>
                    <a:pt x="1069" y="1120"/>
                  </a:lnTo>
                  <a:lnTo>
                    <a:pt x="1059" y="1114"/>
                  </a:lnTo>
                  <a:lnTo>
                    <a:pt x="1047" y="1112"/>
                  </a:lnTo>
                  <a:lnTo>
                    <a:pt x="1035" y="1112"/>
                  </a:lnTo>
                  <a:lnTo>
                    <a:pt x="1032" y="1112"/>
                  </a:lnTo>
                  <a:lnTo>
                    <a:pt x="1032" y="1116"/>
                  </a:lnTo>
                  <a:lnTo>
                    <a:pt x="1030" y="1124"/>
                  </a:lnTo>
                  <a:lnTo>
                    <a:pt x="1026" y="1136"/>
                  </a:lnTo>
                  <a:lnTo>
                    <a:pt x="1020" y="1144"/>
                  </a:lnTo>
                  <a:lnTo>
                    <a:pt x="1012" y="1148"/>
                  </a:lnTo>
                  <a:lnTo>
                    <a:pt x="1004" y="1146"/>
                  </a:lnTo>
                  <a:lnTo>
                    <a:pt x="992" y="1140"/>
                  </a:lnTo>
                  <a:lnTo>
                    <a:pt x="980" y="1130"/>
                  </a:lnTo>
                  <a:lnTo>
                    <a:pt x="969" y="1122"/>
                  </a:lnTo>
                  <a:lnTo>
                    <a:pt x="963" y="1116"/>
                  </a:lnTo>
                  <a:lnTo>
                    <a:pt x="959" y="1114"/>
                  </a:lnTo>
                  <a:lnTo>
                    <a:pt x="959" y="1116"/>
                  </a:lnTo>
                  <a:lnTo>
                    <a:pt x="959" y="1118"/>
                  </a:lnTo>
                  <a:lnTo>
                    <a:pt x="957" y="1124"/>
                  </a:lnTo>
                  <a:lnTo>
                    <a:pt x="955" y="1130"/>
                  </a:lnTo>
                  <a:lnTo>
                    <a:pt x="951" y="1134"/>
                  </a:lnTo>
                  <a:lnTo>
                    <a:pt x="949" y="1140"/>
                  </a:lnTo>
                  <a:lnTo>
                    <a:pt x="945" y="1142"/>
                  </a:lnTo>
                  <a:lnTo>
                    <a:pt x="939" y="1144"/>
                  </a:lnTo>
                  <a:lnTo>
                    <a:pt x="935" y="1142"/>
                  </a:lnTo>
                  <a:lnTo>
                    <a:pt x="931" y="1140"/>
                  </a:lnTo>
                  <a:lnTo>
                    <a:pt x="925" y="1136"/>
                  </a:lnTo>
                  <a:lnTo>
                    <a:pt x="921" y="1132"/>
                  </a:lnTo>
                  <a:lnTo>
                    <a:pt x="919" y="1128"/>
                  </a:lnTo>
                  <a:lnTo>
                    <a:pt x="917" y="1126"/>
                  </a:lnTo>
                  <a:lnTo>
                    <a:pt x="915" y="1122"/>
                  </a:lnTo>
                  <a:lnTo>
                    <a:pt x="913" y="1122"/>
                  </a:lnTo>
                  <a:lnTo>
                    <a:pt x="911" y="1126"/>
                  </a:lnTo>
                  <a:lnTo>
                    <a:pt x="906" y="1132"/>
                  </a:lnTo>
                  <a:lnTo>
                    <a:pt x="896" y="1144"/>
                  </a:lnTo>
                  <a:lnTo>
                    <a:pt x="886" y="1154"/>
                  </a:lnTo>
                  <a:lnTo>
                    <a:pt x="874" y="1159"/>
                  </a:lnTo>
                  <a:lnTo>
                    <a:pt x="864" y="1163"/>
                  </a:lnTo>
                  <a:lnTo>
                    <a:pt x="852" y="1159"/>
                  </a:lnTo>
                  <a:lnTo>
                    <a:pt x="839" y="1150"/>
                  </a:lnTo>
                  <a:lnTo>
                    <a:pt x="825" y="1138"/>
                  </a:lnTo>
                  <a:lnTo>
                    <a:pt x="809" y="1128"/>
                  </a:lnTo>
                  <a:lnTo>
                    <a:pt x="797" y="1122"/>
                  </a:lnTo>
                  <a:lnTo>
                    <a:pt x="787" y="1120"/>
                  </a:lnTo>
                  <a:lnTo>
                    <a:pt x="778" y="1130"/>
                  </a:lnTo>
                  <a:lnTo>
                    <a:pt x="766" y="1144"/>
                  </a:lnTo>
                  <a:lnTo>
                    <a:pt x="754" y="1159"/>
                  </a:lnTo>
                  <a:lnTo>
                    <a:pt x="742" y="1171"/>
                  </a:lnTo>
                  <a:lnTo>
                    <a:pt x="734" y="1179"/>
                  </a:lnTo>
                  <a:lnTo>
                    <a:pt x="724" y="1177"/>
                  </a:lnTo>
                  <a:lnTo>
                    <a:pt x="711" y="1175"/>
                  </a:lnTo>
                  <a:lnTo>
                    <a:pt x="695" y="1169"/>
                  </a:lnTo>
                  <a:lnTo>
                    <a:pt x="679" y="1165"/>
                  </a:lnTo>
                  <a:lnTo>
                    <a:pt x="667" y="1165"/>
                  </a:lnTo>
                  <a:lnTo>
                    <a:pt x="659" y="1167"/>
                  </a:lnTo>
                  <a:lnTo>
                    <a:pt x="650" y="1183"/>
                  </a:lnTo>
                  <a:lnTo>
                    <a:pt x="646" y="1209"/>
                  </a:lnTo>
                  <a:lnTo>
                    <a:pt x="648" y="1234"/>
                  </a:lnTo>
                  <a:lnTo>
                    <a:pt x="656" y="1254"/>
                  </a:lnTo>
                  <a:lnTo>
                    <a:pt x="665" y="1278"/>
                  </a:lnTo>
                  <a:lnTo>
                    <a:pt x="673" y="1299"/>
                  </a:lnTo>
                  <a:lnTo>
                    <a:pt x="675" y="1317"/>
                  </a:lnTo>
                  <a:lnTo>
                    <a:pt x="673" y="1331"/>
                  </a:lnTo>
                  <a:lnTo>
                    <a:pt x="673" y="1346"/>
                  </a:lnTo>
                  <a:lnTo>
                    <a:pt x="673" y="1362"/>
                  </a:lnTo>
                  <a:lnTo>
                    <a:pt x="667" y="1374"/>
                  </a:lnTo>
                  <a:lnTo>
                    <a:pt x="658" y="1382"/>
                  </a:lnTo>
                  <a:lnTo>
                    <a:pt x="638" y="1386"/>
                  </a:lnTo>
                  <a:lnTo>
                    <a:pt x="620" y="1388"/>
                  </a:lnTo>
                  <a:lnTo>
                    <a:pt x="604" y="1386"/>
                  </a:lnTo>
                  <a:lnTo>
                    <a:pt x="591" y="1380"/>
                  </a:lnTo>
                  <a:lnTo>
                    <a:pt x="581" y="1362"/>
                  </a:lnTo>
                  <a:lnTo>
                    <a:pt x="573" y="1343"/>
                  </a:lnTo>
                  <a:lnTo>
                    <a:pt x="571" y="1321"/>
                  </a:lnTo>
                  <a:lnTo>
                    <a:pt x="569" y="1309"/>
                  </a:lnTo>
                  <a:lnTo>
                    <a:pt x="567" y="1297"/>
                  </a:lnTo>
                  <a:lnTo>
                    <a:pt x="565" y="1287"/>
                  </a:lnTo>
                  <a:lnTo>
                    <a:pt x="559" y="1282"/>
                  </a:lnTo>
                  <a:lnTo>
                    <a:pt x="553" y="1283"/>
                  </a:lnTo>
                  <a:lnTo>
                    <a:pt x="545" y="1291"/>
                  </a:lnTo>
                  <a:lnTo>
                    <a:pt x="534" y="1303"/>
                  </a:lnTo>
                  <a:lnTo>
                    <a:pt x="518" y="1317"/>
                  </a:lnTo>
                  <a:lnTo>
                    <a:pt x="504" y="1331"/>
                  </a:lnTo>
                  <a:lnTo>
                    <a:pt x="488" y="1341"/>
                  </a:lnTo>
                  <a:lnTo>
                    <a:pt x="476" y="1343"/>
                  </a:lnTo>
                  <a:lnTo>
                    <a:pt x="465" y="1343"/>
                  </a:lnTo>
                  <a:lnTo>
                    <a:pt x="451" y="1343"/>
                  </a:lnTo>
                  <a:lnTo>
                    <a:pt x="437" y="1345"/>
                  </a:lnTo>
                  <a:lnTo>
                    <a:pt x="425" y="1343"/>
                  </a:lnTo>
                  <a:lnTo>
                    <a:pt x="415" y="1337"/>
                  </a:lnTo>
                  <a:lnTo>
                    <a:pt x="404" y="1323"/>
                  </a:lnTo>
                  <a:lnTo>
                    <a:pt x="394" y="1307"/>
                  </a:lnTo>
                  <a:lnTo>
                    <a:pt x="388" y="1287"/>
                  </a:lnTo>
                  <a:lnTo>
                    <a:pt x="386" y="1272"/>
                  </a:lnTo>
                  <a:lnTo>
                    <a:pt x="382" y="1256"/>
                  </a:lnTo>
                  <a:lnTo>
                    <a:pt x="378" y="1244"/>
                  </a:lnTo>
                  <a:lnTo>
                    <a:pt x="378" y="1240"/>
                  </a:lnTo>
                  <a:lnTo>
                    <a:pt x="372" y="1240"/>
                  </a:lnTo>
                  <a:lnTo>
                    <a:pt x="358" y="1240"/>
                  </a:lnTo>
                  <a:lnTo>
                    <a:pt x="341" y="1238"/>
                  </a:lnTo>
                  <a:lnTo>
                    <a:pt x="321" y="1236"/>
                  </a:lnTo>
                  <a:lnTo>
                    <a:pt x="303" y="1232"/>
                  </a:lnTo>
                  <a:lnTo>
                    <a:pt x="291" y="1224"/>
                  </a:lnTo>
                  <a:lnTo>
                    <a:pt x="282" y="1219"/>
                  </a:lnTo>
                  <a:lnTo>
                    <a:pt x="276" y="1213"/>
                  </a:lnTo>
                  <a:lnTo>
                    <a:pt x="270" y="1209"/>
                  </a:lnTo>
                  <a:lnTo>
                    <a:pt x="268" y="1201"/>
                  </a:lnTo>
                  <a:lnTo>
                    <a:pt x="268" y="1189"/>
                  </a:lnTo>
                  <a:lnTo>
                    <a:pt x="274" y="1171"/>
                  </a:lnTo>
                  <a:lnTo>
                    <a:pt x="280" y="1150"/>
                  </a:lnTo>
                  <a:lnTo>
                    <a:pt x="284" y="1134"/>
                  </a:lnTo>
                  <a:lnTo>
                    <a:pt x="285" y="1120"/>
                  </a:lnTo>
                  <a:lnTo>
                    <a:pt x="287" y="1110"/>
                  </a:lnTo>
                  <a:lnTo>
                    <a:pt x="291" y="1100"/>
                  </a:lnTo>
                  <a:lnTo>
                    <a:pt x="299" y="1087"/>
                  </a:lnTo>
                  <a:lnTo>
                    <a:pt x="309" y="1075"/>
                  </a:lnTo>
                  <a:lnTo>
                    <a:pt x="315" y="1065"/>
                  </a:lnTo>
                  <a:lnTo>
                    <a:pt x="311" y="1057"/>
                  </a:lnTo>
                  <a:lnTo>
                    <a:pt x="303" y="1053"/>
                  </a:lnTo>
                  <a:lnTo>
                    <a:pt x="289" y="1053"/>
                  </a:lnTo>
                  <a:lnTo>
                    <a:pt x="272" y="1053"/>
                  </a:lnTo>
                  <a:lnTo>
                    <a:pt x="254" y="1051"/>
                  </a:lnTo>
                  <a:lnTo>
                    <a:pt x="240" y="1047"/>
                  </a:lnTo>
                  <a:lnTo>
                    <a:pt x="230" y="1039"/>
                  </a:lnTo>
                  <a:lnTo>
                    <a:pt x="221" y="1020"/>
                  </a:lnTo>
                  <a:lnTo>
                    <a:pt x="217" y="1000"/>
                  </a:lnTo>
                  <a:lnTo>
                    <a:pt x="211" y="980"/>
                  </a:lnTo>
                  <a:lnTo>
                    <a:pt x="207" y="959"/>
                  </a:lnTo>
                  <a:lnTo>
                    <a:pt x="205" y="943"/>
                  </a:lnTo>
                  <a:lnTo>
                    <a:pt x="199" y="931"/>
                  </a:lnTo>
                  <a:lnTo>
                    <a:pt x="191" y="919"/>
                  </a:lnTo>
                  <a:lnTo>
                    <a:pt x="187" y="908"/>
                  </a:lnTo>
                  <a:lnTo>
                    <a:pt x="189" y="894"/>
                  </a:lnTo>
                  <a:lnTo>
                    <a:pt x="191" y="888"/>
                  </a:lnTo>
                  <a:lnTo>
                    <a:pt x="197" y="884"/>
                  </a:lnTo>
                  <a:lnTo>
                    <a:pt x="201" y="878"/>
                  </a:lnTo>
                  <a:lnTo>
                    <a:pt x="205" y="874"/>
                  </a:lnTo>
                  <a:lnTo>
                    <a:pt x="209" y="870"/>
                  </a:lnTo>
                  <a:lnTo>
                    <a:pt x="211" y="868"/>
                  </a:lnTo>
                  <a:lnTo>
                    <a:pt x="213" y="868"/>
                  </a:lnTo>
                  <a:lnTo>
                    <a:pt x="207" y="868"/>
                  </a:lnTo>
                  <a:lnTo>
                    <a:pt x="193" y="868"/>
                  </a:lnTo>
                  <a:lnTo>
                    <a:pt x="173" y="870"/>
                  </a:lnTo>
                  <a:lnTo>
                    <a:pt x="152" y="870"/>
                  </a:lnTo>
                  <a:lnTo>
                    <a:pt x="130" y="872"/>
                  </a:lnTo>
                  <a:lnTo>
                    <a:pt x="112" y="876"/>
                  </a:lnTo>
                  <a:lnTo>
                    <a:pt x="97" y="882"/>
                  </a:lnTo>
                  <a:lnTo>
                    <a:pt x="81" y="892"/>
                  </a:lnTo>
                  <a:lnTo>
                    <a:pt x="67" y="902"/>
                  </a:lnTo>
                  <a:lnTo>
                    <a:pt x="53" y="912"/>
                  </a:lnTo>
                  <a:lnTo>
                    <a:pt x="43" y="915"/>
                  </a:lnTo>
                  <a:lnTo>
                    <a:pt x="34" y="915"/>
                  </a:lnTo>
                  <a:lnTo>
                    <a:pt x="28" y="912"/>
                  </a:lnTo>
                  <a:lnTo>
                    <a:pt x="22" y="908"/>
                  </a:lnTo>
                  <a:lnTo>
                    <a:pt x="18" y="906"/>
                  </a:lnTo>
                  <a:lnTo>
                    <a:pt x="14" y="902"/>
                  </a:lnTo>
                  <a:lnTo>
                    <a:pt x="10" y="896"/>
                  </a:lnTo>
                  <a:lnTo>
                    <a:pt x="10" y="892"/>
                  </a:lnTo>
                  <a:lnTo>
                    <a:pt x="10" y="884"/>
                  </a:lnTo>
                  <a:lnTo>
                    <a:pt x="16" y="876"/>
                  </a:lnTo>
                  <a:lnTo>
                    <a:pt x="24" y="868"/>
                  </a:lnTo>
                  <a:lnTo>
                    <a:pt x="32" y="862"/>
                  </a:lnTo>
                  <a:lnTo>
                    <a:pt x="37" y="854"/>
                  </a:lnTo>
                  <a:lnTo>
                    <a:pt x="37" y="843"/>
                  </a:lnTo>
                  <a:lnTo>
                    <a:pt x="34" y="835"/>
                  </a:lnTo>
                  <a:lnTo>
                    <a:pt x="24" y="829"/>
                  </a:lnTo>
                  <a:lnTo>
                    <a:pt x="14" y="823"/>
                  </a:lnTo>
                  <a:lnTo>
                    <a:pt x="6" y="817"/>
                  </a:lnTo>
                  <a:lnTo>
                    <a:pt x="0" y="811"/>
                  </a:lnTo>
                  <a:lnTo>
                    <a:pt x="2" y="799"/>
                  </a:lnTo>
                  <a:lnTo>
                    <a:pt x="12" y="776"/>
                  </a:lnTo>
                  <a:lnTo>
                    <a:pt x="22" y="758"/>
                  </a:lnTo>
                  <a:lnTo>
                    <a:pt x="34" y="744"/>
                  </a:lnTo>
                  <a:lnTo>
                    <a:pt x="41" y="734"/>
                  </a:lnTo>
                  <a:lnTo>
                    <a:pt x="47" y="719"/>
                  </a:lnTo>
                  <a:lnTo>
                    <a:pt x="55" y="701"/>
                  </a:lnTo>
                  <a:lnTo>
                    <a:pt x="61" y="685"/>
                  </a:lnTo>
                  <a:lnTo>
                    <a:pt x="67" y="675"/>
                  </a:lnTo>
                  <a:lnTo>
                    <a:pt x="75" y="669"/>
                  </a:lnTo>
                  <a:lnTo>
                    <a:pt x="89" y="665"/>
                  </a:lnTo>
                  <a:lnTo>
                    <a:pt x="102" y="660"/>
                  </a:lnTo>
                  <a:lnTo>
                    <a:pt x="114" y="646"/>
                  </a:lnTo>
                  <a:lnTo>
                    <a:pt x="122" y="632"/>
                  </a:lnTo>
                  <a:lnTo>
                    <a:pt x="126" y="620"/>
                  </a:lnTo>
                  <a:lnTo>
                    <a:pt x="130" y="614"/>
                  </a:lnTo>
                  <a:lnTo>
                    <a:pt x="142" y="604"/>
                  </a:lnTo>
                  <a:lnTo>
                    <a:pt x="152" y="599"/>
                  </a:lnTo>
                  <a:lnTo>
                    <a:pt x="161" y="595"/>
                  </a:lnTo>
                  <a:lnTo>
                    <a:pt x="167" y="591"/>
                  </a:lnTo>
                  <a:lnTo>
                    <a:pt x="175" y="581"/>
                  </a:lnTo>
                  <a:lnTo>
                    <a:pt x="187" y="553"/>
                  </a:lnTo>
                  <a:lnTo>
                    <a:pt x="197" y="522"/>
                  </a:lnTo>
                  <a:lnTo>
                    <a:pt x="205" y="488"/>
                  </a:lnTo>
                  <a:lnTo>
                    <a:pt x="213" y="445"/>
                  </a:lnTo>
                  <a:lnTo>
                    <a:pt x="215" y="404"/>
                  </a:lnTo>
                  <a:lnTo>
                    <a:pt x="213" y="384"/>
                  </a:lnTo>
                  <a:lnTo>
                    <a:pt x="213" y="358"/>
                  </a:lnTo>
                  <a:lnTo>
                    <a:pt x="213" y="333"/>
                  </a:lnTo>
                  <a:lnTo>
                    <a:pt x="211" y="309"/>
                  </a:lnTo>
                  <a:lnTo>
                    <a:pt x="209" y="295"/>
                  </a:lnTo>
                  <a:lnTo>
                    <a:pt x="201" y="288"/>
                  </a:lnTo>
                  <a:lnTo>
                    <a:pt x="189" y="286"/>
                  </a:lnTo>
                  <a:lnTo>
                    <a:pt x="173" y="284"/>
                  </a:lnTo>
                  <a:lnTo>
                    <a:pt x="159" y="280"/>
                  </a:lnTo>
                  <a:lnTo>
                    <a:pt x="146" y="274"/>
                  </a:lnTo>
                  <a:lnTo>
                    <a:pt x="134" y="260"/>
                  </a:lnTo>
                  <a:lnTo>
                    <a:pt x="126" y="242"/>
                  </a:lnTo>
                  <a:lnTo>
                    <a:pt x="122" y="225"/>
                  </a:lnTo>
                  <a:lnTo>
                    <a:pt x="124" y="181"/>
                  </a:lnTo>
                  <a:lnTo>
                    <a:pt x="144" y="162"/>
                  </a:lnTo>
                  <a:lnTo>
                    <a:pt x="169" y="183"/>
                  </a:lnTo>
                  <a:lnTo>
                    <a:pt x="203" y="168"/>
                  </a:lnTo>
                  <a:lnTo>
                    <a:pt x="199" y="114"/>
                  </a:lnTo>
                  <a:lnTo>
                    <a:pt x="228" y="20"/>
                  </a:lnTo>
                  <a:lnTo>
                    <a:pt x="266" y="0"/>
                  </a:lnTo>
                  <a:lnTo>
                    <a:pt x="278" y="116"/>
                  </a:lnTo>
                  <a:lnTo>
                    <a:pt x="311" y="177"/>
                  </a:lnTo>
                  <a:lnTo>
                    <a:pt x="354" y="170"/>
                  </a:lnTo>
                  <a:lnTo>
                    <a:pt x="400" y="118"/>
                  </a:lnTo>
                  <a:lnTo>
                    <a:pt x="429" y="156"/>
                  </a:lnTo>
                  <a:lnTo>
                    <a:pt x="411" y="191"/>
                  </a:lnTo>
                  <a:lnTo>
                    <a:pt x="447" y="242"/>
                  </a:lnTo>
                  <a:lnTo>
                    <a:pt x="496" y="244"/>
                  </a:lnTo>
                  <a:lnTo>
                    <a:pt x="551" y="329"/>
                  </a:lnTo>
                  <a:lnTo>
                    <a:pt x="614" y="439"/>
                  </a:lnTo>
                  <a:lnTo>
                    <a:pt x="646" y="516"/>
                  </a:lnTo>
                  <a:lnTo>
                    <a:pt x="681" y="551"/>
                  </a:lnTo>
                  <a:lnTo>
                    <a:pt x="721" y="543"/>
                  </a:lnTo>
                  <a:lnTo>
                    <a:pt x="793" y="494"/>
                  </a:lnTo>
                  <a:lnTo>
                    <a:pt x="803" y="518"/>
                  </a:lnTo>
                  <a:lnTo>
                    <a:pt x="852" y="492"/>
                  </a:lnTo>
                  <a:lnTo>
                    <a:pt x="856" y="435"/>
                  </a:lnTo>
                  <a:lnTo>
                    <a:pt x="831" y="402"/>
                  </a:lnTo>
                  <a:lnTo>
                    <a:pt x="831" y="335"/>
                  </a:lnTo>
                  <a:lnTo>
                    <a:pt x="868" y="315"/>
                  </a:lnTo>
                  <a:lnTo>
                    <a:pt x="925" y="244"/>
                  </a:lnTo>
                  <a:lnTo>
                    <a:pt x="917" y="199"/>
                  </a:lnTo>
                  <a:lnTo>
                    <a:pt x="941" y="171"/>
                  </a:lnTo>
                  <a:lnTo>
                    <a:pt x="976" y="171"/>
                  </a:lnTo>
                  <a:lnTo>
                    <a:pt x="980" y="148"/>
                  </a:lnTo>
                  <a:lnTo>
                    <a:pt x="967" y="120"/>
                  </a:lnTo>
                  <a:lnTo>
                    <a:pt x="994" y="103"/>
                  </a:lnTo>
                  <a:lnTo>
                    <a:pt x="1043" y="108"/>
                  </a:lnTo>
                  <a:lnTo>
                    <a:pt x="1043" y="162"/>
                  </a:lnTo>
                  <a:lnTo>
                    <a:pt x="1065" y="232"/>
                  </a:lnTo>
                  <a:lnTo>
                    <a:pt x="1128" y="227"/>
                  </a:lnTo>
                  <a:lnTo>
                    <a:pt x="1154" y="189"/>
                  </a:lnTo>
                  <a:lnTo>
                    <a:pt x="1187" y="211"/>
                  </a:lnTo>
                  <a:lnTo>
                    <a:pt x="1193" y="252"/>
                  </a:lnTo>
                  <a:lnTo>
                    <a:pt x="1177" y="315"/>
                  </a:lnTo>
                  <a:lnTo>
                    <a:pt x="1126" y="329"/>
                  </a:lnTo>
                  <a:lnTo>
                    <a:pt x="1061" y="327"/>
                  </a:lnTo>
                  <a:lnTo>
                    <a:pt x="1047" y="311"/>
                  </a:lnTo>
                  <a:lnTo>
                    <a:pt x="1024" y="337"/>
                  </a:lnTo>
                  <a:lnTo>
                    <a:pt x="994" y="315"/>
                  </a:lnTo>
                  <a:lnTo>
                    <a:pt x="939" y="376"/>
                  </a:lnTo>
                  <a:lnTo>
                    <a:pt x="961" y="404"/>
                  </a:lnTo>
                  <a:lnTo>
                    <a:pt x="965" y="459"/>
                  </a:lnTo>
                  <a:lnTo>
                    <a:pt x="1006" y="471"/>
                  </a:lnTo>
                  <a:lnTo>
                    <a:pt x="1051" y="449"/>
                  </a:lnTo>
                  <a:lnTo>
                    <a:pt x="1069" y="445"/>
                  </a:lnTo>
                  <a:lnTo>
                    <a:pt x="1104" y="490"/>
                  </a:lnTo>
                  <a:lnTo>
                    <a:pt x="1075" y="561"/>
                  </a:lnTo>
                  <a:lnTo>
                    <a:pt x="1053" y="614"/>
                  </a:lnTo>
                  <a:lnTo>
                    <a:pt x="1075" y="658"/>
                  </a:lnTo>
                  <a:lnTo>
                    <a:pt x="1116" y="677"/>
                  </a:lnTo>
                  <a:lnTo>
                    <a:pt x="1118" y="732"/>
                  </a:lnTo>
                  <a:lnTo>
                    <a:pt x="1081" y="782"/>
                  </a:lnTo>
                  <a:lnTo>
                    <a:pt x="1112" y="837"/>
                  </a:lnTo>
                  <a:lnTo>
                    <a:pt x="1138" y="819"/>
                  </a:lnTo>
                  <a:lnTo>
                    <a:pt x="1187" y="823"/>
                  </a:lnTo>
                  <a:lnTo>
                    <a:pt x="1197" y="864"/>
                  </a:lnTo>
                  <a:lnTo>
                    <a:pt x="1228" y="884"/>
                  </a:lnTo>
                  <a:lnTo>
                    <a:pt x="1262" y="864"/>
                  </a:lnTo>
                  <a:lnTo>
                    <a:pt x="1293" y="888"/>
                  </a:lnTo>
                  <a:lnTo>
                    <a:pt x="1329" y="872"/>
                  </a:lnTo>
                  <a:lnTo>
                    <a:pt x="1352" y="900"/>
                  </a:lnTo>
                  <a:lnTo>
                    <a:pt x="1343" y="973"/>
                  </a:lnTo>
                  <a:lnTo>
                    <a:pt x="1291" y="986"/>
                  </a:lnTo>
                  <a:lnTo>
                    <a:pt x="1262" y="1026"/>
                  </a:lnTo>
                  <a:close/>
                </a:path>
              </a:pathLst>
            </a:custGeom>
            <a:grpFill/>
            <a:ln w="0">
              <a:solidFill>
                <a:schemeClr val="bg1"/>
              </a:solidFill>
              <a:prstDash val="solid"/>
              <a:round/>
            </a:ln>
          </p:spPr>
          <p:txBody>
            <a:bodyPr/>
            <a:lstStyle/>
            <a:p>
              <a:endParaRPr lang="zh-CN" altLang="en-US"/>
            </a:p>
          </p:txBody>
        </p:sp>
        <p:sp>
          <p:nvSpPr>
            <p:cNvPr id="27" name="Freeform 72"/>
            <p:cNvSpPr/>
            <p:nvPr/>
          </p:nvSpPr>
          <p:spPr bwMode="gray">
            <a:xfrm>
              <a:off x="2215" y="3052"/>
              <a:ext cx="676" cy="694"/>
            </a:xfrm>
            <a:custGeom>
              <a:avLst/>
              <a:gdLst>
                <a:gd name="T0" fmla="*/ 297 w 1352"/>
                <a:gd name="T1" fmla="*/ 258 h 1388"/>
                <a:gd name="T2" fmla="*/ 288 w 1352"/>
                <a:gd name="T3" fmla="*/ 267 h 1388"/>
                <a:gd name="T4" fmla="*/ 280 w 1352"/>
                <a:gd name="T5" fmla="*/ 277 h 1388"/>
                <a:gd name="T6" fmla="*/ 265 w 1352"/>
                <a:gd name="T7" fmla="*/ 279 h 1388"/>
                <a:gd name="T8" fmla="*/ 258 w 1352"/>
                <a:gd name="T9" fmla="*/ 281 h 1388"/>
                <a:gd name="T10" fmla="*/ 248 w 1352"/>
                <a:gd name="T11" fmla="*/ 285 h 1388"/>
                <a:gd name="T12" fmla="*/ 240 w 1352"/>
                <a:gd name="T13" fmla="*/ 279 h 1388"/>
                <a:gd name="T14" fmla="*/ 237 w 1352"/>
                <a:gd name="T15" fmla="*/ 285 h 1388"/>
                <a:gd name="T16" fmla="*/ 231 w 1352"/>
                <a:gd name="T17" fmla="*/ 284 h 1388"/>
                <a:gd name="T18" fmla="*/ 228 w 1352"/>
                <a:gd name="T19" fmla="*/ 281 h 1388"/>
                <a:gd name="T20" fmla="*/ 218 w 1352"/>
                <a:gd name="T21" fmla="*/ 290 h 1388"/>
                <a:gd name="T22" fmla="*/ 202 w 1352"/>
                <a:gd name="T23" fmla="*/ 282 h 1388"/>
                <a:gd name="T24" fmla="*/ 188 w 1352"/>
                <a:gd name="T25" fmla="*/ 290 h 1388"/>
                <a:gd name="T26" fmla="*/ 174 w 1352"/>
                <a:gd name="T27" fmla="*/ 293 h 1388"/>
                <a:gd name="T28" fmla="*/ 162 w 1352"/>
                <a:gd name="T29" fmla="*/ 303 h 1388"/>
                <a:gd name="T30" fmla="*/ 169 w 1352"/>
                <a:gd name="T31" fmla="*/ 330 h 1388"/>
                <a:gd name="T32" fmla="*/ 165 w 1352"/>
                <a:gd name="T33" fmla="*/ 346 h 1388"/>
                <a:gd name="T34" fmla="*/ 146 w 1352"/>
                <a:gd name="T35" fmla="*/ 341 h 1388"/>
                <a:gd name="T36" fmla="*/ 142 w 1352"/>
                <a:gd name="T37" fmla="*/ 322 h 1388"/>
                <a:gd name="T38" fmla="*/ 130 w 1352"/>
                <a:gd name="T39" fmla="*/ 330 h 1388"/>
                <a:gd name="T40" fmla="*/ 113 w 1352"/>
                <a:gd name="T41" fmla="*/ 336 h 1388"/>
                <a:gd name="T42" fmla="*/ 98 w 1352"/>
                <a:gd name="T43" fmla="*/ 327 h 1388"/>
                <a:gd name="T44" fmla="*/ 94 w 1352"/>
                <a:gd name="T45" fmla="*/ 310 h 1388"/>
                <a:gd name="T46" fmla="*/ 76 w 1352"/>
                <a:gd name="T47" fmla="*/ 308 h 1388"/>
                <a:gd name="T48" fmla="*/ 67 w 1352"/>
                <a:gd name="T49" fmla="*/ 301 h 1388"/>
                <a:gd name="T50" fmla="*/ 72 w 1352"/>
                <a:gd name="T51" fmla="*/ 280 h 1388"/>
                <a:gd name="T52" fmla="*/ 79 w 1352"/>
                <a:gd name="T53" fmla="*/ 267 h 1388"/>
                <a:gd name="T54" fmla="*/ 63 w 1352"/>
                <a:gd name="T55" fmla="*/ 263 h 1388"/>
                <a:gd name="T56" fmla="*/ 53 w 1352"/>
                <a:gd name="T57" fmla="*/ 245 h 1388"/>
                <a:gd name="T58" fmla="*/ 47 w 1352"/>
                <a:gd name="T59" fmla="*/ 227 h 1388"/>
                <a:gd name="T60" fmla="*/ 51 w 1352"/>
                <a:gd name="T61" fmla="*/ 218 h 1388"/>
                <a:gd name="T62" fmla="*/ 48 w 1352"/>
                <a:gd name="T63" fmla="*/ 217 h 1388"/>
                <a:gd name="T64" fmla="*/ 24 w 1352"/>
                <a:gd name="T65" fmla="*/ 220 h 1388"/>
                <a:gd name="T66" fmla="*/ 9 w 1352"/>
                <a:gd name="T67" fmla="*/ 229 h 1388"/>
                <a:gd name="T68" fmla="*/ 3 w 1352"/>
                <a:gd name="T69" fmla="*/ 224 h 1388"/>
                <a:gd name="T70" fmla="*/ 8 w 1352"/>
                <a:gd name="T71" fmla="*/ 215 h 1388"/>
                <a:gd name="T72" fmla="*/ 3 w 1352"/>
                <a:gd name="T73" fmla="*/ 206 h 1388"/>
                <a:gd name="T74" fmla="*/ 5 w 1352"/>
                <a:gd name="T75" fmla="*/ 189 h 1388"/>
                <a:gd name="T76" fmla="*/ 15 w 1352"/>
                <a:gd name="T77" fmla="*/ 172 h 1388"/>
                <a:gd name="T78" fmla="*/ 28 w 1352"/>
                <a:gd name="T79" fmla="*/ 162 h 1388"/>
                <a:gd name="T80" fmla="*/ 38 w 1352"/>
                <a:gd name="T81" fmla="*/ 150 h 1388"/>
                <a:gd name="T82" fmla="*/ 49 w 1352"/>
                <a:gd name="T83" fmla="*/ 131 h 1388"/>
                <a:gd name="T84" fmla="*/ 53 w 1352"/>
                <a:gd name="T85" fmla="*/ 89 h 1388"/>
                <a:gd name="T86" fmla="*/ 47 w 1352"/>
                <a:gd name="T87" fmla="*/ 72 h 1388"/>
                <a:gd name="T88" fmla="*/ 31 w 1352"/>
                <a:gd name="T89" fmla="*/ 60 h 1388"/>
                <a:gd name="T90" fmla="*/ 51 w 1352"/>
                <a:gd name="T91" fmla="*/ 42 h 1388"/>
                <a:gd name="T92" fmla="*/ 78 w 1352"/>
                <a:gd name="T93" fmla="*/ 44 h 1388"/>
                <a:gd name="T94" fmla="*/ 112 w 1352"/>
                <a:gd name="T95" fmla="*/ 60 h 1388"/>
                <a:gd name="T96" fmla="*/ 170 w 1352"/>
                <a:gd name="T97" fmla="*/ 138 h 1388"/>
                <a:gd name="T98" fmla="*/ 214 w 1352"/>
                <a:gd name="T99" fmla="*/ 109 h 1388"/>
                <a:gd name="T100" fmla="*/ 229 w 1352"/>
                <a:gd name="T101" fmla="*/ 50 h 1388"/>
                <a:gd name="T102" fmla="*/ 248 w 1352"/>
                <a:gd name="T103" fmla="*/ 26 h 1388"/>
                <a:gd name="T104" fmla="*/ 289 w 1352"/>
                <a:gd name="T105" fmla="*/ 47 h 1388"/>
                <a:gd name="T106" fmla="*/ 266 w 1352"/>
                <a:gd name="T107" fmla="*/ 82 h 1388"/>
                <a:gd name="T108" fmla="*/ 240 w 1352"/>
                <a:gd name="T109" fmla="*/ 101 h 1388"/>
                <a:gd name="T110" fmla="*/ 276 w 1352"/>
                <a:gd name="T111" fmla="*/ 122 h 1388"/>
                <a:gd name="T112" fmla="*/ 280 w 1352"/>
                <a:gd name="T113" fmla="*/ 183 h 1388"/>
                <a:gd name="T114" fmla="*/ 300 w 1352"/>
                <a:gd name="T115" fmla="*/ 216 h 1388"/>
                <a:gd name="T116" fmla="*/ 338 w 1352"/>
                <a:gd name="T117" fmla="*/ 225 h 138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352"/>
                <a:gd name="T178" fmla="*/ 0 h 1388"/>
                <a:gd name="T179" fmla="*/ 1352 w 1352"/>
                <a:gd name="T180" fmla="*/ 1388 h 1388"/>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352" h="1388">
                  <a:moveTo>
                    <a:pt x="1262" y="1026"/>
                  </a:moveTo>
                  <a:lnTo>
                    <a:pt x="1230" y="998"/>
                  </a:lnTo>
                  <a:lnTo>
                    <a:pt x="1203" y="1026"/>
                  </a:lnTo>
                  <a:lnTo>
                    <a:pt x="1197" y="1028"/>
                  </a:lnTo>
                  <a:lnTo>
                    <a:pt x="1185" y="1032"/>
                  </a:lnTo>
                  <a:lnTo>
                    <a:pt x="1171" y="1039"/>
                  </a:lnTo>
                  <a:lnTo>
                    <a:pt x="1159" y="1045"/>
                  </a:lnTo>
                  <a:lnTo>
                    <a:pt x="1154" y="1049"/>
                  </a:lnTo>
                  <a:lnTo>
                    <a:pt x="1152" y="1055"/>
                  </a:lnTo>
                  <a:lnTo>
                    <a:pt x="1150" y="1067"/>
                  </a:lnTo>
                  <a:lnTo>
                    <a:pt x="1148" y="1081"/>
                  </a:lnTo>
                  <a:lnTo>
                    <a:pt x="1144" y="1093"/>
                  </a:lnTo>
                  <a:lnTo>
                    <a:pt x="1138" y="1098"/>
                  </a:lnTo>
                  <a:lnTo>
                    <a:pt x="1130" y="1102"/>
                  </a:lnTo>
                  <a:lnTo>
                    <a:pt x="1118" y="1106"/>
                  </a:lnTo>
                  <a:lnTo>
                    <a:pt x="1104" y="1114"/>
                  </a:lnTo>
                  <a:lnTo>
                    <a:pt x="1091" y="1118"/>
                  </a:lnTo>
                  <a:lnTo>
                    <a:pt x="1079" y="1122"/>
                  </a:lnTo>
                  <a:lnTo>
                    <a:pt x="1069" y="1120"/>
                  </a:lnTo>
                  <a:lnTo>
                    <a:pt x="1059" y="1114"/>
                  </a:lnTo>
                  <a:lnTo>
                    <a:pt x="1047" y="1112"/>
                  </a:lnTo>
                  <a:lnTo>
                    <a:pt x="1035" y="1112"/>
                  </a:lnTo>
                  <a:lnTo>
                    <a:pt x="1032" y="1112"/>
                  </a:lnTo>
                  <a:lnTo>
                    <a:pt x="1032" y="1116"/>
                  </a:lnTo>
                  <a:lnTo>
                    <a:pt x="1030" y="1124"/>
                  </a:lnTo>
                  <a:lnTo>
                    <a:pt x="1026" y="1136"/>
                  </a:lnTo>
                  <a:lnTo>
                    <a:pt x="1020" y="1144"/>
                  </a:lnTo>
                  <a:lnTo>
                    <a:pt x="1012" y="1148"/>
                  </a:lnTo>
                  <a:lnTo>
                    <a:pt x="1004" y="1146"/>
                  </a:lnTo>
                  <a:lnTo>
                    <a:pt x="992" y="1140"/>
                  </a:lnTo>
                  <a:lnTo>
                    <a:pt x="980" y="1130"/>
                  </a:lnTo>
                  <a:lnTo>
                    <a:pt x="969" y="1122"/>
                  </a:lnTo>
                  <a:lnTo>
                    <a:pt x="963" y="1116"/>
                  </a:lnTo>
                  <a:lnTo>
                    <a:pt x="959" y="1114"/>
                  </a:lnTo>
                  <a:lnTo>
                    <a:pt x="959" y="1116"/>
                  </a:lnTo>
                  <a:lnTo>
                    <a:pt x="959" y="1118"/>
                  </a:lnTo>
                  <a:lnTo>
                    <a:pt x="957" y="1124"/>
                  </a:lnTo>
                  <a:lnTo>
                    <a:pt x="955" y="1130"/>
                  </a:lnTo>
                  <a:lnTo>
                    <a:pt x="951" y="1134"/>
                  </a:lnTo>
                  <a:lnTo>
                    <a:pt x="949" y="1140"/>
                  </a:lnTo>
                  <a:lnTo>
                    <a:pt x="945" y="1142"/>
                  </a:lnTo>
                  <a:lnTo>
                    <a:pt x="939" y="1144"/>
                  </a:lnTo>
                  <a:lnTo>
                    <a:pt x="935" y="1142"/>
                  </a:lnTo>
                  <a:lnTo>
                    <a:pt x="931" y="1140"/>
                  </a:lnTo>
                  <a:lnTo>
                    <a:pt x="925" y="1136"/>
                  </a:lnTo>
                  <a:lnTo>
                    <a:pt x="921" y="1132"/>
                  </a:lnTo>
                  <a:lnTo>
                    <a:pt x="919" y="1128"/>
                  </a:lnTo>
                  <a:lnTo>
                    <a:pt x="917" y="1126"/>
                  </a:lnTo>
                  <a:lnTo>
                    <a:pt x="915" y="1122"/>
                  </a:lnTo>
                  <a:lnTo>
                    <a:pt x="913" y="1122"/>
                  </a:lnTo>
                  <a:lnTo>
                    <a:pt x="911" y="1126"/>
                  </a:lnTo>
                  <a:lnTo>
                    <a:pt x="906" y="1132"/>
                  </a:lnTo>
                  <a:lnTo>
                    <a:pt x="896" y="1144"/>
                  </a:lnTo>
                  <a:lnTo>
                    <a:pt x="886" y="1154"/>
                  </a:lnTo>
                  <a:lnTo>
                    <a:pt x="874" y="1159"/>
                  </a:lnTo>
                  <a:lnTo>
                    <a:pt x="864" y="1163"/>
                  </a:lnTo>
                  <a:lnTo>
                    <a:pt x="852" y="1159"/>
                  </a:lnTo>
                  <a:lnTo>
                    <a:pt x="839" y="1150"/>
                  </a:lnTo>
                  <a:lnTo>
                    <a:pt x="825" y="1138"/>
                  </a:lnTo>
                  <a:lnTo>
                    <a:pt x="809" y="1128"/>
                  </a:lnTo>
                  <a:lnTo>
                    <a:pt x="797" y="1122"/>
                  </a:lnTo>
                  <a:lnTo>
                    <a:pt x="787" y="1120"/>
                  </a:lnTo>
                  <a:lnTo>
                    <a:pt x="778" y="1130"/>
                  </a:lnTo>
                  <a:lnTo>
                    <a:pt x="766" y="1144"/>
                  </a:lnTo>
                  <a:lnTo>
                    <a:pt x="754" y="1159"/>
                  </a:lnTo>
                  <a:lnTo>
                    <a:pt x="742" y="1171"/>
                  </a:lnTo>
                  <a:lnTo>
                    <a:pt x="734" y="1179"/>
                  </a:lnTo>
                  <a:lnTo>
                    <a:pt x="724" y="1177"/>
                  </a:lnTo>
                  <a:lnTo>
                    <a:pt x="711" y="1175"/>
                  </a:lnTo>
                  <a:lnTo>
                    <a:pt x="695" y="1169"/>
                  </a:lnTo>
                  <a:lnTo>
                    <a:pt x="679" y="1165"/>
                  </a:lnTo>
                  <a:lnTo>
                    <a:pt x="667" y="1165"/>
                  </a:lnTo>
                  <a:lnTo>
                    <a:pt x="659" y="1167"/>
                  </a:lnTo>
                  <a:lnTo>
                    <a:pt x="650" y="1183"/>
                  </a:lnTo>
                  <a:lnTo>
                    <a:pt x="646" y="1209"/>
                  </a:lnTo>
                  <a:lnTo>
                    <a:pt x="648" y="1234"/>
                  </a:lnTo>
                  <a:lnTo>
                    <a:pt x="656" y="1254"/>
                  </a:lnTo>
                  <a:lnTo>
                    <a:pt x="665" y="1278"/>
                  </a:lnTo>
                  <a:lnTo>
                    <a:pt x="673" y="1299"/>
                  </a:lnTo>
                  <a:lnTo>
                    <a:pt x="675" y="1317"/>
                  </a:lnTo>
                  <a:lnTo>
                    <a:pt x="673" y="1331"/>
                  </a:lnTo>
                  <a:lnTo>
                    <a:pt x="673" y="1346"/>
                  </a:lnTo>
                  <a:lnTo>
                    <a:pt x="673" y="1362"/>
                  </a:lnTo>
                  <a:lnTo>
                    <a:pt x="667" y="1374"/>
                  </a:lnTo>
                  <a:lnTo>
                    <a:pt x="658" y="1382"/>
                  </a:lnTo>
                  <a:lnTo>
                    <a:pt x="638" y="1386"/>
                  </a:lnTo>
                  <a:lnTo>
                    <a:pt x="620" y="1388"/>
                  </a:lnTo>
                  <a:lnTo>
                    <a:pt x="604" y="1386"/>
                  </a:lnTo>
                  <a:lnTo>
                    <a:pt x="591" y="1380"/>
                  </a:lnTo>
                  <a:lnTo>
                    <a:pt x="581" y="1362"/>
                  </a:lnTo>
                  <a:lnTo>
                    <a:pt x="573" y="1343"/>
                  </a:lnTo>
                  <a:lnTo>
                    <a:pt x="571" y="1321"/>
                  </a:lnTo>
                  <a:lnTo>
                    <a:pt x="569" y="1309"/>
                  </a:lnTo>
                  <a:lnTo>
                    <a:pt x="567" y="1297"/>
                  </a:lnTo>
                  <a:lnTo>
                    <a:pt x="565" y="1287"/>
                  </a:lnTo>
                  <a:lnTo>
                    <a:pt x="559" y="1282"/>
                  </a:lnTo>
                  <a:lnTo>
                    <a:pt x="553" y="1283"/>
                  </a:lnTo>
                  <a:lnTo>
                    <a:pt x="545" y="1291"/>
                  </a:lnTo>
                  <a:lnTo>
                    <a:pt x="534" y="1303"/>
                  </a:lnTo>
                  <a:lnTo>
                    <a:pt x="518" y="1317"/>
                  </a:lnTo>
                  <a:lnTo>
                    <a:pt x="504" y="1331"/>
                  </a:lnTo>
                  <a:lnTo>
                    <a:pt x="488" y="1341"/>
                  </a:lnTo>
                  <a:lnTo>
                    <a:pt x="476" y="1343"/>
                  </a:lnTo>
                  <a:lnTo>
                    <a:pt x="465" y="1343"/>
                  </a:lnTo>
                  <a:lnTo>
                    <a:pt x="451" y="1343"/>
                  </a:lnTo>
                  <a:lnTo>
                    <a:pt x="437" y="1345"/>
                  </a:lnTo>
                  <a:lnTo>
                    <a:pt x="425" y="1343"/>
                  </a:lnTo>
                  <a:lnTo>
                    <a:pt x="415" y="1337"/>
                  </a:lnTo>
                  <a:lnTo>
                    <a:pt x="404" y="1323"/>
                  </a:lnTo>
                  <a:lnTo>
                    <a:pt x="394" y="1307"/>
                  </a:lnTo>
                  <a:lnTo>
                    <a:pt x="388" y="1287"/>
                  </a:lnTo>
                  <a:lnTo>
                    <a:pt x="386" y="1272"/>
                  </a:lnTo>
                  <a:lnTo>
                    <a:pt x="382" y="1256"/>
                  </a:lnTo>
                  <a:lnTo>
                    <a:pt x="378" y="1244"/>
                  </a:lnTo>
                  <a:lnTo>
                    <a:pt x="378" y="1240"/>
                  </a:lnTo>
                  <a:lnTo>
                    <a:pt x="372" y="1240"/>
                  </a:lnTo>
                  <a:lnTo>
                    <a:pt x="358" y="1240"/>
                  </a:lnTo>
                  <a:lnTo>
                    <a:pt x="341" y="1238"/>
                  </a:lnTo>
                  <a:lnTo>
                    <a:pt x="321" y="1236"/>
                  </a:lnTo>
                  <a:lnTo>
                    <a:pt x="303" y="1232"/>
                  </a:lnTo>
                  <a:lnTo>
                    <a:pt x="291" y="1224"/>
                  </a:lnTo>
                  <a:lnTo>
                    <a:pt x="282" y="1219"/>
                  </a:lnTo>
                  <a:lnTo>
                    <a:pt x="276" y="1213"/>
                  </a:lnTo>
                  <a:lnTo>
                    <a:pt x="270" y="1209"/>
                  </a:lnTo>
                  <a:lnTo>
                    <a:pt x="268" y="1201"/>
                  </a:lnTo>
                  <a:lnTo>
                    <a:pt x="268" y="1189"/>
                  </a:lnTo>
                  <a:lnTo>
                    <a:pt x="274" y="1171"/>
                  </a:lnTo>
                  <a:lnTo>
                    <a:pt x="280" y="1150"/>
                  </a:lnTo>
                  <a:lnTo>
                    <a:pt x="284" y="1134"/>
                  </a:lnTo>
                  <a:lnTo>
                    <a:pt x="285" y="1120"/>
                  </a:lnTo>
                  <a:lnTo>
                    <a:pt x="287" y="1110"/>
                  </a:lnTo>
                  <a:lnTo>
                    <a:pt x="291" y="1100"/>
                  </a:lnTo>
                  <a:lnTo>
                    <a:pt x="299" y="1087"/>
                  </a:lnTo>
                  <a:lnTo>
                    <a:pt x="309" y="1075"/>
                  </a:lnTo>
                  <a:lnTo>
                    <a:pt x="315" y="1065"/>
                  </a:lnTo>
                  <a:lnTo>
                    <a:pt x="311" y="1057"/>
                  </a:lnTo>
                  <a:lnTo>
                    <a:pt x="303" y="1053"/>
                  </a:lnTo>
                  <a:lnTo>
                    <a:pt x="289" y="1053"/>
                  </a:lnTo>
                  <a:lnTo>
                    <a:pt x="272" y="1053"/>
                  </a:lnTo>
                  <a:lnTo>
                    <a:pt x="254" y="1051"/>
                  </a:lnTo>
                  <a:lnTo>
                    <a:pt x="240" y="1047"/>
                  </a:lnTo>
                  <a:lnTo>
                    <a:pt x="230" y="1039"/>
                  </a:lnTo>
                  <a:lnTo>
                    <a:pt x="221" y="1020"/>
                  </a:lnTo>
                  <a:lnTo>
                    <a:pt x="217" y="1000"/>
                  </a:lnTo>
                  <a:lnTo>
                    <a:pt x="211" y="980"/>
                  </a:lnTo>
                  <a:lnTo>
                    <a:pt x="207" y="959"/>
                  </a:lnTo>
                  <a:lnTo>
                    <a:pt x="205" y="943"/>
                  </a:lnTo>
                  <a:lnTo>
                    <a:pt x="199" y="931"/>
                  </a:lnTo>
                  <a:lnTo>
                    <a:pt x="191" y="919"/>
                  </a:lnTo>
                  <a:lnTo>
                    <a:pt x="187" y="908"/>
                  </a:lnTo>
                  <a:lnTo>
                    <a:pt x="189" y="894"/>
                  </a:lnTo>
                  <a:lnTo>
                    <a:pt x="191" y="888"/>
                  </a:lnTo>
                  <a:lnTo>
                    <a:pt x="197" y="884"/>
                  </a:lnTo>
                  <a:lnTo>
                    <a:pt x="201" y="878"/>
                  </a:lnTo>
                  <a:lnTo>
                    <a:pt x="205" y="874"/>
                  </a:lnTo>
                  <a:lnTo>
                    <a:pt x="209" y="870"/>
                  </a:lnTo>
                  <a:lnTo>
                    <a:pt x="211" y="868"/>
                  </a:lnTo>
                  <a:lnTo>
                    <a:pt x="213" y="868"/>
                  </a:lnTo>
                  <a:lnTo>
                    <a:pt x="207" y="868"/>
                  </a:lnTo>
                  <a:lnTo>
                    <a:pt x="193" y="868"/>
                  </a:lnTo>
                  <a:lnTo>
                    <a:pt x="173" y="870"/>
                  </a:lnTo>
                  <a:lnTo>
                    <a:pt x="152" y="870"/>
                  </a:lnTo>
                  <a:lnTo>
                    <a:pt x="130" y="872"/>
                  </a:lnTo>
                  <a:lnTo>
                    <a:pt x="112" y="876"/>
                  </a:lnTo>
                  <a:lnTo>
                    <a:pt x="97" y="882"/>
                  </a:lnTo>
                  <a:lnTo>
                    <a:pt x="81" y="892"/>
                  </a:lnTo>
                  <a:lnTo>
                    <a:pt x="67" y="902"/>
                  </a:lnTo>
                  <a:lnTo>
                    <a:pt x="53" y="912"/>
                  </a:lnTo>
                  <a:lnTo>
                    <a:pt x="43" y="915"/>
                  </a:lnTo>
                  <a:lnTo>
                    <a:pt x="34" y="915"/>
                  </a:lnTo>
                  <a:lnTo>
                    <a:pt x="28" y="912"/>
                  </a:lnTo>
                  <a:lnTo>
                    <a:pt x="22" y="908"/>
                  </a:lnTo>
                  <a:lnTo>
                    <a:pt x="18" y="906"/>
                  </a:lnTo>
                  <a:lnTo>
                    <a:pt x="14" y="902"/>
                  </a:lnTo>
                  <a:lnTo>
                    <a:pt x="10" y="896"/>
                  </a:lnTo>
                  <a:lnTo>
                    <a:pt x="10" y="892"/>
                  </a:lnTo>
                  <a:lnTo>
                    <a:pt x="10" y="884"/>
                  </a:lnTo>
                  <a:lnTo>
                    <a:pt x="16" y="876"/>
                  </a:lnTo>
                  <a:lnTo>
                    <a:pt x="24" y="868"/>
                  </a:lnTo>
                  <a:lnTo>
                    <a:pt x="32" y="862"/>
                  </a:lnTo>
                  <a:lnTo>
                    <a:pt x="37" y="854"/>
                  </a:lnTo>
                  <a:lnTo>
                    <a:pt x="37" y="843"/>
                  </a:lnTo>
                  <a:lnTo>
                    <a:pt x="34" y="835"/>
                  </a:lnTo>
                  <a:lnTo>
                    <a:pt x="24" y="829"/>
                  </a:lnTo>
                  <a:lnTo>
                    <a:pt x="14" y="823"/>
                  </a:lnTo>
                  <a:lnTo>
                    <a:pt x="6" y="817"/>
                  </a:lnTo>
                  <a:lnTo>
                    <a:pt x="0" y="811"/>
                  </a:lnTo>
                  <a:lnTo>
                    <a:pt x="2" y="799"/>
                  </a:lnTo>
                  <a:lnTo>
                    <a:pt x="12" y="776"/>
                  </a:lnTo>
                  <a:lnTo>
                    <a:pt x="22" y="758"/>
                  </a:lnTo>
                  <a:lnTo>
                    <a:pt x="34" y="744"/>
                  </a:lnTo>
                  <a:lnTo>
                    <a:pt x="41" y="734"/>
                  </a:lnTo>
                  <a:lnTo>
                    <a:pt x="47" y="719"/>
                  </a:lnTo>
                  <a:lnTo>
                    <a:pt x="55" y="701"/>
                  </a:lnTo>
                  <a:lnTo>
                    <a:pt x="61" y="685"/>
                  </a:lnTo>
                  <a:lnTo>
                    <a:pt x="67" y="675"/>
                  </a:lnTo>
                  <a:lnTo>
                    <a:pt x="75" y="669"/>
                  </a:lnTo>
                  <a:lnTo>
                    <a:pt x="89" y="665"/>
                  </a:lnTo>
                  <a:lnTo>
                    <a:pt x="102" y="660"/>
                  </a:lnTo>
                  <a:lnTo>
                    <a:pt x="114" y="646"/>
                  </a:lnTo>
                  <a:lnTo>
                    <a:pt x="122" y="632"/>
                  </a:lnTo>
                  <a:lnTo>
                    <a:pt x="126" y="620"/>
                  </a:lnTo>
                  <a:lnTo>
                    <a:pt x="130" y="614"/>
                  </a:lnTo>
                  <a:lnTo>
                    <a:pt x="142" y="604"/>
                  </a:lnTo>
                  <a:lnTo>
                    <a:pt x="152" y="599"/>
                  </a:lnTo>
                  <a:lnTo>
                    <a:pt x="161" y="595"/>
                  </a:lnTo>
                  <a:lnTo>
                    <a:pt x="167" y="591"/>
                  </a:lnTo>
                  <a:lnTo>
                    <a:pt x="175" y="581"/>
                  </a:lnTo>
                  <a:lnTo>
                    <a:pt x="187" y="553"/>
                  </a:lnTo>
                  <a:lnTo>
                    <a:pt x="197" y="522"/>
                  </a:lnTo>
                  <a:lnTo>
                    <a:pt x="205" y="488"/>
                  </a:lnTo>
                  <a:lnTo>
                    <a:pt x="213" y="445"/>
                  </a:lnTo>
                  <a:lnTo>
                    <a:pt x="215" y="404"/>
                  </a:lnTo>
                  <a:lnTo>
                    <a:pt x="213" y="384"/>
                  </a:lnTo>
                  <a:lnTo>
                    <a:pt x="213" y="358"/>
                  </a:lnTo>
                  <a:lnTo>
                    <a:pt x="213" y="333"/>
                  </a:lnTo>
                  <a:lnTo>
                    <a:pt x="211" y="309"/>
                  </a:lnTo>
                  <a:lnTo>
                    <a:pt x="209" y="295"/>
                  </a:lnTo>
                  <a:lnTo>
                    <a:pt x="201" y="288"/>
                  </a:lnTo>
                  <a:lnTo>
                    <a:pt x="189" y="286"/>
                  </a:lnTo>
                  <a:lnTo>
                    <a:pt x="173" y="284"/>
                  </a:lnTo>
                  <a:lnTo>
                    <a:pt x="159" y="280"/>
                  </a:lnTo>
                  <a:lnTo>
                    <a:pt x="146" y="274"/>
                  </a:lnTo>
                  <a:lnTo>
                    <a:pt x="134" y="260"/>
                  </a:lnTo>
                  <a:lnTo>
                    <a:pt x="126" y="242"/>
                  </a:lnTo>
                  <a:lnTo>
                    <a:pt x="122" y="225"/>
                  </a:lnTo>
                  <a:lnTo>
                    <a:pt x="124" y="181"/>
                  </a:lnTo>
                  <a:lnTo>
                    <a:pt x="144" y="162"/>
                  </a:lnTo>
                  <a:lnTo>
                    <a:pt x="169" y="183"/>
                  </a:lnTo>
                  <a:lnTo>
                    <a:pt x="203" y="168"/>
                  </a:lnTo>
                  <a:lnTo>
                    <a:pt x="199" y="114"/>
                  </a:lnTo>
                  <a:lnTo>
                    <a:pt x="228" y="20"/>
                  </a:lnTo>
                  <a:lnTo>
                    <a:pt x="266" y="0"/>
                  </a:lnTo>
                  <a:lnTo>
                    <a:pt x="278" y="116"/>
                  </a:lnTo>
                  <a:lnTo>
                    <a:pt x="311" y="177"/>
                  </a:lnTo>
                  <a:lnTo>
                    <a:pt x="354" y="170"/>
                  </a:lnTo>
                  <a:lnTo>
                    <a:pt x="400" y="118"/>
                  </a:lnTo>
                  <a:lnTo>
                    <a:pt x="429" y="156"/>
                  </a:lnTo>
                  <a:lnTo>
                    <a:pt x="411" y="191"/>
                  </a:lnTo>
                  <a:lnTo>
                    <a:pt x="447" y="242"/>
                  </a:lnTo>
                  <a:lnTo>
                    <a:pt x="496" y="244"/>
                  </a:lnTo>
                  <a:lnTo>
                    <a:pt x="551" y="329"/>
                  </a:lnTo>
                  <a:lnTo>
                    <a:pt x="614" y="439"/>
                  </a:lnTo>
                  <a:lnTo>
                    <a:pt x="646" y="516"/>
                  </a:lnTo>
                  <a:lnTo>
                    <a:pt x="681" y="551"/>
                  </a:lnTo>
                  <a:lnTo>
                    <a:pt x="721" y="543"/>
                  </a:lnTo>
                  <a:lnTo>
                    <a:pt x="793" y="494"/>
                  </a:lnTo>
                  <a:lnTo>
                    <a:pt x="803" y="518"/>
                  </a:lnTo>
                  <a:lnTo>
                    <a:pt x="852" y="492"/>
                  </a:lnTo>
                  <a:lnTo>
                    <a:pt x="856" y="435"/>
                  </a:lnTo>
                  <a:lnTo>
                    <a:pt x="831" y="402"/>
                  </a:lnTo>
                  <a:lnTo>
                    <a:pt x="831" y="335"/>
                  </a:lnTo>
                  <a:lnTo>
                    <a:pt x="868" y="315"/>
                  </a:lnTo>
                  <a:lnTo>
                    <a:pt x="925" y="244"/>
                  </a:lnTo>
                  <a:lnTo>
                    <a:pt x="917" y="199"/>
                  </a:lnTo>
                  <a:lnTo>
                    <a:pt x="941" y="171"/>
                  </a:lnTo>
                  <a:lnTo>
                    <a:pt x="976" y="171"/>
                  </a:lnTo>
                  <a:lnTo>
                    <a:pt x="980" y="148"/>
                  </a:lnTo>
                  <a:lnTo>
                    <a:pt x="967" y="120"/>
                  </a:lnTo>
                  <a:lnTo>
                    <a:pt x="994" y="103"/>
                  </a:lnTo>
                  <a:lnTo>
                    <a:pt x="1043" y="108"/>
                  </a:lnTo>
                  <a:lnTo>
                    <a:pt x="1043" y="162"/>
                  </a:lnTo>
                  <a:lnTo>
                    <a:pt x="1065" y="232"/>
                  </a:lnTo>
                  <a:lnTo>
                    <a:pt x="1128" y="227"/>
                  </a:lnTo>
                  <a:lnTo>
                    <a:pt x="1154" y="189"/>
                  </a:lnTo>
                  <a:lnTo>
                    <a:pt x="1187" y="211"/>
                  </a:lnTo>
                  <a:lnTo>
                    <a:pt x="1193" y="252"/>
                  </a:lnTo>
                  <a:lnTo>
                    <a:pt x="1177" y="315"/>
                  </a:lnTo>
                  <a:lnTo>
                    <a:pt x="1126" y="329"/>
                  </a:lnTo>
                  <a:lnTo>
                    <a:pt x="1061" y="327"/>
                  </a:lnTo>
                  <a:lnTo>
                    <a:pt x="1047" y="311"/>
                  </a:lnTo>
                  <a:lnTo>
                    <a:pt x="1024" y="337"/>
                  </a:lnTo>
                  <a:lnTo>
                    <a:pt x="994" y="315"/>
                  </a:lnTo>
                  <a:lnTo>
                    <a:pt x="939" y="376"/>
                  </a:lnTo>
                  <a:lnTo>
                    <a:pt x="961" y="404"/>
                  </a:lnTo>
                  <a:lnTo>
                    <a:pt x="965" y="459"/>
                  </a:lnTo>
                  <a:lnTo>
                    <a:pt x="1006" y="471"/>
                  </a:lnTo>
                  <a:lnTo>
                    <a:pt x="1051" y="449"/>
                  </a:lnTo>
                  <a:lnTo>
                    <a:pt x="1069" y="445"/>
                  </a:lnTo>
                  <a:lnTo>
                    <a:pt x="1104" y="490"/>
                  </a:lnTo>
                  <a:lnTo>
                    <a:pt x="1075" y="561"/>
                  </a:lnTo>
                  <a:lnTo>
                    <a:pt x="1053" y="614"/>
                  </a:lnTo>
                  <a:lnTo>
                    <a:pt x="1075" y="658"/>
                  </a:lnTo>
                  <a:lnTo>
                    <a:pt x="1116" y="677"/>
                  </a:lnTo>
                  <a:lnTo>
                    <a:pt x="1118" y="732"/>
                  </a:lnTo>
                  <a:lnTo>
                    <a:pt x="1081" y="782"/>
                  </a:lnTo>
                  <a:lnTo>
                    <a:pt x="1112" y="837"/>
                  </a:lnTo>
                  <a:lnTo>
                    <a:pt x="1138" y="819"/>
                  </a:lnTo>
                  <a:lnTo>
                    <a:pt x="1187" y="823"/>
                  </a:lnTo>
                  <a:lnTo>
                    <a:pt x="1197" y="864"/>
                  </a:lnTo>
                  <a:lnTo>
                    <a:pt x="1228" y="884"/>
                  </a:lnTo>
                  <a:lnTo>
                    <a:pt x="1262" y="864"/>
                  </a:lnTo>
                  <a:lnTo>
                    <a:pt x="1293" y="888"/>
                  </a:lnTo>
                  <a:lnTo>
                    <a:pt x="1329" y="872"/>
                  </a:lnTo>
                  <a:lnTo>
                    <a:pt x="1352" y="900"/>
                  </a:lnTo>
                  <a:lnTo>
                    <a:pt x="1343" y="973"/>
                  </a:lnTo>
                  <a:lnTo>
                    <a:pt x="1291" y="986"/>
                  </a:lnTo>
                  <a:lnTo>
                    <a:pt x="1262" y="1026"/>
                  </a:lnTo>
                </a:path>
              </a:pathLst>
            </a:custGeom>
            <a:grpFill/>
            <a:ln w="6350">
              <a:solidFill>
                <a:schemeClr val="bg1"/>
              </a:solidFill>
              <a:prstDash val="solid"/>
              <a:round/>
            </a:ln>
          </p:spPr>
          <p:txBody>
            <a:bodyPr/>
            <a:lstStyle/>
            <a:p>
              <a:endParaRPr lang="zh-CN" altLang="en-US"/>
            </a:p>
          </p:txBody>
        </p:sp>
        <p:sp>
          <p:nvSpPr>
            <p:cNvPr id="28" name="Freeform 73"/>
            <p:cNvSpPr/>
            <p:nvPr/>
          </p:nvSpPr>
          <p:spPr bwMode="gray">
            <a:xfrm>
              <a:off x="2755" y="3269"/>
              <a:ext cx="596" cy="432"/>
            </a:xfrm>
            <a:custGeom>
              <a:avLst/>
              <a:gdLst>
                <a:gd name="T0" fmla="*/ 209 w 1191"/>
                <a:gd name="T1" fmla="*/ 213 h 864"/>
                <a:gd name="T2" fmla="*/ 202 w 1191"/>
                <a:gd name="T3" fmla="*/ 215 h 864"/>
                <a:gd name="T4" fmla="*/ 195 w 1191"/>
                <a:gd name="T5" fmla="*/ 214 h 864"/>
                <a:gd name="T6" fmla="*/ 186 w 1191"/>
                <a:gd name="T7" fmla="*/ 210 h 864"/>
                <a:gd name="T8" fmla="*/ 180 w 1191"/>
                <a:gd name="T9" fmla="*/ 210 h 864"/>
                <a:gd name="T10" fmla="*/ 174 w 1191"/>
                <a:gd name="T11" fmla="*/ 203 h 864"/>
                <a:gd name="T12" fmla="*/ 169 w 1191"/>
                <a:gd name="T13" fmla="*/ 200 h 864"/>
                <a:gd name="T14" fmla="*/ 163 w 1191"/>
                <a:gd name="T15" fmla="*/ 210 h 864"/>
                <a:gd name="T16" fmla="*/ 155 w 1191"/>
                <a:gd name="T17" fmla="*/ 214 h 864"/>
                <a:gd name="T18" fmla="*/ 146 w 1191"/>
                <a:gd name="T19" fmla="*/ 216 h 864"/>
                <a:gd name="T20" fmla="*/ 140 w 1191"/>
                <a:gd name="T21" fmla="*/ 211 h 864"/>
                <a:gd name="T22" fmla="*/ 133 w 1191"/>
                <a:gd name="T23" fmla="*/ 213 h 864"/>
                <a:gd name="T24" fmla="*/ 123 w 1191"/>
                <a:gd name="T25" fmla="*/ 213 h 864"/>
                <a:gd name="T26" fmla="*/ 112 w 1191"/>
                <a:gd name="T27" fmla="*/ 206 h 864"/>
                <a:gd name="T28" fmla="*/ 101 w 1191"/>
                <a:gd name="T29" fmla="*/ 198 h 864"/>
                <a:gd name="T30" fmla="*/ 93 w 1191"/>
                <a:gd name="T31" fmla="*/ 189 h 864"/>
                <a:gd name="T32" fmla="*/ 88 w 1191"/>
                <a:gd name="T33" fmla="*/ 176 h 864"/>
                <a:gd name="T34" fmla="*/ 91 w 1191"/>
                <a:gd name="T35" fmla="*/ 171 h 864"/>
                <a:gd name="T36" fmla="*/ 94 w 1191"/>
                <a:gd name="T37" fmla="*/ 170 h 864"/>
                <a:gd name="T38" fmla="*/ 96 w 1191"/>
                <a:gd name="T39" fmla="*/ 167 h 864"/>
                <a:gd name="T40" fmla="*/ 87 w 1191"/>
                <a:gd name="T41" fmla="*/ 160 h 864"/>
                <a:gd name="T42" fmla="*/ 79 w 1191"/>
                <a:gd name="T43" fmla="*/ 161 h 864"/>
                <a:gd name="T44" fmla="*/ 74 w 1191"/>
                <a:gd name="T45" fmla="*/ 163 h 864"/>
                <a:gd name="T46" fmla="*/ 66 w 1191"/>
                <a:gd name="T47" fmla="*/ 158 h 864"/>
                <a:gd name="T48" fmla="*/ 60 w 1191"/>
                <a:gd name="T49" fmla="*/ 161 h 864"/>
                <a:gd name="T50" fmla="*/ 52 w 1191"/>
                <a:gd name="T51" fmla="*/ 156 h 864"/>
                <a:gd name="T52" fmla="*/ 46 w 1191"/>
                <a:gd name="T53" fmla="*/ 152 h 864"/>
                <a:gd name="T54" fmla="*/ 66 w 1191"/>
                <a:gd name="T55" fmla="*/ 135 h 864"/>
                <a:gd name="T56" fmla="*/ 53 w 1191"/>
                <a:gd name="T57" fmla="*/ 114 h 864"/>
                <a:gd name="T58" fmla="*/ 29 w 1191"/>
                <a:gd name="T59" fmla="*/ 108 h 864"/>
                <a:gd name="T60" fmla="*/ 8 w 1191"/>
                <a:gd name="T61" fmla="*/ 101 h 864"/>
                <a:gd name="T62" fmla="*/ 26 w 1191"/>
                <a:gd name="T63" fmla="*/ 74 h 864"/>
                <a:gd name="T64" fmla="*/ 63 w 1191"/>
                <a:gd name="T65" fmla="*/ 84 h 864"/>
                <a:gd name="T66" fmla="*/ 77 w 1191"/>
                <a:gd name="T67" fmla="*/ 70 h 864"/>
                <a:gd name="T68" fmla="*/ 100 w 1191"/>
                <a:gd name="T69" fmla="*/ 52 h 864"/>
                <a:gd name="T70" fmla="*/ 124 w 1191"/>
                <a:gd name="T71" fmla="*/ 56 h 864"/>
                <a:gd name="T72" fmla="*/ 144 w 1191"/>
                <a:gd name="T73" fmla="*/ 48 h 864"/>
                <a:gd name="T74" fmla="*/ 165 w 1191"/>
                <a:gd name="T75" fmla="*/ 40 h 864"/>
                <a:gd name="T76" fmla="*/ 182 w 1191"/>
                <a:gd name="T77" fmla="*/ 27 h 864"/>
                <a:gd name="T78" fmla="*/ 200 w 1191"/>
                <a:gd name="T79" fmla="*/ 19 h 864"/>
                <a:gd name="T80" fmla="*/ 217 w 1191"/>
                <a:gd name="T81" fmla="*/ 9 h 864"/>
                <a:gd name="T82" fmla="*/ 244 w 1191"/>
                <a:gd name="T83" fmla="*/ 5 h 864"/>
                <a:gd name="T84" fmla="*/ 260 w 1191"/>
                <a:gd name="T85" fmla="*/ 18 h 864"/>
                <a:gd name="T86" fmla="*/ 252 w 1191"/>
                <a:gd name="T87" fmla="*/ 54 h 864"/>
                <a:gd name="T88" fmla="*/ 274 w 1191"/>
                <a:gd name="T89" fmla="*/ 71 h 864"/>
                <a:gd name="T90" fmla="*/ 298 w 1191"/>
                <a:gd name="T91" fmla="*/ 81 h 864"/>
                <a:gd name="T92" fmla="*/ 282 w 1191"/>
                <a:gd name="T93" fmla="*/ 108 h 864"/>
                <a:gd name="T94" fmla="*/ 260 w 1191"/>
                <a:gd name="T95" fmla="*/ 161 h 864"/>
                <a:gd name="T96" fmla="*/ 248 w 1191"/>
                <a:gd name="T97" fmla="*/ 182 h 864"/>
                <a:gd name="T98" fmla="*/ 225 w 1191"/>
                <a:gd name="T99" fmla="*/ 197 h 864"/>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1191"/>
                <a:gd name="T151" fmla="*/ 0 h 864"/>
                <a:gd name="T152" fmla="*/ 1191 w 1191"/>
                <a:gd name="T153" fmla="*/ 864 h 864"/>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1191" h="864">
                  <a:moveTo>
                    <a:pt x="866" y="835"/>
                  </a:moveTo>
                  <a:lnTo>
                    <a:pt x="834" y="815"/>
                  </a:lnTo>
                  <a:lnTo>
                    <a:pt x="836" y="852"/>
                  </a:lnTo>
                  <a:lnTo>
                    <a:pt x="832" y="852"/>
                  </a:lnTo>
                  <a:lnTo>
                    <a:pt x="821" y="856"/>
                  </a:lnTo>
                  <a:lnTo>
                    <a:pt x="807" y="860"/>
                  </a:lnTo>
                  <a:lnTo>
                    <a:pt x="793" y="864"/>
                  </a:lnTo>
                  <a:lnTo>
                    <a:pt x="783" y="862"/>
                  </a:lnTo>
                  <a:lnTo>
                    <a:pt x="777" y="856"/>
                  </a:lnTo>
                  <a:lnTo>
                    <a:pt x="767" y="849"/>
                  </a:lnTo>
                  <a:lnTo>
                    <a:pt x="758" y="841"/>
                  </a:lnTo>
                  <a:lnTo>
                    <a:pt x="744" y="837"/>
                  </a:lnTo>
                  <a:lnTo>
                    <a:pt x="734" y="837"/>
                  </a:lnTo>
                  <a:lnTo>
                    <a:pt x="726" y="837"/>
                  </a:lnTo>
                  <a:lnTo>
                    <a:pt x="718" y="837"/>
                  </a:lnTo>
                  <a:lnTo>
                    <a:pt x="708" y="831"/>
                  </a:lnTo>
                  <a:lnTo>
                    <a:pt x="701" y="821"/>
                  </a:lnTo>
                  <a:lnTo>
                    <a:pt x="693" y="811"/>
                  </a:lnTo>
                  <a:lnTo>
                    <a:pt x="687" y="801"/>
                  </a:lnTo>
                  <a:lnTo>
                    <a:pt x="681" y="797"/>
                  </a:lnTo>
                  <a:lnTo>
                    <a:pt x="673" y="799"/>
                  </a:lnTo>
                  <a:lnTo>
                    <a:pt x="665" y="811"/>
                  </a:lnTo>
                  <a:lnTo>
                    <a:pt x="657" y="825"/>
                  </a:lnTo>
                  <a:lnTo>
                    <a:pt x="651" y="839"/>
                  </a:lnTo>
                  <a:lnTo>
                    <a:pt x="641" y="847"/>
                  </a:lnTo>
                  <a:lnTo>
                    <a:pt x="632" y="850"/>
                  </a:lnTo>
                  <a:lnTo>
                    <a:pt x="620" y="856"/>
                  </a:lnTo>
                  <a:lnTo>
                    <a:pt x="606" y="860"/>
                  </a:lnTo>
                  <a:lnTo>
                    <a:pt x="592" y="862"/>
                  </a:lnTo>
                  <a:lnTo>
                    <a:pt x="582" y="862"/>
                  </a:lnTo>
                  <a:lnTo>
                    <a:pt x="575" y="854"/>
                  </a:lnTo>
                  <a:lnTo>
                    <a:pt x="569" y="849"/>
                  </a:lnTo>
                  <a:lnTo>
                    <a:pt x="559" y="843"/>
                  </a:lnTo>
                  <a:lnTo>
                    <a:pt x="549" y="843"/>
                  </a:lnTo>
                  <a:lnTo>
                    <a:pt x="539" y="845"/>
                  </a:lnTo>
                  <a:lnTo>
                    <a:pt x="529" y="850"/>
                  </a:lnTo>
                  <a:lnTo>
                    <a:pt x="519" y="854"/>
                  </a:lnTo>
                  <a:lnTo>
                    <a:pt x="508" y="854"/>
                  </a:lnTo>
                  <a:lnTo>
                    <a:pt x="492" y="849"/>
                  </a:lnTo>
                  <a:lnTo>
                    <a:pt x="474" y="837"/>
                  </a:lnTo>
                  <a:lnTo>
                    <a:pt x="458" y="829"/>
                  </a:lnTo>
                  <a:lnTo>
                    <a:pt x="445" y="821"/>
                  </a:lnTo>
                  <a:lnTo>
                    <a:pt x="431" y="811"/>
                  </a:lnTo>
                  <a:lnTo>
                    <a:pt x="417" y="799"/>
                  </a:lnTo>
                  <a:lnTo>
                    <a:pt x="403" y="791"/>
                  </a:lnTo>
                  <a:lnTo>
                    <a:pt x="389" y="784"/>
                  </a:lnTo>
                  <a:lnTo>
                    <a:pt x="382" y="776"/>
                  </a:lnTo>
                  <a:lnTo>
                    <a:pt x="370" y="754"/>
                  </a:lnTo>
                  <a:lnTo>
                    <a:pt x="358" y="732"/>
                  </a:lnTo>
                  <a:lnTo>
                    <a:pt x="352" y="717"/>
                  </a:lnTo>
                  <a:lnTo>
                    <a:pt x="350" y="703"/>
                  </a:lnTo>
                  <a:lnTo>
                    <a:pt x="354" y="691"/>
                  </a:lnTo>
                  <a:lnTo>
                    <a:pt x="358" y="685"/>
                  </a:lnTo>
                  <a:lnTo>
                    <a:pt x="364" y="683"/>
                  </a:lnTo>
                  <a:lnTo>
                    <a:pt x="368" y="681"/>
                  </a:lnTo>
                  <a:lnTo>
                    <a:pt x="372" y="679"/>
                  </a:lnTo>
                  <a:lnTo>
                    <a:pt x="376" y="677"/>
                  </a:lnTo>
                  <a:lnTo>
                    <a:pt x="380" y="673"/>
                  </a:lnTo>
                  <a:lnTo>
                    <a:pt x="382" y="671"/>
                  </a:lnTo>
                  <a:lnTo>
                    <a:pt x="382" y="665"/>
                  </a:lnTo>
                  <a:lnTo>
                    <a:pt x="376" y="654"/>
                  </a:lnTo>
                  <a:lnTo>
                    <a:pt x="364" y="646"/>
                  </a:lnTo>
                  <a:lnTo>
                    <a:pt x="348" y="638"/>
                  </a:lnTo>
                  <a:lnTo>
                    <a:pt x="332" y="636"/>
                  </a:lnTo>
                  <a:lnTo>
                    <a:pt x="323" y="638"/>
                  </a:lnTo>
                  <a:lnTo>
                    <a:pt x="315" y="644"/>
                  </a:lnTo>
                  <a:lnTo>
                    <a:pt x="307" y="650"/>
                  </a:lnTo>
                  <a:lnTo>
                    <a:pt x="301" y="652"/>
                  </a:lnTo>
                  <a:lnTo>
                    <a:pt x="295" y="650"/>
                  </a:lnTo>
                  <a:lnTo>
                    <a:pt x="283" y="636"/>
                  </a:lnTo>
                  <a:lnTo>
                    <a:pt x="273" y="630"/>
                  </a:lnTo>
                  <a:lnTo>
                    <a:pt x="262" y="630"/>
                  </a:lnTo>
                  <a:lnTo>
                    <a:pt x="254" y="636"/>
                  </a:lnTo>
                  <a:lnTo>
                    <a:pt x="246" y="642"/>
                  </a:lnTo>
                  <a:lnTo>
                    <a:pt x="238" y="644"/>
                  </a:lnTo>
                  <a:lnTo>
                    <a:pt x="230" y="640"/>
                  </a:lnTo>
                  <a:lnTo>
                    <a:pt x="220" y="632"/>
                  </a:lnTo>
                  <a:lnTo>
                    <a:pt x="208" y="624"/>
                  </a:lnTo>
                  <a:lnTo>
                    <a:pt x="195" y="614"/>
                  </a:lnTo>
                  <a:lnTo>
                    <a:pt x="185" y="608"/>
                  </a:lnTo>
                  <a:lnTo>
                    <a:pt x="181" y="606"/>
                  </a:lnTo>
                  <a:lnTo>
                    <a:pt x="181" y="593"/>
                  </a:lnTo>
                  <a:lnTo>
                    <a:pt x="210" y="553"/>
                  </a:lnTo>
                  <a:lnTo>
                    <a:pt x="262" y="540"/>
                  </a:lnTo>
                  <a:lnTo>
                    <a:pt x="271" y="467"/>
                  </a:lnTo>
                  <a:lnTo>
                    <a:pt x="248" y="439"/>
                  </a:lnTo>
                  <a:lnTo>
                    <a:pt x="212" y="455"/>
                  </a:lnTo>
                  <a:lnTo>
                    <a:pt x="179" y="435"/>
                  </a:lnTo>
                  <a:lnTo>
                    <a:pt x="147" y="451"/>
                  </a:lnTo>
                  <a:lnTo>
                    <a:pt x="116" y="431"/>
                  </a:lnTo>
                  <a:lnTo>
                    <a:pt x="106" y="390"/>
                  </a:lnTo>
                  <a:lnTo>
                    <a:pt x="57" y="386"/>
                  </a:lnTo>
                  <a:lnTo>
                    <a:pt x="31" y="404"/>
                  </a:lnTo>
                  <a:lnTo>
                    <a:pt x="0" y="349"/>
                  </a:lnTo>
                  <a:lnTo>
                    <a:pt x="51" y="347"/>
                  </a:lnTo>
                  <a:lnTo>
                    <a:pt x="104" y="295"/>
                  </a:lnTo>
                  <a:lnTo>
                    <a:pt x="139" y="292"/>
                  </a:lnTo>
                  <a:lnTo>
                    <a:pt x="195" y="327"/>
                  </a:lnTo>
                  <a:lnTo>
                    <a:pt x="250" y="335"/>
                  </a:lnTo>
                  <a:lnTo>
                    <a:pt x="275" y="309"/>
                  </a:lnTo>
                  <a:lnTo>
                    <a:pt x="279" y="288"/>
                  </a:lnTo>
                  <a:lnTo>
                    <a:pt x="307" y="278"/>
                  </a:lnTo>
                  <a:lnTo>
                    <a:pt x="338" y="248"/>
                  </a:lnTo>
                  <a:lnTo>
                    <a:pt x="386" y="238"/>
                  </a:lnTo>
                  <a:lnTo>
                    <a:pt x="397" y="207"/>
                  </a:lnTo>
                  <a:lnTo>
                    <a:pt x="437" y="181"/>
                  </a:lnTo>
                  <a:lnTo>
                    <a:pt x="458" y="223"/>
                  </a:lnTo>
                  <a:lnTo>
                    <a:pt x="496" y="225"/>
                  </a:lnTo>
                  <a:lnTo>
                    <a:pt x="521" y="248"/>
                  </a:lnTo>
                  <a:lnTo>
                    <a:pt x="567" y="227"/>
                  </a:lnTo>
                  <a:lnTo>
                    <a:pt x="575" y="189"/>
                  </a:lnTo>
                  <a:lnTo>
                    <a:pt x="604" y="173"/>
                  </a:lnTo>
                  <a:lnTo>
                    <a:pt x="641" y="193"/>
                  </a:lnTo>
                  <a:lnTo>
                    <a:pt x="659" y="160"/>
                  </a:lnTo>
                  <a:lnTo>
                    <a:pt x="695" y="160"/>
                  </a:lnTo>
                  <a:lnTo>
                    <a:pt x="693" y="120"/>
                  </a:lnTo>
                  <a:lnTo>
                    <a:pt x="728" y="108"/>
                  </a:lnTo>
                  <a:lnTo>
                    <a:pt x="740" y="122"/>
                  </a:lnTo>
                  <a:lnTo>
                    <a:pt x="765" y="71"/>
                  </a:lnTo>
                  <a:lnTo>
                    <a:pt x="797" y="73"/>
                  </a:lnTo>
                  <a:lnTo>
                    <a:pt x="825" y="77"/>
                  </a:lnTo>
                  <a:lnTo>
                    <a:pt x="840" y="30"/>
                  </a:lnTo>
                  <a:lnTo>
                    <a:pt x="868" y="36"/>
                  </a:lnTo>
                  <a:lnTo>
                    <a:pt x="891" y="63"/>
                  </a:lnTo>
                  <a:lnTo>
                    <a:pt x="933" y="6"/>
                  </a:lnTo>
                  <a:lnTo>
                    <a:pt x="974" y="18"/>
                  </a:lnTo>
                  <a:lnTo>
                    <a:pt x="1006" y="0"/>
                  </a:lnTo>
                  <a:lnTo>
                    <a:pt x="1039" y="10"/>
                  </a:lnTo>
                  <a:lnTo>
                    <a:pt x="1039" y="69"/>
                  </a:lnTo>
                  <a:lnTo>
                    <a:pt x="1065" y="89"/>
                  </a:lnTo>
                  <a:lnTo>
                    <a:pt x="1059" y="154"/>
                  </a:lnTo>
                  <a:lnTo>
                    <a:pt x="1006" y="215"/>
                  </a:lnTo>
                  <a:lnTo>
                    <a:pt x="1080" y="209"/>
                  </a:lnTo>
                  <a:lnTo>
                    <a:pt x="1096" y="234"/>
                  </a:lnTo>
                  <a:lnTo>
                    <a:pt x="1096" y="284"/>
                  </a:lnTo>
                  <a:lnTo>
                    <a:pt x="1134" y="258"/>
                  </a:lnTo>
                  <a:lnTo>
                    <a:pt x="1169" y="258"/>
                  </a:lnTo>
                  <a:lnTo>
                    <a:pt x="1191" y="321"/>
                  </a:lnTo>
                  <a:lnTo>
                    <a:pt x="1163" y="351"/>
                  </a:lnTo>
                  <a:lnTo>
                    <a:pt x="1167" y="408"/>
                  </a:lnTo>
                  <a:lnTo>
                    <a:pt x="1128" y="431"/>
                  </a:lnTo>
                  <a:lnTo>
                    <a:pt x="1104" y="504"/>
                  </a:lnTo>
                  <a:lnTo>
                    <a:pt x="1110" y="579"/>
                  </a:lnTo>
                  <a:lnTo>
                    <a:pt x="1039" y="642"/>
                  </a:lnTo>
                  <a:lnTo>
                    <a:pt x="1013" y="654"/>
                  </a:lnTo>
                  <a:lnTo>
                    <a:pt x="1013" y="713"/>
                  </a:lnTo>
                  <a:lnTo>
                    <a:pt x="990" y="728"/>
                  </a:lnTo>
                  <a:lnTo>
                    <a:pt x="943" y="738"/>
                  </a:lnTo>
                  <a:lnTo>
                    <a:pt x="937" y="776"/>
                  </a:lnTo>
                  <a:lnTo>
                    <a:pt x="899" y="788"/>
                  </a:lnTo>
                  <a:lnTo>
                    <a:pt x="866" y="835"/>
                  </a:lnTo>
                  <a:close/>
                </a:path>
              </a:pathLst>
            </a:custGeom>
            <a:grpFill/>
            <a:ln w="0">
              <a:solidFill>
                <a:schemeClr val="bg1"/>
              </a:solidFill>
              <a:prstDash val="solid"/>
              <a:round/>
            </a:ln>
          </p:spPr>
          <p:txBody>
            <a:bodyPr/>
            <a:lstStyle/>
            <a:p>
              <a:endParaRPr lang="zh-CN" altLang="en-US"/>
            </a:p>
          </p:txBody>
        </p:sp>
        <p:sp>
          <p:nvSpPr>
            <p:cNvPr id="29" name="Freeform 74"/>
            <p:cNvSpPr/>
            <p:nvPr/>
          </p:nvSpPr>
          <p:spPr bwMode="gray">
            <a:xfrm>
              <a:off x="2755" y="3269"/>
              <a:ext cx="596" cy="432"/>
            </a:xfrm>
            <a:custGeom>
              <a:avLst/>
              <a:gdLst>
                <a:gd name="T0" fmla="*/ 209 w 1191"/>
                <a:gd name="T1" fmla="*/ 213 h 864"/>
                <a:gd name="T2" fmla="*/ 202 w 1191"/>
                <a:gd name="T3" fmla="*/ 215 h 864"/>
                <a:gd name="T4" fmla="*/ 195 w 1191"/>
                <a:gd name="T5" fmla="*/ 214 h 864"/>
                <a:gd name="T6" fmla="*/ 186 w 1191"/>
                <a:gd name="T7" fmla="*/ 210 h 864"/>
                <a:gd name="T8" fmla="*/ 180 w 1191"/>
                <a:gd name="T9" fmla="*/ 210 h 864"/>
                <a:gd name="T10" fmla="*/ 174 w 1191"/>
                <a:gd name="T11" fmla="*/ 203 h 864"/>
                <a:gd name="T12" fmla="*/ 169 w 1191"/>
                <a:gd name="T13" fmla="*/ 200 h 864"/>
                <a:gd name="T14" fmla="*/ 163 w 1191"/>
                <a:gd name="T15" fmla="*/ 210 h 864"/>
                <a:gd name="T16" fmla="*/ 155 w 1191"/>
                <a:gd name="T17" fmla="*/ 214 h 864"/>
                <a:gd name="T18" fmla="*/ 146 w 1191"/>
                <a:gd name="T19" fmla="*/ 216 h 864"/>
                <a:gd name="T20" fmla="*/ 140 w 1191"/>
                <a:gd name="T21" fmla="*/ 211 h 864"/>
                <a:gd name="T22" fmla="*/ 133 w 1191"/>
                <a:gd name="T23" fmla="*/ 213 h 864"/>
                <a:gd name="T24" fmla="*/ 123 w 1191"/>
                <a:gd name="T25" fmla="*/ 213 h 864"/>
                <a:gd name="T26" fmla="*/ 112 w 1191"/>
                <a:gd name="T27" fmla="*/ 206 h 864"/>
                <a:gd name="T28" fmla="*/ 101 w 1191"/>
                <a:gd name="T29" fmla="*/ 198 h 864"/>
                <a:gd name="T30" fmla="*/ 93 w 1191"/>
                <a:gd name="T31" fmla="*/ 189 h 864"/>
                <a:gd name="T32" fmla="*/ 88 w 1191"/>
                <a:gd name="T33" fmla="*/ 176 h 864"/>
                <a:gd name="T34" fmla="*/ 91 w 1191"/>
                <a:gd name="T35" fmla="*/ 171 h 864"/>
                <a:gd name="T36" fmla="*/ 94 w 1191"/>
                <a:gd name="T37" fmla="*/ 170 h 864"/>
                <a:gd name="T38" fmla="*/ 96 w 1191"/>
                <a:gd name="T39" fmla="*/ 167 h 864"/>
                <a:gd name="T40" fmla="*/ 87 w 1191"/>
                <a:gd name="T41" fmla="*/ 160 h 864"/>
                <a:gd name="T42" fmla="*/ 79 w 1191"/>
                <a:gd name="T43" fmla="*/ 161 h 864"/>
                <a:gd name="T44" fmla="*/ 74 w 1191"/>
                <a:gd name="T45" fmla="*/ 163 h 864"/>
                <a:gd name="T46" fmla="*/ 66 w 1191"/>
                <a:gd name="T47" fmla="*/ 158 h 864"/>
                <a:gd name="T48" fmla="*/ 60 w 1191"/>
                <a:gd name="T49" fmla="*/ 161 h 864"/>
                <a:gd name="T50" fmla="*/ 52 w 1191"/>
                <a:gd name="T51" fmla="*/ 156 h 864"/>
                <a:gd name="T52" fmla="*/ 46 w 1191"/>
                <a:gd name="T53" fmla="*/ 152 h 864"/>
                <a:gd name="T54" fmla="*/ 66 w 1191"/>
                <a:gd name="T55" fmla="*/ 135 h 864"/>
                <a:gd name="T56" fmla="*/ 53 w 1191"/>
                <a:gd name="T57" fmla="*/ 114 h 864"/>
                <a:gd name="T58" fmla="*/ 29 w 1191"/>
                <a:gd name="T59" fmla="*/ 108 h 864"/>
                <a:gd name="T60" fmla="*/ 8 w 1191"/>
                <a:gd name="T61" fmla="*/ 101 h 864"/>
                <a:gd name="T62" fmla="*/ 26 w 1191"/>
                <a:gd name="T63" fmla="*/ 74 h 864"/>
                <a:gd name="T64" fmla="*/ 63 w 1191"/>
                <a:gd name="T65" fmla="*/ 84 h 864"/>
                <a:gd name="T66" fmla="*/ 77 w 1191"/>
                <a:gd name="T67" fmla="*/ 70 h 864"/>
                <a:gd name="T68" fmla="*/ 100 w 1191"/>
                <a:gd name="T69" fmla="*/ 52 h 864"/>
                <a:gd name="T70" fmla="*/ 124 w 1191"/>
                <a:gd name="T71" fmla="*/ 56 h 864"/>
                <a:gd name="T72" fmla="*/ 144 w 1191"/>
                <a:gd name="T73" fmla="*/ 48 h 864"/>
                <a:gd name="T74" fmla="*/ 165 w 1191"/>
                <a:gd name="T75" fmla="*/ 40 h 864"/>
                <a:gd name="T76" fmla="*/ 182 w 1191"/>
                <a:gd name="T77" fmla="*/ 27 h 864"/>
                <a:gd name="T78" fmla="*/ 200 w 1191"/>
                <a:gd name="T79" fmla="*/ 19 h 864"/>
                <a:gd name="T80" fmla="*/ 217 w 1191"/>
                <a:gd name="T81" fmla="*/ 9 h 864"/>
                <a:gd name="T82" fmla="*/ 244 w 1191"/>
                <a:gd name="T83" fmla="*/ 5 h 864"/>
                <a:gd name="T84" fmla="*/ 260 w 1191"/>
                <a:gd name="T85" fmla="*/ 18 h 864"/>
                <a:gd name="T86" fmla="*/ 252 w 1191"/>
                <a:gd name="T87" fmla="*/ 54 h 864"/>
                <a:gd name="T88" fmla="*/ 274 w 1191"/>
                <a:gd name="T89" fmla="*/ 71 h 864"/>
                <a:gd name="T90" fmla="*/ 298 w 1191"/>
                <a:gd name="T91" fmla="*/ 81 h 864"/>
                <a:gd name="T92" fmla="*/ 282 w 1191"/>
                <a:gd name="T93" fmla="*/ 108 h 864"/>
                <a:gd name="T94" fmla="*/ 260 w 1191"/>
                <a:gd name="T95" fmla="*/ 161 h 864"/>
                <a:gd name="T96" fmla="*/ 248 w 1191"/>
                <a:gd name="T97" fmla="*/ 182 h 864"/>
                <a:gd name="T98" fmla="*/ 225 w 1191"/>
                <a:gd name="T99" fmla="*/ 197 h 864"/>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1191"/>
                <a:gd name="T151" fmla="*/ 0 h 864"/>
                <a:gd name="T152" fmla="*/ 1191 w 1191"/>
                <a:gd name="T153" fmla="*/ 864 h 864"/>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1191" h="864">
                  <a:moveTo>
                    <a:pt x="866" y="835"/>
                  </a:moveTo>
                  <a:lnTo>
                    <a:pt x="834" y="815"/>
                  </a:lnTo>
                  <a:lnTo>
                    <a:pt x="836" y="852"/>
                  </a:lnTo>
                  <a:lnTo>
                    <a:pt x="832" y="852"/>
                  </a:lnTo>
                  <a:lnTo>
                    <a:pt x="821" y="856"/>
                  </a:lnTo>
                  <a:lnTo>
                    <a:pt x="807" y="860"/>
                  </a:lnTo>
                  <a:lnTo>
                    <a:pt x="793" y="864"/>
                  </a:lnTo>
                  <a:lnTo>
                    <a:pt x="783" y="862"/>
                  </a:lnTo>
                  <a:lnTo>
                    <a:pt x="777" y="856"/>
                  </a:lnTo>
                  <a:lnTo>
                    <a:pt x="767" y="849"/>
                  </a:lnTo>
                  <a:lnTo>
                    <a:pt x="758" y="841"/>
                  </a:lnTo>
                  <a:lnTo>
                    <a:pt x="744" y="837"/>
                  </a:lnTo>
                  <a:lnTo>
                    <a:pt x="734" y="837"/>
                  </a:lnTo>
                  <a:lnTo>
                    <a:pt x="726" y="837"/>
                  </a:lnTo>
                  <a:lnTo>
                    <a:pt x="718" y="837"/>
                  </a:lnTo>
                  <a:lnTo>
                    <a:pt x="708" y="831"/>
                  </a:lnTo>
                  <a:lnTo>
                    <a:pt x="701" y="821"/>
                  </a:lnTo>
                  <a:lnTo>
                    <a:pt x="693" y="811"/>
                  </a:lnTo>
                  <a:lnTo>
                    <a:pt x="687" y="801"/>
                  </a:lnTo>
                  <a:lnTo>
                    <a:pt x="681" y="797"/>
                  </a:lnTo>
                  <a:lnTo>
                    <a:pt x="673" y="799"/>
                  </a:lnTo>
                  <a:lnTo>
                    <a:pt x="665" y="811"/>
                  </a:lnTo>
                  <a:lnTo>
                    <a:pt x="657" y="825"/>
                  </a:lnTo>
                  <a:lnTo>
                    <a:pt x="651" y="839"/>
                  </a:lnTo>
                  <a:lnTo>
                    <a:pt x="641" y="847"/>
                  </a:lnTo>
                  <a:lnTo>
                    <a:pt x="632" y="850"/>
                  </a:lnTo>
                  <a:lnTo>
                    <a:pt x="620" y="856"/>
                  </a:lnTo>
                  <a:lnTo>
                    <a:pt x="606" y="860"/>
                  </a:lnTo>
                  <a:lnTo>
                    <a:pt x="592" y="862"/>
                  </a:lnTo>
                  <a:lnTo>
                    <a:pt x="582" y="862"/>
                  </a:lnTo>
                  <a:lnTo>
                    <a:pt x="575" y="854"/>
                  </a:lnTo>
                  <a:lnTo>
                    <a:pt x="569" y="849"/>
                  </a:lnTo>
                  <a:lnTo>
                    <a:pt x="559" y="843"/>
                  </a:lnTo>
                  <a:lnTo>
                    <a:pt x="549" y="843"/>
                  </a:lnTo>
                  <a:lnTo>
                    <a:pt x="539" y="845"/>
                  </a:lnTo>
                  <a:lnTo>
                    <a:pt x="529" y="850"/>
                  </a:lnTo>
                  <a:lnTo>
                    <a:pt x="519" y="854"/>
                  </a:lnTo>
                  <a:lnTo>
                    <a:pt x="508" y="854"/>
                  </a:lnTo>
                  <a:lnTo>
                    <a:pt x="492" y="849"/>
                  </a:lnTo>
                  <a:lnTo>
                    <a:pt x="474" y="837"/>
                  </a:lnTo>
                  <a:lnTo>
                    <a:pt x="458" y="829"/>
                  </a:lnTo>
                  <a:lnTo>
                    <a:pt x="445" y="821"/>
                  </a:lnTo>
                  <a:lnTo>
                    <a:pt x="431" y="811"/>
                  </a:lnTo>
                  <a:lnTo>
                    <a:pt x="417" y="799"/>
                  </a:lnTo>
                  <a:lnTo>
                    <a:pt x="403" y="791"/>
                  </a:lnTo>
                  <a:lnTo>
                    <a:pt x="389" y="784"/>
                  </a:lnTo>
                  <a:lnTo>
                    <a:pt x="382" y="776"/>
                  </a:lnTo>
                  <a:lnTo>
                    <a:pt x="370" y="754"/>
                  </a:lnTo>
                  <a:lnTo>
                    <a:pt x="358" y="732"/>
                  </a:lnTo>
                  <a:lnTo>
                    <a:pt x="352" y="717"/>
                  </a:lnTo>
                  <a:lnTo>
                    <a:pt x="350" y="703"/>
                  </a:lnTo>
                  <a:lnTo>
                    <a:pt x="354" y="691"/>
                  </a:lnTo>
                  <a:lnTo>
                    <a:pt x="358" y="685"/>
                  </a:lnTo>
                  <a:lnTo>
                    <a:pt x="364" y="683"/>
                  </a:lnTo>
                  <a:lnTo>
                    <a:pt x="368" y="681"/>
                  </a:lnTo>
                  <a:lnTo>
                    <a:pt x="372" y="679"/>
                  </a:lnTo>
                  <a:lnTo>
                    <a:pt x="376" y="677"/>
                  </a:lnTo>
                  <a:lnTo>
                    <a:pt x="380" y="673"/>
                  </a:lnTo>
                  <a:lnTo>
                    <a:pt x="382" y="671"/>
                  </a:lnTo>
                  <a:lnTo>
                    <a:pt x="382" y="665"/>
                  </a:lnTo>
                  <a:lnTo>
                    <a:pt x="376" y="654"/>
                  </a:lnTo>
                  <a:lnTo>
                    <a:pt x="364" y="646"/>
                  </a:lnTo>
                  <a:lnTo>
                    <a:pt x="348" y="638"/>
                  </a:lnTo>
                  <a:lnTo>
                    <a:pt x="332" y="636"/>
                  </a:lnTo>
                  <a:lnTo>
                    <a:pt x="323" y="638"/>
                  </a:lnTo>
                  <a:lnTo>
                    <a:pt x="315" y="644"/>
                  </a:lnTo>
                  <a:lnTo>
                    <a:pt x="307" y="650"/>
                  </a:lnTo>
                  <a:lnTo>
                    <a:pt x="301" y="652"/>
                  </a:lnTo>
                  <a:lnTo>
                    <a:pt x="295" y="650"/>
                  </a:lnTo>
                  <a:lnTo>
                    <a:pt x="283" y="636"/>
                  </a:lnTo>
                  <a:lnTo>
                    <a:pt x="273" y="630"/>
                  </a:lnTo>
                  <a:lnTo>
                    <a:pt x="262" y="630"/>
                  </a:lnTo>
                  <a:lnTo>
                    <a:pt x="254" y="636"/>
                  </a:lnTo>
                  <a:lnTo>
                    <a:pt x="246" y="642"/>
                  </a:lnTo>
                  <a:lnTo>
                    <a:pt x="238" y="644"/>
                  </a:lnTo>
                  <a:lnTo>
                    <a:pt x="230" y="640"/>
                  </a:lnTo>
                  <a:lnTo>
                    <a:pt x="220" y="632"/>
                  </a:lnTo>
                  <a:lnTo>
                    <a:pt x="208" y="624"/>
                  </a:lnTo>
                  <a:lnTo>
                    <a:pt x="195" y="614"/>
                  </a:lnTo>
                  <a:lnTo>
                    <a:pt x="185" y="608"/>
                  </a:lnTo>
                  <a:lnTo>
                    <a:pt x="181" y="606"/>
                  </a:lnTo>
                  <a:lnTo>
                    <a:pt x="181" y="593"/>
                  </a:lnTo>
                  <a:lnTo>
                    <a:pt x="210" y="553"/>
                  </a:lnTo>
                  <a:lnTo>
                    <a:pt x="262" y="540"/>
                  </a:lnTo>
                  <a:lnTo>
                    <a:pt x="271" y="467"/>
                  </a:lnTo>
                  <a:lnTo>
                    <a:pt x="248" y="439"/>
                  </a:lnTo>
                  <a:lnTo>
                    <a:pt x="212" y="455"/>
                  </a:lnTo>
                  <a:lnTo>
                    <a:pt x="179" y="435"/>
                  </a:lnTo>
                  <a:lnTo>
                    <a:pt x="147" y="451"/>
                  </a:lnTo>
                  <a:lnTo>
                    <a:pt x="116" y="431"/>
                  </a:lnTo>
                  <a:lnTo>
                    <a:pt x="106" y="390"/>
                  </a:lnTo>
                  <a:lnTo>
                    <a:pt x="57" y="386"/>
                  </a:lnTo>
                  <a:lnTo>
                    <a:pt x="31" y="404"/>
                  </a:lnTo>
                  <a:lnTo>
                    <a:pt x="0" y="349"/>
                  </a:lnTo>
                  <a:lnTo>
                    <a:pt x="51" y="347"/>
                  </a:lnTo>
                  <a:lnTo>
                    <a:pt x="104" y="295"/>
                  </a:lnTo>
                  <a:lnTo>
                    <a:pt x="139" y="292"/>
                  </a:lnTo>
                  <a:lnTo>
                    <a:pt x="195" y="327"/>
                  </a:lnTo>
                  <a:lnTo>
                    <a:pt x="250" y="335"/>
                  </a:lnTo>
                  <a:lnTo>
                    <a:pt x="275" y="309"/>
                  </a:lnTo>
                  <a:lnTo>
                    <a:pt x="279" y="288"/>
                  </a:lnTo>
                  <a:lnTo>
                    <a:pt x="307" y="278"/>
                  </a:lnTo>
                  <a:lnTo>
                    <a:pt x="338" y="248"/>
                  </a:lnTo>
                  <a:lnTo>
                    <a:pt x="386" y="238"/>
                  </a:lnTo>
                  <a:lnTo>
                    <a:pt x="397" y="207"/>
                  </a:lnTo>
                  <a:lnTo>
                    <a:pt x="437" y="181"/>
                  </a:lnTo>
                  <a:lnTo>
                    <a:pt x="458" y="223"/>
                  </a:lnTo>
                  <a:lnTo>
                    <a:pt x="496" y="225"/>
                  </a:lnTo>
                  <a:lnTo>
                    <a:pt x="521" y="248"/>
                  </a:lnTo>
                  <a:lnTo>
                    <a:pt x="567" y="227"/>
                  </a:lnTo>
                  <a:lnTo>
                    <a:pt x="575" y="189"/>
                  </a:lnTo>
                  <a:lnTo>
                    <a:pt x="604" y="173"/>
                  </a:lnTo>
                  <a:lnTo>
                    <a:pt x="641" y="193"/>
                  </a:lnTo>
                  <a:lnTo>
                    <a:pt x="659" y="160"/>
                  </a:lnTo>
                  <a:lnTo>
                    <a:pt x="695" y="160"/>
                  </a:lnTo>
                  <a:lnTo>
                    <a:pt x="693" y="120"/>
                  </a:lnTo>
                  <a:lnTo>
                    <a:pt x="728" y="108"/>
                  </a:lnTo>
                  <a:lnTo>
                    <a:pt x="740" y="122"/>
                  </a:lnTo>
                  <a:lnTo>
                    <a:pt x="765" y="71"/>
                  </a:lnTo>
                  <a:lnTo>
                    <a:pt x="797" y="73"/>
                  </a:lnTo>
                  <a:lnTo>
                    <a:pt x="825" y="77"/>
                  </a:lnTo>
                  <a:lnTo>
                    <a:pt x="840" y="30"/>
                  </a:lnTo>
                  <a:lnTo>
                    <a:pt x="868" y="36"/>
                  </a:lnTo>
                  <a:lnTo>
                    <a:pt x="891" y="63"/>
                  </a:lnTo>
                  <a:lnTo>
                    <a:pt x="933" y="6"/>
                  </a:lnTo>
                  <a:lnTo>
                    <a:pt x="974" y="18"/>
                  </a:lnTo>
                  <a:lnTo>
                    <a:pt x="1006" y="0"/>
                  </a:lnTo>
                  <a:lnTo>
                    <a:pt x="1039" y="10"/>
                  </a:lnTo>
                  <a:lnTo>
                    <a:pt x="1039" y="69"/>
                  </a:lnTo>
                  <a:lnTo>
                    <a:pt x="1065" y="89"/>
                  </a:lnTo>
                  <a:lnTo>
                    <a:pt x="1059" y="154"/>
                  </a:lnTo>
                  <a:lnTo>
                    <a:pt x="1006" y="215"/>
                  </a:lnTo>
                  <a:lnTo>
                    <a:pt x="1080" y="209"/>
                  </a:lnTo>
                  <a:lnTo>
                    <a:pt x="1096" y="234"/>
                  </a:lnTo>
                  <a:lnTo>
                    <a:pt x="1096" y="284"/>
                  </a:lnTo>
                  <a:lnTo>
                    <a:pt x="1134" y="258"/>
                  </a:lnTo>
                  <a:lnTo>
                    <a:pt x="1169" y="258"/>
                  </a:lnTo>
                  <a:lnTo>
                    <a:pt x="1191" y="321"/>
                  </a:lnTo>
                  <a:lnTo>
                    <a:pt x="1163" y="351"/>
                  </a:lnTo>
                  <a:lnTo>
                    <a:pt x="1167" y="408"/>
                  </a:lnTo>
                  <a:lnTo>
                    <a:pt x="1128" y="431"/>
                  </a:lnTo>
                  <a:lnTo>
                    <a:pt x="1104" y="504"/>
                  </a:lnTo>
                  <a:lnTo>
                    <a:pt x="1110" y="579"/>
                  </a:lnTo>
                  <a:lnTo>
                    <a:pt x="1039" y="642"/>
                  </a:lnTo>
                  <a:lnTo>
                    <a:pt x="1013" y="654"/>
                  </a:lnTo>
                  <a:lnTo>
                    <a:pt x="1013" y="713"/>
                  </a:lnTo>
                  <a:lnTo>
                    <a:pt x="990" y="728"/>
                  </a:lnTo>
                  <a:lnTo>
                    <a:pt x="943" y="738"/>
                  </a:lnTo>
                  <a:lnTo>
                    <a:pt x="937" y="776"/>
                  </a:lnTo>
                  <a:lnTo>
                    <a:pt x="899" y="788"/>
                  </a:lnTo>
                  <a:lnTo>
                    <a:pt x="866" y="835"/>
                  </a:lnTo>
                </a:path>
              </a:pathLst>
            </a:custGeom>
            <a:grpFill/>
            <a:ln w="6350">
              <a:solidFill>
                <a:schemeClr val="bg1"/>
              </a:solidFill>
              <a:prstDash val="solid"/>
              <a:round/>
            </a:ln>
          </p:spPr>
          <p:txBody>
            <a:bodyPr/>
            <a:lstStyle/>
            <a:p>
              <a:endParaRPr lang="zh-CN" altLang="en-US"/>
            </a:p>
          </p:txBody>
        </p:sp>
        <p:sp>
          <p:nvSpPr>
            <p:cNvPr id="30" name="Freeform 75"/>
            <p:cNvSpPr/>
            <p:nvPr/>
          </p:nvSpPr>
          <p:spPr bwMode="gray">
            <a:xfrm>
              <a:off x="3116" y="3813"/>
              <a:ext cx="195" cy="172"/>
            </a:xfrm>
            <a:custGeom>
              <a:avLst/>
              <a:gdLst>
                <a:gd name="T0" fmla="*/ 20 w 392"/>
                <a:gd name="T1" fmla="*/ 19 h 344"/>
                <a:gd name="T2" fmla="*/ 17 w 392"/>
                <a:gd name="T3" fmla="*/ 21 h 344"/>
                <a:gd name="T4" fmla="*/ 11 w 392"/>
                <a:gd name="T5" fmla="*/ 27 h 344"/>
                <a:gd name="T6" fmla="*/ 5 w 392"/>
                <a:gd name="T7" fmla="*/ 35 h 344"/>
                <a:gd name="T8" fmla="*/ 1 w 392"/>
                <a:gd name="T9" fmla="*/ 40 h 344"/>
                <a:gd name="T10" fmla="*/ 0 w 392"/>
                <a:gd name="T11" fmla="*/ 50 h 344"/>
                <a:gd name="T12" fmla="*/ 1 w 392"/>
                <a:gd name="T13" fmla="*/ 63 h 344"/>
                <a:gd name="T14" fmla="*/ 5 w 392"/>
                <a:gd name="T15" fmla="*/ 72 h 344"/>
                <a:gd name="T16" fmla="*/ 12 w 392"/>
                <a:gd name="T17" fmla="*/ 78 h 344"/>
                <a:gd name="T18" fmla="*/ 22 w 392"/>
                <a:gd name="T19" fmla="*/ 80 h 344"/>
                <a:gd name="T20" fmla="*/ 28 w 392"/>
                <a:gd name="T21" fmla="*/ 80 h 344"/>
                <a:gd name="T22" fmla="*/ 33 w 392"/>
                <a:gd name="T23" fmla="*/ 81 h 344"/>
                <a:gd name="T24" fmla="*/ 41 w 392"/>
                <a:gd name="T25" fmla="*/ 86 h 344"/>
                <a:gd name="T26" fmla="*/ 46 w 392"/>
                <a:gd name="T27" fmla="*/ 85 h 344"/>
                <a:gd name="T28" fmla="*/ 49 w 392"/>
                <a:gd name="T29" fmla="*/ 80 h 344"/>
                <a:gd name="T30" fmla="*/ 53 w 392"/>
                <a:gd name="T31" fmla="*/ 74 h 344"/>
                <a:gd name="T32" fmla="*/ 59 w 392"/>
                <a:gd name="T33" fmla="*/ 73 h 344"/>
                <a:gd name="T34" fmla="*/ 64 w 392"/>
                <a:gd name="T35" fmla="*/ 69 h 344"/>
                <a:gd name="T36" fmla="*/ 69 w 392"/>
                <a:gd name="T37" fmla="*/ 63 h 344"/>
                <a:gd name="T38" fmla="*/ 76 w 392"/>
                <a:gd name="T39" fmla="*/ 59 h 344"/>
                <a:gd name="T40" fmla="*/ 79 w 392"/>
                <a:gd name="T41" fmla="*/ 52 h 344"/>
                <a:gd name="T42" fmla="*/ 80 w 392"/>
                <a:gd name="T43" fmla="*/ 43 h 344"/>
                <a:gd name="T44" fmla="*/ 85 w 392"/>
                <a:gd name="T45" fmla="*/ 28 h 344"/>
                <a:gd name="T46" fmla="*/ 90 w 392"/>
                <a:gd name="T47" fmla="*/ 21 h 344"/>
                <a:gd name="T48" fmla="*/ 94 w 392"/>
                <a:gd name="T49" fmla="*/ 19 h 344"/>
                <a:gd name="T50" fmla="*/ 97 w 392"/>
                <a:gd name="T51" fmla="*/ 15 h 344"/>
                <a:gd name="T52" fmla="*/ 97 w 392"/>
                <a:gd name="T53" fmla="*/ 9 h 344"/>
                <a:gd name="T54" fmla="*/ 95 w 392"/>
                <a:gd name="T55" fmla="*/ 3 h 344"/>
                <a:gd name="T56" fmla="*/ 88 w 392"/>
                <a:gd name="T57" fmla="*/ 1 h 344"/>
                <a:gd name="T58" fmla="*/ 75 w 392"/>
                <a:gd name="T59" fmla="*/ 1 h 344"/>
                <a:gd name="T60" fmla="*/ 64 w 392"/>
                <a:gd name="T61" fmla="*/ 3 h 344"/>
                <a:gd name="T62" fmla="*/ 55 w 392"/>
                <a:gd name="T63" fmla="*/ 5 h 344"/>
                <a:gd name="T64" fmla="*/ 45 w 392"/>
                <a:gd name="T65" fmla="*/ 7 h 344"/>
                <a:gd name="T66" fmla="*/ 38 w 392"/>
                <a:gd name="T67" fmla="*/ 8 h 344"/>
                <a:gd name="T68" fmla="*/ 33 w 392"/>
                <a:gd name="T69" fmla="*/ 11 h 344"/>
                <a:gd name="T70" fmla="*/ 28 w 392"/>
                <a:gd name="T71" fmla="*/ 12 h 344"/>
                <a:gd name="T72" fmla="*/ 23 w 392"/>
                <a:gd name="T73" fmla="*/ 12 h 344"/>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392"/>
                <a:gd name="T112" fmla="*/ 0 h 344"/>
                <a:gd name="T113" fmla="*/ 392 w 392"/>
                <a:gd name="T114" fmla="*/ 344 h 344"/>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392" h="344">
                  <a:moveTo>
                    <a:pt x="87" y="51"/>
                  </a:moveTo>
                  <a:lnTo>
                    <a:pt x="83" y="74"/>
                  </a:lnTo>
                  <a:lnTo>
                    <a:pt x="79" y="76"/>
                  </a:lnTo>
                  <a:lnTo>
                    <a:pt x="71" y="84"/>
                  </a:lnTo>
                  <a:lnTo>
                    <a:pt x="59" y="96"/>
                  </a:lnTo>
                  <a:lnTo>
                    <a:pt x="45" y="108"/>
                  </a:lnTo>
                  <a:lnTo>
                    <a:pt x="32" y="124"/>
                  </a:lnTo>
                  <a:lnTo>
                    <a:pt x="20" y="137"/>
                  </a:lnTo>
                  <a:lnTo>
                    <a:pt x="10" y="149"/>
                  </a:lnTo>
                  <a:lnTo>
                    <a:pt x="4" y="159"/>
                  </a:lnTo>
                  <a:lnTo>
                    <a:pt x="0" y="175"/>
                  </a:lnTo>
                  <a:lnTo>
                    <a:pt x="0" y="200"/>
                  </a:lnTo>
                  <a:lnTo>
                    <a:pt x="2" y="228"/>
                  </a:lnTo>
                  <a:lnTo>
                    <a:pt x="6" y="254"/>
                  </a:lnTo>
                  <a:lnTo>
                    <a:pt x="12" y="271"/>
                  </a:lnTo>
                  <a:lnTo>
                    <a:pt x="22" y="287"/>
                  </a:lnTo>
                  <a:lnTo>
                    <a:pt x="36" y="299"/>
                  </a:lnTo>
                  <a:lnTo>
                    <a:pt x="51" y="309"/>
                  </a:lnTo>
                  <a:lnTo>
                    <a:pt x="73" y="317"/>
                  </a:lnTo>
                  <a:lnTo>
                    <a:pt x="91" y="318"/>
                  </a:lnTo>
                  <a:lnTo>
                    <a:pt x="103" y="318"/>
                  </a:lnTo>
                  <a:lnTo>
                    <a:pt x="112" y="318"/>
                  </a:lnTo>
                  <a:lnTo>
                    <a:pt x="122" y="318"/>
                  </a:lnTo>
                  <a:lnTo>
                    <a:pt x="134" y="324"/>
                  </a:lnTo>
                  <a:lnTo>
                    <a:pt x="152" y="334"/>
                  </a:lnTo>
                  <a:lnTo>
                    <a:pt x="164" y="342"/>
                  </a:lnTo>
                  <a:lnTo>
                    <a:pt x="175" y="344"/>
                  </a:lnTo>
                  <a:lnTo>
                    <a:pt x="185" y="338"/>
                  </a:lnTo>
                  <a:lnTo>
                    <a:pt x="193" y="328"/>
                  </a:lnTo>
                  <a:lnTo>
                    <a:pt x="199" y="317"/>
                  </a:lnTo>
                  <a:lnTo>
                    <a:pt x="205" y="305"/>
                  </a:lnTo>
                  <a:lnTo>
                    <a:pt x="213" y="295"/>
                  </a:lnTo>
                  <a:lnTo>
                    <a:pt x="225" y="293"/>
                  </a:lnTo>
                  <a:lnTo>
                    <a:pt x="240" y="289"/>
                  </a:lnTo>
                  <a:lnTo>
                    <a:pt x="252" y="283"/>
                  </a:lnTo>
                  <a:lnTo>
                    <a:pt x="260" y="275"/>
                  </a:lnTo>
                  <a:lnTo>
                    <a:pt x="268" y="263"/>
                  </a:lnTo>
                  <a:lnTo>
                    <a:pt x="280" y="252"/>
                  </a:lnTo>
                  <a:lnTo>
                    <a:pt x="292" y="246"/>
                  </a:lnTo>
                  <a:lnTo>
                    <a:pt x="305" y="238"/>
                  </a:lnTo>
                  <a:lnTo>
                    <a:pt x="315" y="224"/>
                  </a:lnTo>
                  <a:lnTo>
                    <a:pt x="319" y="208"/>
                  </a:lnTo>
                  <a:lnTo>
                    <a:pt x="321" y="189"/>
                  </a:lnTo>
                  <a:lnTo>
                    <a:pt x="323" y="169"/>
                  </a:lnTo>
                  <a:lnTo>
                    <a:pt x="331" y="139"/>
                  </a:lnTo>
                  <a:lnTo>
                    <a:pt x="343" y="112"/>
                  </a:lnTo>
                  <a:lnTo>
                    <a:pt x="355" y="92"/>
                  </a:lnTo>
                  <a:lnTo>
                    <a:pt x="362" y="84"/>
                  </a:lnTo>
                  <a:lnTo>
                    <a:pt x="372" y="80"/>
                  </a:lnTo>
                  <a:lnTo>
                    <a:pt x="380" y="76"/>
                  </a:lnTo>
                  <a:lnTo>
                    <a:pt x="388" y="70"/>
                  </a:lnTo>
                  <a:lnTo>
                    <a:pt x="392" y="61"/>
                  </a:lnTo>
                  <a:lnTo>
                    <a:pt x="392" y="51"/>
                  </a:lnTo>
                  <a:lnTo>
                    <a:pt x="390" y="35"/>
                  </a:lnTo>
                  <a:lnTo>
                    <a:pt x="390" y="23"/>
                  </a:lnTo>
                  <a:lnTo>
                    <a:pt x="384" y="13"/>
                  </a:lnTo>
                  <a:lnTo>
                    <a:pt x="374" y="8"/>
                  </a:lnTo>
                  <a:lnTo>
                    <a:pt x="356" y="2"/>
                  </a:lnTo>
                  <a:lnTo>
                    <a:pt x="327" y="0"/>
                  </a:lnTo>
                  <a:lnTo>
                    <a:pt x="301" y="4"/>
                  </a:lnTo>
                  <a:lnTo>
                    <a:pt x="280" y="9"/>
                  </a:lnTo>
                  <a:lnTo>
                    <a:pt x="260" y="13"/>
                  </a:lnTo>
                  <a:lnTo>
                    <a:pt x="240" y="15"/>
                  </a:lnTo>
                  <a:lnTo>
                    <a:pt x="221" y="21"/>
                  </a:lnTo>
                  <a:lnTo>
                    <a:pt x="201" y="27"/>
                  </a:lnTo>
                  <a:lnTo>
                    <a:pt x="181" y="27"/>
                  </a:lnTo>
                  <a:lnTo>
                    <a:pt x="166" y="27"/>
                  </a:lnTo>
                  <a:lnTo>
                    <a:pt x="154" y="31"/>
                  </a:lnTo>
                  <a:lnTo>
                    <a:pt x="142" y="39"/>
                  </a:lnTo>
                  <a:lnTo>
                    <a:pt x="134" y="45"/>
                  </a:lnTo>
                  <a:lnTo>
                    <a:pt x="126" y="49"/>
                  </a:lnTo>
                  <a:lnTo>
                    <a:pt x="114" y="49"/>
                  </a:lnTo>
                  <a:lnTo>
                    <a:pt x="103" y="49"/>
                  </a:lnTo>
                  <a:lnTo>
                    <a:pt x="93" y="49"/>
                  </a:lnTo>
                  <a:lnTo>
                    <a:pt x="87" y="51"/>
                  </a:lnTo>
                  <a:close/>
                </a:path>
              </a:pathLst>
            </a:custGeom>
            <a:grpFill/>
            <a:ln w="0">
              <a:solidFill>
                <a:schemeClr val="bg1"/>
              </a:solidFill>
              <a:prstDash val="solid"/>
              <a:round/>
            </a:ln>
          </p:spPr>
          <p:txBody>
            <a:bodyPr/>
            <a:lstStyle/>
            <a:p>
              <a:endParaRPr lang="zh-CN" altLang="en-US"/>
            </a:p>
          </p:txBody>
        </p:sp>
        <p:sp>
          <p:nvSpPr>
            <p:cNvPr id="31" name="Freeform 76"/>
            <p:cNvSpPr/>
            <p:nvPr/>
          </p:nvSpPr>
          <p:spPr bwMode="gray">
            <a:xfrm>
              <a:off x="3116" y="3813"/>
              <a:ext cx="195" cy="172"/>
            </a:xfrm>
            <a:custGeom>
              <a:avLst/>
              <a:gdLst>
                <a:gd name="T0" fmla="*/ 20 w 392"/>
                <a:gd name="T1" fmla="*/ 19 h 344"/>
                <a:gd name="T2" fmla="*/ 17 w 392"/>
                <a:gd name="T3" fmla="*/ 21 h 344"/>
                <a:gd name="T4" fmla="*/ 11 w 392"/>
                <a:gd name="T5" fmla="*/ 27 h 344"/>
                <a:gd name="T6" fmla="*/ 5 w 392"/>
                <a:gd name="T7" fmla="*/ 35 h 344"/>
                <a:gd name="T8" fmla="*/ 1 w 392"/>
                <a:gd name="T9" fmla="*/ 40 h 344"/>
                <a:gd name="T10" fmla="*/ 0 w 392"/>
                <a:gd name="T11" fmla="*/ 50 h 344"/>
                <a:gd name="T12" fmla="*/ 1 w 392"/>
                <a:gd name="T13" fmla="*/ 63 h 344"/>
                <a:gd name="T14" fmla="*/ 5 w 392"/>
                <a:gd name="T15" fmla="*/ 72 h 344"/>
                <a:gd name="T16" fmla="*/ 12 w 392"/>
                <a:gd name="T17" fmla="*/ 78 h 344"/>
                <a:gd name="T18" fmla="*/ 22 w 392"/>
                <a:gd name="T19" fmla="*/ 80 h 344"/>
                <a:gd name="T20" fmla="*/ 28 w 392"/>
                <a:gd name="T21" fmla="*/ 80 h 344"/>
                <a:gd name="T22" fmla="*/ 33 w 392"/>
                <a:gd name="T23" fmla="*/ 81 h 344"/>
                <a:gd name="T24" fmla="*/ 41 w 392"/>
                <a:gd name="T25" fmla="*/ 86 h 344"/>
                <a:gd name="T26" fmla="*/ 46 w 392"/>
                <a:gd name="T27" fmla="*/ 85 h 344"/>
                <a:gd name="T28" fmla="*/ 49 w 392"/>
                <a:gd name="T29" fmla="*/ 80 h 344"/>
                <a:gd name="T30" fmla="*/ 53 w 392"/>
                <a:gd name="T31" fmla="*/ 74 h 344"/>
                <a:gd name="T32" fmla="*/ 59 w 392"/>
                <a:gd name="T33" fmla="*/ 73 h 344"/>
                <a:gd name="T34" fmla="*/ 64 w 392"/>
                <a:gd name="T35" fmla="*/ 69 h 344"/>
                <a:gd name="T36" fmla="*/ 69 w 392"/>
                <a:gd name="T37" fmla="*/ 63 h 344"/>
                <a:gd name="T38" fmla="*/ 76 w 392"/>
                <a:gd name="T39" fmla="*/ 59 h 344"/>
                <a:gd name="T40" fmla="*/ 79 w 392"/>
                <a:gd name="T41" fmla="*/ 52 h 344"/>
                <a:gd name="T42" fmla="*/ 80 w 392"/>
                <a:gd name="T43" fmla="*/ 43 h 344"/>
                <a:gd name="T44" fmla="*/ 85 w 392"/>
                <a:gd name="T45" fmla="*/ 28 h 344"/>
                <a:gd name="T46" fmla="*/ 90 w 392"/>
                <a:gd name="T47" fmla="*/ 21 h 344"/>
                <a:gd name="T48" fmla="*/ 94 w 392"/>
                <a:gd name="T49" fmla="*/ 19 h 344"/>
                <a:gd name="T50" fmla="*/ 97 w 392"/>
                <a:gd name="T51" fmla="*/ 15 h 344"/>
                <a:gd name="T52" fmla="*/ 97 w 392"/>
                <a:gd name="T53" fmla="*/ 9 h 344"/>
                <a:gd name="T54" fmla="*/ 95 w 392"/>
                <a:gd name="T55" fmla="*/ 3 h 344"/>
                <a:gd name="T56" fmla="*/ 88 w 392"/>
                <a:gd name="T57" fmla="*/ 1 h 344"/>
                <a:gd name="T58" fmla="*/ 75 w 392"/>
                <a:gd name="T59" fmla="*/ 1 h 344"/>
                <a:gd name="T60" fmla="*/ 64 w 392"/>
                <a:gd name="T61" fmla="*/ 3 h 344"/>
                <a:gd name="T62" fmla="*/ 55 w 392"/>
                <a:gd name="T63" fmla="*/ 5 h 344"/>
                <a:gd name="T64" fmla="*/ 45 w 392"/>
                <a:gd name="T65" fmla="*/ 7 h 344"/>
                <a:gd name="T66" fmla="*/ 38 w 392"/>
                <a:gd name="T67" fmla="*/ 8 h 344"/>
                <a:gd name="T68" fmla="*/ 33 w 392"/>
                <a:gd name="T69" fmla="*/ 11 h 344"/>
                <a:gd name="T70" fmla="*/ 28 w 392"/>
                <a:gd name="T71" fmla="*/ 12 h 344"/>
                <a:gd name="T72" fmla="*/ 23 w 392"/>
                <a:gd name="T73" fmla="*/ 12 h 344"/>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392"/>
                <a:gd name="T112" fmla="*/ 0 h 344"/>
                <a:gd name="T113" fmla="*/ 392 w 392"/>
                <a:gd name="T114" fmla="*/ 344 h 344"/>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392" h="344">
                  <a:moveTo>
                    <a:pt x="87" y="51"/>
                  </a:moveTo>
                  <a:lnTo>
                    <a:pt x="83" y="74"/>
                  </a:lnTo>
                  <a:lnTo>
                    <a:pt x="79" y="76"/>
                  </a:lnTo>
                  <a:lnTo>
                    <a:pt x="71" y="84"/>
                  </a:lnTo>
                  <a:lnTo>
                    <a:pt x="59" y="96"/>
                  </a:lnTo>
                  <a:lnTo>
                    <a:pt x="45" y="108"/>
                  </a:lnTo>
                  <a:lnTo>
                    <a:pt x="32" y="124"/>
                  </a:lnTo>
                  <a:lnTo>
                    <a:pt x="20" y="137"/>
                  </a:lnTo>
                  <a:lnTo>
                    <a:pt x="10" y="149"/>
                  </a:lnTo>
                  <a:lnTo>
                    <a:pt x="4" y="159"/>
                  </a:lnTo>
                  <a:lnTo>
                    <a:pt x="0" y="175"/>
                  </a:lnTo>
                  <a:lnTo>
                    <a:pt x="0" y="200"/>
                  </a:lnTo>
                  <a:lnTo>
                    <a:pt x="2" y="228"/>
                  </a:lnTo>
                  <a:lnTo>
                    <a:pt x="6" y="254"/>
                  </a:lnTo>
                  <a:lnTo>
                    <a:pt x="12" y="271"/>
                  </a:lnTo>
                  <a:lnTo>
                    <a:pt x="22" y="287"/>
                  </a:lnTo>
                  <a:lnTo>
                    <a:pt x="36" y="299"/>
                  </a:lnTo>
                  <a:lnTo>
                    <a:pt x="51" y="309"/>
                  </a:lnTo>
                  <a:lnTo>
                    <a:pt x="73" y="317"/>
                  </a:lnTo>
                  <a:lnTo>
                    <a:pt x="91" y="318"/>
                  </a:lnTo>
                  <a:lnTo>
                    <a:pt x="103" y="318"/>
                  </a:lnTo>
                  <a:lnTo>
                    <a:pt x="112" y="318"/>
                  </a:lnTo>
                  <a:lnTo>
                    <a:pt x="122" y="318"/>
                  </a:lnTo>
                  <a:lnTo>
                    <a:pt x="134" y="324"/>
                  </a:lnTo>
                  <a:lnTo>
                    <a:pt x="152" y="334"/>
                  </a:lnTo>
                  <a:lnTo>
                    <a:pt x="164" y="342"/>
                  </a:lnTo>
                  <a:lnTo>
                    <a:pt x="175" y="344"/>
                  </a:lnTo>
                  <a:lnTo>
                    <a:pt x="185" y="338"/>
                  </a:lnTo>
                  <a:lnTo>
                    <a:pt x="193" y="328"/>
                  </a:lnTo>
                  <a:lnTo>
                    <a:pt x="199" y="317"/>
                  </a:lnTo>
                  <a:lnTo>
                    <a:pt x="205" y="305"/>
                  </a:lnTo>
                  <a:lnTo>
                    <a:pt x="213" y="295"/>
                  </a:lnTo>
                  <a:lnTo>
                    <a:pt x="225" y="293"/>
                  </a:lnTo>
                  <a:lnTo>
                    <a:pt x="240" y="289"/>
                  </a:lnTo>
                  <a:lnTo>
                    <a:pt x="252" y="283"/>
                  </a:lnTo>
                  <a:lnTo>
                    <a:pt x="260" y="275"/>
                  </a:lnTo>
                  <a:lnTo>
                    <a:pt x="268" y="263"/>
                  </a:lnTo>
                  <a:lnTo>
                    <a:pt x="280" y="252"/>
                  </a:lnTo>
                  <a:lnTo>
                    <a:pt x="292" y="246"/>
                  </a:lnTo>
                  <a:lnTo>
                    <a:pt x="305" y="238"/>
                  </a:lnTo>
                  <a:lnTo>
                    <a:pt x="315" y="224"/>
                  </a:lnTo>
                  <a:lnTo>
                    <a:pt x="319" y="208"/>
                  </a:lnTo>
                  <a:lnTo>
                    <a:pt x="321" y="189"/>
                  </a:lnTo>
                  <a:lnTo>
                    <a:pt x="323" y="169"/>
                  </a:lnTo>
                  <a:lnTo>
                    <a:pt x="331" y="139"/>
                  </a:lnTo>
                  <a:lnTo>
                    <a:pt x="343" y="112"/>
                  </a:lnTo>
                  <a:lnTo>
                    <a:pt x="355" y="92"/>
                  </a:lnTo>
                  <a:lnTo>
                    <a:pt x="362" y="84"/>
                  </a:lnTo>
                  <a:lnTo>
                    <a:pt x="372" y="80"/>
                  </a:lnTo>
                  <a:lnTo>
                    <a:pt x="380" y="76"/>
                  </a:lnTo>
                  <a:lnTo>
                    <a:pt x="388" y="70"/>
                  </a:lnTo>
                  <a:lnTo>
                    <a:pt x="392" y="61"/>
                  </a:lnTo>
                  <a:lnTo>
                    <a:pt x="392" y="51"/>
                  </a:lnTo>
                  <a:lnTo>
                    <a:pt x="390" y="35"/>
                  </a:lnTo>
                  <a:lnTo>
                    <a:pt x="390" y="23"/>
                  </a:lnTo>
                  <a:lnTo>
                    <a:pt x="384" y="13"/>
                  </a:lnTo>
                  <a:lnTo>
                    <a:pt x="374" y="8"/>
                  </a:lnTo>
                  <a:lnTo>
                    <a:pt x="356" y="2"/>
                  </a:lnTo>
                  <a:lnTo>
                    <a:pt x="327" y="0"/>
                  </a:lnTo>
                  <a:lnTo>
                    <a:pt x="301" y="4"/>
                  </a:lnTo>
                  <a:lnTo>
                    <a:pt x="280" y="9"/>
                  </a:lnTo>
                  <a:lnTo>
                    <a:pt x="260" y="13"/>
                  </a:lnTo>
                  <a:lnTo>
                    <a:pt x="240" y="15"/>
                  </a:lnTo>
                  <a:lnTo>
                    <a:pt x="221" y="21"/>
                  </a:lnTo>
                  <a:lnTo>
                    <a:pt x="201" y="27"/>
                  </a:lnTo>
                  <a:lnTo>
                    <a:pt x="181" y="27"/>
                  </a:lnTo>
                  <a:lnTo>
                    <a:pt x="166" y="27"/>
                  </a:lnTo>
                  <a:lnTo>
                    <a:pt x="154" y="31"/>
                  </a:lnTo>
                  <a:lnTo>
                    <a:pt x="142" y="39"/>
                  </a:lnTo>
                  <a:lnTo>
                    <a:pt x="134" y="45"/>
                  </a:lnTo>
                  <a:lnTo>
                    <a:pt x="126" y="49"/>
                  </a:lnTo>
                  <a:lnTo>
                    <a:pt x="114" y="49"/>
                  </a:lnTo>
                  <a:lnTo>
                    <a:pt x="103" y="49"/>
                  </a:lnTo>
                  <a:lnTo>
                    <a:pt x="93" y="49"/>
                  </a:lnTo>
                  <a:lnTo>
                    <a:pt x="87" y="51"/>
                  </a:lnTo>
                </a:path>
              </a:pathLst>
            </a:custGeom>
            <a:grpFill/>
            <a:ln w="6350">
              <a:solidFill>
                <a:schemeClr val="bg1"/>
              </a:solidFill>
              <a:prstDash val="solid"/>
              <a:round/>
            </a:ln>
          </p:spPr>
          <p:txBody>
            <a:bodyPr/>
            <a:lstStyle/>
            <a:p>
              <a:endParaRPr lang="zh-CN" altLang="en-US"/>
            </a:p>
          </p:txBody>
        </p:sp>
        <p:sp>
          <p:nvSpPr>
            <p:cNvPr id="32" name="Freeform 77"/>
            <p:cNvSpPr/>
            <p:nvPr/>
          </p:nvSpPr>
          <p:spPr bwMode="gray">
            <a:xfrm>
              <a:off x="3188" y="3319"/>
              <a:ext cx="564" cy="480"/>
            </a:xfrm>
            <a:custGeom>
              <a:avLst/>
              <a:gdLst>
                <a:gd name="T0" fmla="*/ 279 w 1128"/>
                <a:gd name="T1" fmla="*/ 62 h 960"/>
                <a:gd name="T2" fmla="*/ 272 w 1128"/>
                <a:gd name="T3" fmla="*/ 67 h 960"/>
                <a:gd name="T4" fmla="*/ 266 w 1128"/>
                <a:gd name="T5" fmla="*/ 77 h 960"/>
                <a:gd name="T6" fmla="*/ 261 w 1128"/>
                <a:gd name="T7" fmla="*/ 87 h 960"/>
                <a:gd name="T8" fmla="*/ 254 w 1128"/>
                <a:gd name="T9" fmla="*/ 97 h 960"/>
                <a:gd name="T10" fmla="*/ 241 w 1128"/>
                <a:gd name="T11" fmla="*/ 103 h 960"/>
                <a:gd name="T12" fmla="*/ 230 w 1128"/>
                <a:gd name="T13" fmla="*/ 104 h 960"/>
                <a:gd name="T14" fmla="*/ 216 w 1128"/>
                <a:gd name="T15" fmla="*/ 103 h 960"/>
                <a:gd name="T16" fmla="*/ 203 w 1128"/>
                <a:gd name="T17" fmla="*/ 110 h 960"/>
                <a:gd name="T18" fmla="*/ 199 w 1128"/>
                <a:gd name="T19" fmla="*/ 115 h 960"/>
                <a:gd name="T20" fmla="*/ 198 w 1128"/>
                <a:gd name="T21" fmla="*/ 118 h 960"/>
                <a:gd name="T22" fmla="*/ 196 w 1128"/>
                <a:gd name="T23" fmla="*/ 119 h 960"/>
                <a:gd name="T24" fmla="*/ 190 w 1128"/>
                <a:gd name="T25" fmla="*/ 114 h 960"/>
                <a:gd name="T26" fmla="*/ 183 w 1128"/>
                <a:gd name="T27" fmla="*/ 118 h 960"/>
                <a:gd name="T28" fmla="*/ 177 w 1128"/>
                <a:gd name="T29" fmla="*/ 127 h 960"/>
                <a:gd name="T30" fmla="*/ 164 w 1128"/>
                <a:gd name="T31" fmla="*/ 127 h 960"/>
                <a:gd name="T32" fmla="*/ 155 w 1128"/>
                <a:gd name="T33" fmla="*/ 120 h 960"/>
                <a:gd name="T34" fmla="*/ 148 w 1128"/>
                <a:gd name="T35" fmla="*/ 111 h 960"/>
                <a:gd name="T36" fmla="*/ 143 w 1128"/>
                <a:gd name="T37" fmla="*/ 113 h 960"/>
                <a:gd name="T38" fmla="*/ 147 w 1128"/>
                <a:gd name="T39" fmla="*/ 122 h 960"/>
                <a:gd name="T40" fmla="*/ 154 w 1128"/>
                <a:gd name="T41" fmla="*/ 130 h 960"/>
                <a:gd name="T42" fmla="*/ 153 w 1128"/>
                <a:gd name="T43" fmla="*/ 140 h 960"/>
                <a:gd name="T44" fmla="*/ 140 w 1128"/>
                <a:gd name="T45" fmla="*/ 149 h 960"/>
                <a:gd name="T46" fmla="*/ 134 w 1128"/>
                <a:gd name="T47" fmla="*/ 149 h 960"/>
                <a:gd name="T48" fmla="*/ 132 w 1128"/>
                <a:gd name="T49" fmla="*/ 148 h 960"/>
                <a:gd name="T50" fmla="*/ 130 w 1128"/>
                <a:gd name="T51" fmla="*/ 148 h 960"/>
                <a:gd name="T52" fmla="*/ 126 w 1128"/>
                <a:gd name="T53" fmla="*/ 154 h 960"/>
                <a:gd name="T54" fmla="*/ 116 w 1128"/>
                <a:gd name="T55" fmla="*/ 163 h 960"/>
                <a:gd name="T56" fmla="*/ 110 w 1128"/>
                <a:gd name="T57" fmla="*/ 167 h 960"/>
                <a:gd name="T58" fmla="*/ 97 w 1128"/>
                <a:gd name="T59" fmla="*/ 168 h 960"/>
                <a:gd name="T60" fmla="*/ 87 w 1128"/>
                <a:gd name="T61" fmla="*/ 171 h 960"/>
                <a:gd name="T62" fmla="*/ 75 w 1128"/>
                <a:gd name="T63" fmla="*/ 179 h 960"/>
                <a:gd name="T64" fmla="*/ 56 w 1128"/>
                <a:gd name="T65" fmla="*/ 185 h 960"/>
                <a:gd name="T66" fmla="*/ 46 w 1128"/>
                <a:gd name="T67" fmla="*/ 186 h 960"/>
                <a:gd name="T68" fmla="*/ 38 w 1128"/>
                <a:gd name="T69" fmla="*/ 194 h 960"/>
                <a:gd name="T70" fmla="*/ 29 w 1128"/>
                <a:gd name="T71" fmla="*/ 199 h 960"/>
                <a:gd name="T72" fmla="*/ 23 w 1128"/>
                <a:gd name="T73" fmla="*/ 207 h 960"/>
                <a:gd name="T74" fmla="*/ 26 w 1128"/>
                <a:gd name="T75" fmla="*/ 214 h 960"/>
                <a:gd name="T76" fmla="*/ 35 w 1128"/>
                <a:gd name="T77" fmla="*/ 227 h 960"/>
                <a:gd name="T78" fmla="*/ 35 w 1128"/>
                <a:gd name="T79" fmla="*/ 235 h 960"/>
                <a:gd name="T80" fmla="*/ 24 w 1128"/>
                <a:gd name="T81" fmla="*/ 240 h 960"/>
                <a:gd name="T82" fmla="*/ 13 w 1128"/>
                <a:gd name="T83" fmla="*/ 235 h 960"/>
                <a:gd name="T84" fmla="*/ 4 w 1128"/>
                <a:gd name="T85" fmla="*/ 222 h 960"/>
                <a:gd name="T86" fmla="*/ 1 w 1128"/>
                <a:gd name="T87" fmla="*/ 210 h 960"/>
                <a:gd name="T88" fmla="*/ 1 w 1128"/>
                <a:gd name="T89" fmla="*/ 200 h 960"/>
                <a:gd name="T90" fmla="*/ 8 w 1128"/>
                <a:gd name="T91" fmla="*/ 189 h 960"/>
                <a:gd name="T92" fmla="*/ 0 w 1128"/>
                <a:gd name="T93" fmla="*/ 184 h 960"/>
                <a:gd name="T94" fmla="*/ 19 w 1128"/>
                <a:gd name="T95" fmla="*/ 160 h 960"/>
                <a:gd name="T96" fmla="*/ 37 w 1128"/>
                <a:gd name="T97" fmla="*/ 139 h 960"/>
                <a:gd name="T98" fmla="*/ 59 w 1128"/>
                <a:gd name="T99" fmla="*/ 101 h 960"/>
                <a:gd name="T100" fmla="*/ 74 w 1128"/>
                <a:gd name="T101" fmla="*/ 62 h 960"/>
                <a:gd name="T102" fmla="*/ 82 w 1128"/>
                <a:gd name="T103" fmla="*/ 36 h 960"/>
                <a:gd name="T104" fmla="*/ 121 w 1128"/>
                <a:gd name="T105" fmla="*/ 3 h 960"/>
                <a:gd name="T106" fmla="*/ 156 w 1128"/>
                <a:gd name="T107" fmla="*/ 8 h 960"/>
                <a:gd name="T108" fmla="*/ 170 w 1128"/>
                <a:gd name="T109" fmla="*/ 24 h 960"/>
                <a:gd name="T110" fmla="*/ 185 w 1128"/>
                <a:gd name="T111" fmla="*/ 32 h 960"/>
                <a:gd name="T112" fmla="*/ 224 w 1128"/>
                <a:gd name="T113" fmla="*/ 15 h 960"/>
                <a:gd name="T114" fmla="*/ 272 w 1128"/>
                <a:gd name="T115" fmla="*/ 41 h 96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128"/>
                <a:gd name="T175" fmla="*/ 0 h 960"/>
                <a:gd name="T176" fmla="*/ 1128 w 1128"/>
                <a:gd name="T177" fmla="*/ 960 h 960"/>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128" h="960">
                  <a:moveTo>
                    <a:pt x="1128" y="246"/>
                  </a:moveTo>
                  <a:lnTo>
                    <a:pt x="1124" y="248"/>
                  </a:lnTo>
                  <a:lnTo>
                    <a:pt x="1116" y="250"/>
                  </a:lnTo>
                  <a:lnTo>
                    <a:pt x="1104" y="254"/>
                  </a:lnTo>
                  <a:lnTo>
                    <a:pt x="1094" y="259"/>
                  </a:lnTo>
                  <a:lnTo>
                    <a:pt x="1088" y="265"/>
                  </a:lnTo>
                  <a:lnTo>
                    <a:pt x="1083" y="275"/>
                  </a:lnTo>
                  <a:lnTo>
                    <a:pt x="1075" y="289"/>
                  </a:lnTo>
                  <a:lnTo>
                    <a:pt x="1063" y="305"/>
                  </a:lnTo>
                  <a:lnTo>
                    <a:pt x="1055" y="318"/>
                  </a:lnTo>
                  <a:lnTo>
                    <a:pt x="1047" y="332"/>
                  </a:lnTo>
                  <a:lnTo>
                    <a:pt x="1043" y="348"/>
                  </a:lnTo>
                  <a:lnTo>
                    <a:pt x="1037" y="362"/>
                  </a:lnTo>
                  <a:lnTo>
                    <a:pt x="1029" y="376"/>
                  </a:lnTo>
                  <a:lnTo>
                    <a:pt x="1016" y="387"/>
                  </a:lnTo>
                  <a:lnTo>
                    <a:pt x="1002" y="395"/>
                  </a:lnTo>
                  <a:lnTo>
                    <a:pt x="984" y="403"/>
                  </a:lnTo>
                  <a:lnTo>
                    <a:pt x="966" y="411"/>
                  </a:lnTo>
                  <a:lnTo>
                    <a:pt x="949" y="417"/>
                  </a:lnTo>
                  <a:lnTo>
                    <a:pt x="937" y="419"/>
                  </a:lnTo>
                  <a:lnTo>
                    <a:pt x="921" y="415"/>
                  </a:lnTo>
                  <a:lnTo>
                    <a:pt x="903" y="411"/>
                  </a:lnTo>
                  <a:lnTo>
                    <a:pt x="884" y="409"/>
                  </a:lnTo>
                  <a:lnTo>
                    <a:pt x="864" y="411"/>
                  </a:lnTo>
                  <a:lnTo>
                    <a:pt x="846" y="419"/>
                  </a:lnTo>
                  <a:lnTo>
                    <a:pt x="829" y="431"/>
                  </a:lnTo>
                  <a:lnTo>
                    <a:pt x="813" y="440"/>
                  </a:lnTo>
                  <a:lnTo>
                    <a:pt x="801" y="450"/>
                  </a:lnTo>
                  <a:lnTo>
                    <a:pt x="799" y="454"/>
                  </a:lnTo>
                  <a:lnTo>
                    <a:pt x="797" y="458"/>
                  </a:lnTo>
                  <a:lnTo>
                    <a:pt x="795" y="464"/>
                  </a:lnTo>
                  <a:lnTo>
                    <a:pt x="793" y="468"/>
                  </a:lnTo>
                  <a:lnTo>
                    <a:pt x="791" y="472"/>
                  </a:lnTo>
                  <a:lnTo>
                    <a:pt x="789" y="474"/>
                  </a:lnTo>
                  <a:lnTo>
                    <a:pt x="787" y="474"/>
                  </a:lnTo>
                  <a:lnTo>
                    <a:pt x="783" y="474"/>
                  </a:lnTo>
                  <a:lnTo>
                    <a:pt x="777" y="470"/>
                  </a:lnTo>
                  <a:lnTo>
                    <a:pt x="770" y="462"/>
                  </a:lnTo>
                  <a:lnTo>
                    <a:pt x="760" y="456"/>
                  </a:lnTo>
                  <a:lnTo>
                    <a:pt x="752" y="456"/>
                  </a:lnTo>
                  <a:lnTo>
                    <a:pt x="742" y="462"/>
                  </a:lnTo>
                  <a:lnTo>
                    <a:pt x="734" y="472"/>
                  </a:lnTo>
                  <a:lnTo>
                    <a:pt x="726" y="484"/>
                  </a:lnTo>
                  <a:lnTo>
                    <a:pt x="718" y="496"/>
                  </a:lnTo>
                  <a:lnTo>
                    <a:pt x="708" y="507"/>
                  </a:lnTo>
                  <a:lnTo>
                    <a:pt x="695" y="513"/>
                  </a:lnTo>
                  <a:lnTo>
                    <a:pt x="679" y="513"/>
                  </a:lnTo>
                  <a:lnTo>
                    <a:pt x="657" y="509"/>
                  </a:lnTo>
                  <a:lnTo>
                    <a:pt x="644" y="503"/>
                  </a:lnTo>
                  <a:lnTo>
                    <a:pt x="634" y="494"/>
                  </a:lnTo>
                  <a:lnTo>
                    <a:pt x="622" y="482"/>
                  </a:lnTo>
                  <a:lnTo>
                    <a:pt x="612" y="468"/>
                  </a:lnTo>
                  <a:lnTo>
                    <a:pt x="602" y="454"/>
                  </a:lnTo>
                  <a:lnTo>
                    <a:pt x="592" y="442"/>
                  </a:lnTo>
                  <a:lnTo>
                    <a:pt x="583" y="437"/>
                  </a:lnTo>
                  <a:lnTo>
                    <a:pt x="575" y="440"/>
                  </a:lnTo>
                  <a:lnTo>
                    <a:pt x="571" y="452"/>
                  </a:lnTo>
                  <a:lnTo>
                    <a:pt x="575" y="464"/>
                  </a:lnTo>
                  <a:lnTo>
                    <a:pt x="581" y="478"/>
                  </a:lnTo>
                  <a:lnTo>
                    <a:pt x="588" y="490"/>
                  </a:lnTo>
                  <a:lnTo>
                    <a:pt x="596" y="498"/>
                  </a:lnTo>
                  <a:lnTo>
                    <a:pt x="608" y="509"/>
                  </a:lnTo>
                  <a:lnTo>
                    <a:pt x="618" y="519"/>
                  </a:lnTo>
                  <a:lnTo>
                    <a:pt x="624" y="531"/>
                  </a:lnTo>
                  <a:lnTo>
                    <a:pt x="624" y="541"/>
                  </a:lnTo>
                  <a:lnTo>
                    <a:pt x="612" y="557"/>
                  </a:lnTo>
                  <a:lnTo>
                    <a:pt x="596" y="574"/>
                  </a:lnTo>
                  <a:lnTo>
                    <a:pt x="577" y="588"/>
                  </a:lnTo>
                  <a:lnTo>
                    <a:pt x="557" y="596"/>
                  </a:lnTo>
                  <a:lnTo>
                    <a:pt x="545" y="600"/>
                  </a:lnTo>
                  <a:lnTo>
                    <a:pt x="535" y="598"/>
                  </a:lnTo>
                  <a:lnTo>
                    <a:pt x="533" y="596"/>
                  </a:lnTo>
                  <a:lnTo>
                    <a:pt x="531" y="594"/>
                  </a:lnTo>
                  <a:lnTo>
                    <a:pt x="527" y="592"/>
                  </a:lnTo>
                  <a:lnTo>
                    <a:pt x="525" y="590"/>
                  </a:lnTo>
                  <a:lnTo>
                    <a:pt x="523" y="590"/>
                  </a:lnTo>
                  <a:lnTo>
                    <a:pt x="521" y="590"/>
                  </a:lnTo>
                  <a:lnTo>
                    <a:pt x="520" y="592"/>
                  </a:lnTo>
                  <a:lnTo>
                    <a:pt x="518" y="598"/>
                  </a:lnTo>
                  <a:lnTo>
                    <a:pt x="514" y="608"/>
                  </a:lnTo>
                  <a:lnTo>
                    <a:pt x="504" y="614"/>
                  </a:lnTo>
                  <a:lnTo>
                    <a:pt x="492" y="624"/>
                  </a:lnTo>
                  <a:lnTo>
                    <a:pt x="478" y="637"/>
                  </a:lnTo>
                  <a:lnTo>
                    <a:pt x="466" y="651"/>
                  </a:lnTo>
                  <a:lnTo>
                    <a:pt x="459" y="661"/>
                  </a:lnTo>
                  <a:lnTo>
                    <a:pt x="451" y="667"/>
                  </a:lnTo>
                  <a:lnTo>
                    <a:pt x="441" y="667"/>
                  </a:lnTo>
                  <a:lnTo>
                    <a:pt x="427" y="665"/>
                  </a:lnTo>
                  <a:lnTo>
                    <a:pt x="411" y="667"/>
                  </a:lnTo>
                  <a:lnTo>
                    <a:pt x="390" y="669"/>
                  </a:lnTo>
                  <a:lnTo>
                    <a:pt x="374" y="669"/>
                  </a:lnTo>
                  <a:lnTo>
                    <a:pt x="360" y="675"/>
                  </a:lnTo>
                  <a:lnTo>
                    <a:pt x="348" y="683"/>
                  </a:lnTo>
                  <a:lnTo>
                    <a:pt x="336" y="694"/>
                  </a:lnTo>
                  <a:lnTo>
                    <a:pt x="323" y="704"/>
                  </a:lnTo>
                  <a:lnTo>
                    <a:pt x="299" y="714"/>
                  </a:lnTo>
                  <a:lnTo>
                    <a:pt x="271" y="726"/>
                  </a:lnTo>
                  <a:lnTo>
                    <a:pt x="246" y="734"/>
                  </a:lnTo>
                  <a:lnTo>
                    <a:pt x="226" y="740"/>
                  </a:lnTo>
                  <a:lnTo>
                    <a:pt x="212" y="740"/>
                  </a:lnTo>
                  <a:lnTo>
                    <a:pt x="199" y="740"/>
                  </a:lnTo>
                  <a:lnTo>
                    <a:pt x="185" y="742"/>
                  </a:lnTo>
                  <a:lnTo>
                    <a:pt x="173" y="748"/>
                  </a:lnTo>
                  <a:lnTo>
                    <a:pt x="163" y="759"/>
                  </a:lnTo>
                  <a:lnTo>
                    <a:pt x="153" y="773"/>
                  </a:lnTo>
                  <a:lnTo>
                    <a:pt x="142" y="781"/>
                  </a:lnTo>
                  <a:lnTo>
                    <a:pt x="128" y="787"/>
                  </a:lnTo>
                  <a:lnTo>
                    <a:pt x="116" y="793"/>
                  </a:lnTo>
                  <a:lnTo>
                    <a:pt x="108" y="803"/>
                  </a:lnTo>
                  <a:lnTo>
                    <a:pt x="100" y="816"/>
                  </a:lnTo>
                  <a:lnTo>
                    <a:pt x="92" y="826"/>
                  </a:lnTo>
                  <a:lnTo>
                    <a:pt x="86" y="834"/>
                  </a:lnTo>
                  <a:lnTo>
                    <a:pt x="90" y="844"/>
                  </a:lnTo>
                  <a:lnTo>
                    <a:pt x="104" y="856"/>
                  </a:lnTo>
                  <a:lnTo>
                    <a:pt x="118" y="872"/>
                  </a:lnTo>
                  <a:lnTo>
                    <a:pt x="130" y="891"/>
                  </a:lnTo>
                  <a:lnTo>
                    <a:pt x="138" y="905"/>
                  </a:lnTo>
                  <a:lnTo>
                    <a:pt x="144" y="919"/>
                  </a:lnTo>
                  <a:lnTo>
                    <a:pt x="146" y="931"/>
                  </a:lnTo>
                  <a:lnTo>
                    <a:pt x="140" y="940"/>
                  </a:lnTo>
                  <a:lnTo>
                    <a:pt x="128" y="946"/>
                  </a:lnTo>
                  <a:lnTo>
                    <a:pt x="114" y="954"/>
                  </a:lnTo>
                  <a:lnTo>
                    <a:pt x="96" y="960"/>
                  </a:lnTo>
                  <a:lnTo>
                    <a:pt x="79" y="960"/>
                  </a:lnTo>
                  <a:lnTo>
                    <a:pt x="67" y="956"/>
                  </a:lnTo>
                  <a:lnTo>
                    <a:pt x="51" y="938"/>
                  </a:lnTo>
                  <a:lnTo>
                    <a:pt x="37" y="919"/>
                  </a:lnTo>
                  <a:lnTo>
                    <a:pt x="25" y="901"/>
                  </a:lnTo>
                  <a:lnTo>
                    <a:pt x="18" y="887"/>
                  </a:lnTo>
                  <a:lnTo>
                    <a:pt x="10" y="872"/>
                  </a:lnTo>
                  <a:lnTo>
                    <a:pt x="4" y="854"/>
                  </a:lnTo>
                  <a:lnTo>
                    <a:pt x="2" y="840"/>
                  </a:lnTo>
                  <a:lnTo>
                    <a:pt x="2" y="826"/>
                  </a:lnTo>
                  <a:lnTo>
                    <a:pt x="2" y="812"/>
                  </a:lnTo>
                  <a:lnTo>
                    <a:pt x="4" y="797"/>
                  </a:lnTo>
                  <a:lnTo>
                    <a:pt x="12" y="783"/>
                  </a:lnTo>
                  <a:lnTo>
                    <a:pt x="25" y="765"/>
                  </a:lnTo>
                  <a:lnTo>
                    <a:pt x="31" y="753"/>
                  </a:lnTo>
                  <a:lnTo>
                    <a:pt x="33" y="749"/>
                  </a:lnTo>
                  <a:lnTo>
                    <a:pt x="4" y="746"/>
                  </a:lnTo>
                  <a:lnTo>
                    <a:pt x="0" y="734"/>
                  </a:lnTo>
                  <a:lnTo>
                    <a:pt x="33" y="687"/>
                  </a:lnTo>
                  <a:lnTo>
                    <a:pt x="71" y="675"/>
                  </a:lnTo>
                  <a:lnTo>
                    <a:pt x="77" y="637"/>
                  </a:lnTo>
                  <a:lnTo>
                    <a:pt x="128" y="627"/>
                  </a:lnTo>
                  <a:lnTo>
                    <a:pt x="147" y="612"/>
                  </a:lnTo>
                  <a:lnTo>
                    <a:pt x="147" y="553"/>
                  </a:lnTo>
                  <a:lnTo>
                    <a:pt x="175" y="539"/>
                  </a:lnTo>
                  <a:lnTo>
                    <a:pt x="244" y="478"/>
                  </a:lnTo>
                  <a:lnTo>
                    <a:pt x="238" y="403"/>
                  </a:lnTo>
                  <a:lnTo>
                    <a:pt x="264" y="332"/>
                  </a:lnTo>
                  <a:lnTo>
                    <a:pt x="301" y="307"/>
                  </a:lnTo>
                  <a:lnTo>
                    <a:pt x="297" y="250"/>
                  </a:lnTo>
                  <a:lnTo>
                    <a:pt x="325" y="220"/>
                  </a:lnTo>
                  <a:lnTo>
                    <a:pt x="303" y="157"/>
                  </a:lnTo>
                  <a:lnTo>
                    <a:pt x="329" y="143"/>
                  </a:lnTo>
                  <a:lnTo>
                    <a:pt x="329" y="86"/>
                  </a:lnTo>
                  <a:lnTo>
                    <a:pt x="384" y="78"/>
                  </a:lnTo>
                  <a:lnTo>
                    <a:pt x="484" y="9"/>
                  </a:lnTo>
                  <a:lnTo>
                    <a:pt x="535" y="39"/>
                  </a:lnTo>
                  <a:lnTo>
                    <a:pt x="592" y="9"/>
                  </a:lnTo>
                  <a:lnTo>
                    <a:pt x="624" y="29"/>
                  </a:lnTo>
                  <a:lnTo>
                    <a:pt x="693" y="0"/>
                  </a:lnTo>
                  <a:lnTo>
                    <a:pt x="720" y="27"/>
                  </a:lnTo>
                  <a:lnTo>
                    <a:pt x="681" y="94"/>
                  </a:lnTo>
                  <a:lnTo>
                    <a:pt x="651" y="130"/>
                  </a:lnTo>
                  <a:lnTo>
                    <a:pt x="679" y="151"/>
                  </a:lnTo>
                  <a:lnTo>
                    <a:pt x="740" y="128"/>
                  </a:lnTo>
                  <a:lnTo>
                    <a:pt x="823" y="92"/>
                  </a:lnTo>
                  <a:lnTo>
                    <a:pt x="878" y="120"/>
                  </a:lnTo>
                  <a:lnTo>
                    <a:pt x="895" y="59"/>
                  </a:lnTo>
                  <a:lnTo>
                    <a:pt x="984" y="61"/>
                  </a:lnTo>
                  <a:lnTo>
                    <a:pt x="1053" y="96"/>
                  </a:lnTo>
                  <a:lnTo>
                    <a:pt x="1086" y="161"/>
                  </a:lnTo>
                  <a:lnTo>
                    <a:pt x="1110" y="216"/>
                  </a:lnTo>
                  <a:lnTo>
                    <a:pt x="1128" y="246"/>
                  </a:lnTo>
                  <a:close/>
                </a:path>
              </a:pathLst>
            </a:custGeom>
            <a:grpFill/>
            <a:ln w="0">
              <a:solidFill>
                <a:schemeClr val="bg1"/>
              </a:solidFill>
              <a:prstDash val="solid"/>
              <a:round/>
            </a:ln>
          </p:spPr>
          <p:txBody>
            <a:bodyPr/>
            <a:lstStyle/>
            <a:p>
              <a:endParaRPr lang="zh-CN" altLang="en-US"/>
            </a:p>
          </p:txBody>
        </p:sp>
        <p:sp>
          <p:nvSpPr>
            <p:cNvPr id="33" name="Freeform 78"/>
            <p:cNvSpPr/>
            <p:nvPr/>
          </p:nvSpPr>
          <p:spPr bwMode="gray">
            <a:xfrm>
              <a:off x="3188" y="3319"/>
              <a:ext cx="564" cy="480"/>
            </a:xfrm>
            <a:custGeom>
              <a:avLst/>
              <a:gdLst>
                <a:gd name="T0" fmla="*/ 279 w 1128"/>
                <a:gd name="T1" fmla="*/ 62 h 960"/>
                <a:gd name="T2" fmla="*/ 272 w 1128"/>
                <a:gd name="T3" fmla="*/ 67 h 960"/>
                <a:gd name="T4" fmla="*/ 266 w 1128"/>
                <a:gd name="T5" fmla="*/ 77 h 960"/>
                <a:gd name="T6" fmla="*/ 261 w 1128"/>
                <a:gd name="T7" fmla="*/ 87 h 960"/>
                <a:gd name="T8" fmla="*/ 254 w 1128"/>
                <a:gd name="T9" fmla="*/ 97 h 960"/>
                <a:gd name="T10" fmla="*/ 241 w 1128"/>
                <a:gd name="T11" fmla="*/ 103 h 960"/>
                <a:gd name="T12" fmla="*/ 230 w 1128"/>
                <a:gd name="T13" fmla="*/ 104 h 960"/>
                <a:gd name="T14" fmla="*/ 216 w 1128"/>
                <a:gd name="T15" fmla="*/ 103 h 960"/>
                <a:gd name="T16" fmla="*/ 203 w 1128"/>
                <a:gd name="T17" fmla="*/ 110 h 960"/>
                <a:gd name="T18" fmla="*/ 199 w 1128"/>
                <a:gd name="T19" fmla="*/ 115 h 960"/>
                <a:gd name="T20" fmla="*/ 198 w 1128"/>
                <a:gd name="T21" fmla="*/ 118 h 960"/>
                <a:gd name="T22" fmla="*/ 196 w 1128"/>
                <a:gd name="T23" fmla="*/ 119 h 960"/>
                <a:gd name="T24" fmla="*/ 190 w 1128"/>
                <a:gd name="T25" fmla="*/ 114 h 960"/>
                <a:gd name="T26" fmla="*/ 183 w 1128"/>
                <a:gd name="T27" fmla="*/ 118 h 960"/>
                <a:gd name="T28" fmla="*/ 177 w 1128"/>
                <a:gd name="T29" fmla="*/ 127 h 960"/>
                <a:gd name="T30" fmla="*/ 164 w 1128"/>
                <a:gd name="T31" fmla="*/ 127 h 960"/>
                <a:gd name="T32" fmla="*/ 155 w 1128"/>
                <a:gd name="T33" fmla="*/ 120 h 960"/>
                <a:gd name="T34" fmla="*/ 148 w 1128"/>
                <a:gd name="T35" fmla="*/ 111 h 960"/>
                <a:gd name="T36" fmla="*/ 143 w 1128"/>
                <a:gd name="T37" fmla="*/ 113 h 960"/>
                <a:gd name="T38" fmla="*/ 147 w 1128"/>
                <a:gd name="T39" fmla="*/ 122 h 960"/>
                <a:gd name="T40" fmla="*/ 154 w 1128"/>
                <a:gd name="T41" fmla="*/ 130 h 960"/>
                <a:gd name="T42" fmla="*/ 153 w 1128"/>
                <a:gd name="T43" fmla="*/ 140 h 960"/>
                <a:gd name="T44" fmla="*/ 140 w 1128"/>
                <a:gd name="T45" fmla="*/ 149 h 960"/>
                <a:gd name="T46" fmla="*/ 134 w 1128"/>
                <a:gd name="T47" fmla="*/ 149 h 960"/>
                <a:gd name="T48" fmla="*/ 132 w 1128"/>
                <a:gd name="T49" fmla="*/ 148 h 960"/>
                <a:gd name="T50" fmla="*/ 130 w 1128"/>
                <a:gd name="T51" fmla="*/ 148 h 960"/>
                <a:gd name="T52" fmla="*/ 126 w 1128"/>
                <a:gd name="T53" fmla="*/ 154 h 960"/>
                <a:gd name="T54" fmla="*/ 116 w 1128"/>
                <a:gd name="T55" fmla="*/ 163 h 960"/>
                <a:gd name="T56" fmla="*/ 110 w 1128"/>
                <a:gd name="T57" fmla="*/ 167 h 960"/>
                <a:gd name="T58" fmla="*/ 97 w 1128"/>
                <a:gd name="T59" fmla="*/ 168 h 960"/>
                <a:gd name="T60" fmla="*/ 87 w 1128"/>
                <a:gd name="T61" fmla="*/ 171 h 960"/>
                <a:gd name="T62" fmla="*/ 75 w 1128"/>
                <a:gd name="T63" fmla="*/ 179 h 960"/>
                <a:gd name="T64" fmla="*/ 56 w 1128"/>
                <a:gd name="T65" fmla="*/ 185 h 960"/>
                <a:gd name="T66" fmla="*/ 46 w 1128"/>
                <a:gd name="T67" fmla="*/ 186 h 960"/>
                <a:gd name="T68" fmla="*/ 38 w 1128"/>
                <a:gd name="T69" fmla="*/ 194 h 960"/>
                <a:gd name="T70" fmla="*/ 29 w 1128"/>
                <a:gd name="T71" fmla="*/ 199 h 960"/>
                <a:gd name="T72" fmla="*/ 23 w 1128"/>
                <a:gd name="T73" fmla="*/ 207 h 960"/>
                <a:gd name="T74" fmla="*/ 26 w 1128"/>
                <a:gd name="T75" fmla="*/ 214 h 960"/>
                <a:gd name="T76" fmla="*/ 35 w 1128"/>
                <a:gd name="T77" fmla="*/ 227 h 960"/>
                <a:gd name="T78" fmla="*/ 35 w 1128"/>
                <a:gd name="T79" fmla="*/ 235 h 960"/>
                <a:gd name="T80" fmla="*/ 24 w 1128"/>
                <a:gd name="T81" fmla="*/ 240 h 960"/>
                <a:gd name="T82" fmla="*/ 13 w 1128"/>
                <a:gd name="T83" fmla="*/ 235 h 960"/>
                <a:gd name="T84" fmla="*/ 4 w 1128"/>
                <a:gd name="T85" fmla="*/ 222 h 960"/>
                <a:gd name="T86" fmla="*/ 1 w 1128"/>
                <a:gd name="T87" fmla="*/ 210 h 960"/>
                <a:gd name="T88" fmla="*/ 1 w 1128"/>
                <a:gd name="T89" fmla="*/ 200 h 960"/>
                <a:gd name="T90" fmla="*/ 8 w 1128"/>
                <a:gd name="T91" fmla="*/ 189 h 960"/>
                <a:gd name="T92" fmla="*/ 0 w 1128"/>
                <a:gd name="T93" fmla="*/ 184 h 960"/>
                <a:gd name="T94" fmla="*/ 19 w 1128"/>
                <a:gd name="T95" fmla="*/ 160 h 960"/>
                <a:gd name="T96" fmla="*/ 37 w 1128"/>
                <a:gd name="T97" fmla="*/ 139 h 960"/>
                <a:gd name="T98" fmla="*/ 59 w 1128"/>
                <a:gd name="T99" fmla="*/ 101 h 960"/>
                <a:gd name="T100" fmla="*/ 74 w 1128"/>
                <a:gd name="T101" fmla="*/ 62 h 960"/>
                <a:gd name="T102" fmla="*/ 82 w 1128"/>
                <a:gd name="T103" fmla="*/ 36 h 960"/>
                <a:gd name="T104" fmla="*/ 121 w 1128"/>
                <a:gd name="T105" fmla="*/ 3 h 960"/>
                <a:gd name="T106" fmla="*/ 156 w 1128"/>
                <a:gd name="T107" fmla="*/ 8 h 960"/>
                <a:gd name="T108" fmla="*/ 170 w 1128"/>
                <a:gd name="T109" fmla="*/ 24 h 960"/>
                <a:gd name="T110" fmla="*/ 185 w 1128"/>
                <a:gd name="T111" fmla="*/ 32 h 960"/>
                <a:gd name="T112" fmla="*/ 224 w 1128"/>
                <a:gd name="T113" fmla="*/ 15 h 960"/>
                <a:gd name="T114" fmla="*/ 272 w 1128"/>
                <a:gd name="T115" fmla="*/ 41 h 96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128"/>
                <a:gd name="T175" fmla="*/ 0 h 960"/>
                <a:gd name="T176" fmla="*/ 1128 w 1128"/>
                <a:gd name="T177" fmla="*/ 960 h 960"/>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128" h="960">
                  <a:moveTo>
                    <a:pt x="1128" y="246"/>
                  </a:moveTo>
                  <a:lnTo>
                    <a:pt x="1124" y="248"/>
                  </a:lnTo>
                  <a:lnTo>
                    <a:pt x="1116" y="250"/>
                  </a:lnTo>
                  <a:lnTo>
                    <a:pt x="1104" y="254"/>
                  </a:lnTo>
                  <a:lnTo>
                    <a:pt x="1094" y="259"/>
                  </a:lnTo>
                  <a:lnTo>
                    <a:pt x="1088" y="265"/>
                  </a:lnTo>
                  <a:lnTo>
                    <a:pt x="1083" y="275"/>
                  </a:lnTo>
                  <a:lnTo>
                    <a:pt x="1075" y="289"/>
                  </a:lnTo>
                  <a:lnTo>
                    <a:pt x="1063" y="305"/>
                  </a:lnTo>
                  <a:lnTo>
                    <a:pt x="1055" y="318"/>
                  </a:lnTo>
                  <a:lnTo>
                    <a:pt x="1047" y="332"/>
                  </a:lnTo>
                  <a:lnTo>
                    <a:pt x="1043" y="348"/>
                  </a:lnTo>
                  <a:lnTo>
                    <a:pt x="1037" y="362"/>
                  </a:lnTo>
                  <a:lnTo>
                    <a:pt x="1029" y="376"/>
                  </a:lnTo>
                  <a:lnTo>
                    <a:pt x="1016" y="387"/>
                  </a:lnTo>
                  <a:lnTo>
                    <a:pt x="1002" y="395"/>
                  </a:lnTo>
                  <a:lnTo>
                    <a:pt x="984" y="403"/>
                  </a:lnTo>
                  <a:lnTo>
                    <a:pt x="966" y="411"/>
                  </a:lnTo>
                  <a:lnTo>
                    <a:pt x="949" y="417"/>
                  </a:lnTo>
                  <a:lnTo>
                    <a:pt x="937" y="419"/>
                  </a:lnTo>
                  <a:lnTo>
                    <a:pt x="921" y="415"/>
                  </a:lnTo>
                  <a:lnTo>
                    <a:pt x="903" y="411"/>
                  </a:lnTo>
                  <a:lnTo>
                    <a:pt x="884" y="409"/>
                  </a:lnTo>
                  <a:lnTo>
                    <a:pt x="864" y="411"/>
                  </a:lnTo>
                  <a:lnTo>
                    <a:pt x="846" y="419"/>
                  </a:lnTo>
                  <a:lnTo>
                    <a:pt x="829" y="431"/>
                  </a:lnTo>
                  <a:lnTo>
                    <a:pt x="813" y="440"/>
                  </a:lnTo>
                  <a:lnTo>
                    <a:pt x="801" y="450"/>
                  </a:lnTo>
                  <a:lnTo>
                    <a:pt x="799" y="454"/>
                  </a:lnTo>
                  <a:lnTo>
                    <a:pt x="797" y="458"/>
                  </a:lnTo>
                  <a:lnTo>
                    <a:pt x="795" y="464"/>
                  </a:lnTo>
                  <a:lnTo>
                    <a:pt x="793" y="468"/>
                  </a:lnTo>
                  <a:lnTo>
                    <a:pt x="791" y="472"/>
                  </a:lnTo>
                  <a:lnTo>
                    <a:pt x="789" y="474"/>
                  </a:lnTo>
                  <a:lnTo>
                    <a:pt x="787" y="474"/>
                  </a:lnTo>
                  <a:lnTo>
                    <a:pt x="783" y="474"/>
                  </a:lnTo>
                  <a:lnTo>
                    <a:pt x="777" y="470"/>
                  </a:lnTo>
                  <a:lnTo>
                    <a:pt x="770" y="462"/>
                  </a:lnTo>
                  <a:lnTo>
                    <a:pt x="760" y="456"/>
                  </a:lnTo>
                  <a:lnTo>
                    <a:pt x="752" y="456"/>
                  </a:lnTo>
                  <a:lnTo>
                    <a:pt x="742" y="462"/>
                  </a:lnTo>
                  <a:lnTo>
                    <a:pt x="734" y="472"/>
                  </a:lnTo>
                  <a:lnTo>
                    <a:pt x="726" y="484"/>
                  </a:lnTo>
                  <a:lnTo>
                    <a:pt x="718" y="496"/>
                  </a:lnTo>
                  <a:lnTo>
                    <a:pt x="708" y="507"/>
                  </a:lnTo>
                  <a:lnTo>
                    <a:pt x="695" y="513"/>
                  </a:lnTo>
                  <a:lnTo>
                    <a:pt x="679" y="513"/>
                  </a:lnTo>
                  <a:lnTo>
                    <a:pt x="657" y="509"/>
                  </a:lnTo>
                  <a:lnTo>
                    <a:pt x="644" y="503"/>
                  </a:lnTo>
                  <a:lnTo>
                    <a:pt x="634" y="494"/>
                  </a:lnTo>
                  <a:lnTo>
                    <a:pt x="622" y="482"/>
                  </a:lnTo>
                  <a:lnTo>
                    <a:pt x="612" y="468"/>
                  </a:lnTo>
                  <a:lnTo>
                    <a:pt x="602" y="454"/>
                  </a:lnTo>
                  <a:lnTo>
                    <a:pt x="592" y="442"/>
                  </a:lnTo>
                  <a:lnTo>
                    <a:pt x="583" y="437"/>
                  </a:lnTo>
                  <a:lnTo>
                    <a:pt x="575" y="440"/>
                  </a:lnTo>
                  <a:lnTo>
                    <a:pt x="571" y="452"/>
                  </a:lnTo>
                  <a:lnTo>
                    <a:pt x="575" y="464"/>
                  </a:lnTo>
                  <a:lnTo>
                    <a:pt x="581" y="478"/>
                  </a:lnTo>
                  <a:lnTo>
                    <a:pt x="588" y="490"/>
                  </a:lnTo>
                  <a:lnTo>
                    <a:pt x="596" y="498"/>
                  </a:lnTo>
                  <a:lnTo>
                    <a:pt x="608" y="509"/>
                  </a:lnTo>
                  <a:lnTo>
                    <a:pt x="618" y="519"/>
                  </a:lnTo>
                  <a:lnTo>
                    <a:pt x="624" y="531"/>
                  </a:lnTo>
                  <a:lnTo>
                    <a:pt x="624" y="541"/>
                  </a:lnTo>
                  <a:lnTo>
                    <a:pt x="612" y="557"/>
                  </a:lnTo>
                  <a:lnTo>
                    <a:pt x="596" y="574"/>
                  </a:lnTo>
                  <a:lnTo>
                    <a:pt x="577" y="588"/>
                  </a:lnTo>
                  <a:lnTo>
                    <a:pt x="557" y="596"/>
                  </a:lnTo>
                  <a:lnTo>
                    <a:pt x="545" y="600"/>
                  </a:lnTo>
                  <a:lnTo>
                    <a:pt x="535" y="598"/>
                  </a:lnTo>
                  <a:lnTo>
                    <a:pt x="533" y="596"/>
                  </a:lnTo>
                  <a:lnTo>
                    <a:pt x="531" y="594"/>
                  </a:lnTo>
                  <a:lnTo>
                    <a:pt x="527" y="592"/>
                  </a:lnTo>
                  <a:lnTo>
                    <a:pt x="525" y="590"/>
                  </a:lnTo>
                  <a:lnTo>
                    <a:pt x="523" y="590"/>
                  </a:lnTo>
                  <a:lnTo>
                    <a:pt x="521" y="590"/>
                  </a:lnTo>
                  <a:lnTo>
                    <a:pt x="520" y="592"/>
                  </a:lnTo>
                  <a:lnTo>
                    <a:pt x="518" y="598"/>
                  </a:lnTo>
                  <a:lnTo>
                    <a:pt x="514" y="608"/>
                  </a:lnTo>
                  <a:lnTo>
                    <a:pt x="504" y="614"/>
                  </a:lnTo>
                  <a:lnTo>
                    <a:pt x="492" y="624"/>
                  </a:lnTo>
                  <a:lnTo>
                    <a:pt x="478" y="637"/>
                  </a:lnTo>
                  <a:lnTo>
                    <a:pt x="466" y="651"/>
                  </a:lnTo>
                  <a:lnTo>
                    <a:pt x="459" y="661"/>
                  </a:lnTo>
                  <a:lnTo>
                    <a:pt x="451" y="667"/>
                  </a:lnTo>
                  <a:lnTo>
                    <a:pt x="441" y="667"/>
                  </a:lnTo>
                  <a:lnTo>
                    <a:pt x="427" y="665"/>
                  </a:lnTo>
                  <a:lnTo>
                    <a:pt x="411" y="667"/>
                  </a:lnTo>
                  <a:lnTo>
                    <a:pt x="390" y="669"/>
                  </a:lnTo>
                  <a:lnTo>
                    <a:pt x="374" y="669"/>
                  </a:lnTo>
                  <a:lnTo>
                    <a:pt x="360" y="675"/>
                  </a:lnTo>
                  <a:lnTo>
                    <a:pt x="348" y="683"/>
                  </a:lnTo>
                  <a:lnTo>
                    <a:pt x="336" y="694"/>
                  </a:lnTo>
                  <a:lnTo>
                    <a:pt x="323" y="704"/>
                  </a:lnTo>
                  <a:lnTo>
                    <a:pt x="299" y="714"/>
                  </a:lnTo>
                  <a:lnTo>
                    <a:pt x="271" y="726"/>
                  </a:lnTo>
                  <a:lnTo>
                    <a:pt x="246" y="734"/>
                  </a:lnTo>
                  <a:lnTo>
                    <a:pt x="226" y="740"/>
                  </a:lnTo>
                  <a:lnTo>
                    <a:pt x="212" y="740"/>
                  </a:lnTo>
                  <a:lnTo>
                    <a:pt x="199" y="740"/>
                  </a:lnTo>
                  <a:lnTo>
                    <a:pt x="185" y="742"/>
                  </a:lnTo>
                  <a:lnTo>
                    <a:pt x="173" y="748"/>
                  </a:lnTo>
                  <a:lnTo>
                    <a:pt x="163" y="759"/>
                  </a:lnTo>
                  <a:lnTo>
                    <a:pt x="153" y="773"/>
                  </a:lnTo>
                  <a:lnTo>
                    <a:pt x="142" y="781"/>
                  </a:lnTo>
                  <a:lnTo>
                    <a:pt x="128" y="787"/>
                  </a:lnTo>
                  <a:lnTo>
                    <a:pt x="116" y="793"/>
                  </a:lnTo>
                  <a:lnTo>
                    <a:pt x="108" y="803"/>
                  </a:lnTo>
                  <a:lnTo>
                    <a:pt x="100" y="816"/>
                  </a:lnTo>
                  <a:lnTo>
                    <a:pt x="92" y="826"/>
                  </a:lnTo>
                  <a:lnTo>
                    <a:pt x="86" y="834"/>
                  </a:lnTo>
                  <a:lnTo>
                    <a:pt x="90" y="844"/>
                  </a:lnTo>
                  <a:lnTo>
                    <a:pt x="104" y="856"/>
                  </a:lnTo>
                  <a:lnTo>
                    <a:pt x="118" y="872"/>
                  </a:lnTo>
                  <a:lnTo>
                    <a:pt x="130" y="891"/>
                  </a:lnTo>
                  <a:lnTo>
                    <a:pt x="138" y="905"/>
                  </a:lnTo>
                  <a:lnTo>
                    <a:pt x="144" y="919"/>
                  </a:lnTo>
                  <a:lnTo>
                    <a:pt x="146" y="931"/>
                  </a:lnTo>
                  <a:lnTo>
                    <a:pt x="140" y="940"/>
                  </a:lnTo>
                  <a:lnTo>
                    <a:pt x="128" y="946"/>
                  </a:lnTo>
                  <a:lnTo>
                    <a:pt x="114" y="954"/>
                  </a:lnTo>
                  <a:lnTo>
                    <a:pt x="96" y="960"/>
                  </a:lnTo>
                  <a:lnTo>
                    <a:pt x="79" y="960"/>
                  </a:lnTo>
                  <a:lnTo>
                    <a:pt x="67" y="956"/>
                  </a:lnTo>
                  <a:lnTo>
                    <a:pt x="51" y="938"/>
                  </a:lnTo>
                  <a:lnTo>
                    <a:pt x="37" y="919"/>
                  </a:lnTo>
                  <a:lnTo>
                    <a:pt x="25" y="901"/>
                  </a:lnTo>
                  <a:lnTo>
                    <a:pt x="18" y="887"/>
                  </a:lnTo>
                  <a:lnTo>
                    <a:pt x="10" y="872"/>
                  </a:lnTo>
                  <a:lnTo>
                    <a:pt x="4" y="854"/>
                  </a:lnTo>
                  <a:lnTo>
                    <a:pt x="2" y="840"/>
                  </a:lnTo>
                  <a:lnTo>
                    <a:pt x="2" y="826"/>
                  </a:lnTo>
                  <a:lnTo>
                    <a:pt x="2" y="812"/>
                  </a:lnTo>
                  <a:lnTo>
                    <a:pt x="4" y="797"/>
                  </a:lnTo>
                  <a:lnTo>
                    <a:pt x="12" y="783"/>
                  </a:lnTo>
                  <a:lnTo>
                    <a:pt x="25" y="765"/>
                  </a:lnTo>
                  <a:lnTo>
                    <a:pt x="31" y="753"/>
                  </a:lnTo>
                  <a:lnTo>
                    <a:pt x="33" y="749"/>
                  </a:lnTo>
                  <a:lnTo>
                    <a:pt x="4" y="746"/>
                  </a:lnTo>
                  <a:lnTo>
                    <a:pt x="0" y="734"/>
                  </a:lnTo>
                  <a:lnTo>
                    <a:pt x="33" y="687"/>
                  </a:lnTo>
                  <a:lnTo>
                    <a:pt x="71" y="675"/>
                  </a:lnTo>
                  <a:lnTo>
                    <a:pt x="77" y="637"/>
                  </a:lnTo>
                  <a:lnTo>
                    <a:pt x="128" y="627"/>
                  </a:lnTo>
                  <a:lnTo>
                    <a:pt x="147" y="612"/>
                  </a:lnTo>
                  <a:lnTo>
                    <a:pt x="147" y="553"/>
                  </a:lnTo>
                  <a:lnTo>
                    <a:pt x="175" y="539"/>
                  </a:lnTo>
                  <a:lnTo>
                    <a:pt x="244" y="478"/>
                  </a:lnTo>
                  <a:lnTo>
                    <a:pt x="238" y="403"/>
                  </a:lnTo>
                  <a:lnTo>
                    <a:pt x="264" y="332"/>
                  </a:lnTo>
                  <a:lnTo>
                    <a:pt x="301" y="307"/>
                  </a:lnTo>
                  <a:lnTo>
                    <a:pt x="297" y="250"/>
                  </a:lnTo>
                  <a:lnTo>
                    <a:pt x="325" y="220"/>
                  </a:lnTo>
                  <a:lnTo>
                    <a:pt x="303" y="157"/>
                  </a:lnTo>
                  <a:lnTo>
                    <a:pt x="329" y="143"/>
                  </a:lnTo>
                  <a:lnTo>
                    <a:pt x="329" y="86"/>
                  </a:lnTo>
                  <a:lnTo>
                    <a:pt x="384" y="78"/>
                  </a:lnTo>
                  <a:lnTo>
                    <a:pt x="484" y="9"/>
                  </a:lnTo>
                  <a:lnTo>
                    <a:pt x="535" y="39"/>
                  </a:lnTo>
                  <a:lnTo>
                    <a:pt x="592" y="9"/>
                  </a:lnTo>
                  <a:lnTo>
                    <a:pt x="624" y="29"/>
                  </a:lnTo>
                  <a:lnTo>
                    <a:pt x="693" y="0"/>
                  </a:lnTo>
                  <a:lnTo>
                    <a:pt x="720" y="27"/>
                  </a:lnTo>
                  <a:lnTo>
                    <a:pt x="681" y="94"/>
                  </a:lnTo>
                  <a:lnTo>
                    <a:pt x="651" y="130"/>
                  </a:lnTo>
                  <a:lnTo>
                    <a:pt x="679" y="151"/>
                  </a:lnTo>
                  <a:lnTo>
                    <a:pt x="740" y="128"/>
                  </a:lnTo>
                  <a:lnTo>
                    <a:pt x="823" y="92"/>
                  </a:lnTo>
                  <a:lnTo>
                    <a:pt x="878" y="120"/>
                  </a:lnTo>
                  <a:lnTo>
                    <a:pt x="895" y="59"/>
                  </a:lnTo>
                  <a:lnTo>
                    <a:pt x="984" y="61"/>
                  </a:lnTo>
                  <a:lnTo>
                    <a:pt x="1053" y="96"/>
                  </a:lnTo>
                  <a:lnTo>
                    <a:pt x="1086" y="161"/>
                  </a:lnTo>
                  <a:lnTo>
                    <a:pt x="1110" y="216"/>
                  </a:lnTo>
                  <a:lnTo>
                    <a:pt x="1128" y="246"/>
                  </a:lnTo>
                </a:path>
              </a:pathLst>
            </a:custGeom>
            <a:grpFill/>
            <a:ln w="6350">
              <a:solidFill>
                <a:schemeClr val="bg1"/>
              </a:solidFill>
              <a:prstDash val="solid"/>
              <a:round/>
            </a:ln>
          </p:spPr>
          <p:txBody>
            <a:bodyPr/>
            <a:lstStyle/>
            <a:p>
              <a:endParaRPr lang="zh-CN" altLang="en-US"/>
            </a:p>
          </p:txBody>
        </p:sp>
        <p:sp>
          <p:nvSpPr>
            <p:cNvPr id="36" name="Freeform 79"/>
            <p:cNvSpPr/>
            <p:nvPr/>
          </p:nvSpPr>
          <p:spPr bwMode="gray">
            <a:xfrm>
              <a:off x="3636" y="3029"/>
              <a:ext cx="313" cy="413"/>
            </a:xfrm>
            <a:custGeom>
              <a:avLst/>
              <a:gdLst>
                <a:gd name="T0" fmla="*/ 156 w 626"/>
                <a:gd name="T1" fmla="*/ 31 h 825"/>
                <a:gd name="T2" fmla="*/ 154 w 626"/>
                <a:gd name="T3" fmla="*/ 37 h 825"/>
                <a:gd name="T4" fmla="*/ 152 w 626"/>
                <a:gd name="T5" fmla="*/ 44 h 825"/>
                <a:gd name="T6" fmla="*/ 146 w 626"/>
                <a:gd name="T7" fmla="*/ 52 h 825"/>
                <a:gd name="T8" fmla="*/ 138 w 626"/>
                <a:gd name="T9" fmla="*/ 57 h 825"/>
                <a:gd name="T10" fmla="*/ 131 w 626"/>
                <a:gd name="T11" fmla="*/ 61 h 825"/>
                <a:gd name="T12" fmla="*/ 130 w 626"/>
                <a:gd name="T13" fmla="*/ 62 h 825"/>
                <a:gd name="T14" fmla="*/ 132 w 626"/>
                <a:gd name="T15" fmla="*/ 68 h 825"/>
                <a:gd name="T16" fmla="*/ 135 w 626"/>
                <a:gd name="T17" fmla="*/ 75 h 825"/>
                <a:gd name="T18" fmla="*/ 136 w 626"/>
                <a:gd name="T19" fmla="*/ 81 h 825"/>
                <a:gd name="T20" fmla="*/ 136 w 626"/>
                <a:gd name="T21" fmla="*/ 89 h 825"/>
                <a:gd name="T22" fmla="*/ 137 w 626"/>
                <a:gd name="T23" fmla="*/ 95 h 825"/>
                <a:gd name="T24" fmla="*/ 138 w 626"/>
                <a:gd name="T25" fmla="*/ 104 h 825"/>
                <a:gd name="T26" fmla="*/ 131 w 626"/>
                <a:gd name="T27" fmla="*/ 112 h 825"/>
                <a:gd name="T28" fmla="*/ 122 w 626"/>
                <a:gd name="T29" fmla="*/ 120 h 825"/>
                <a:gd name="T30" fmla="*/ 117 w 626"/>
                <a:gd name="T31" fmla="*/ 131 h 825"/>
                <a:gd name="T32" fmla="*/ 115 w 626"/>
                <a:gd name="T33" fmla="*/ 142 h 825"/>
                <a:gd name="T34" fmla="*/ 110 w 626"/>
                <a:gd name="T35" fmla="*/ 151 h 825"/>
                <a:gd name="T36" fmla="*/ 103 w 626"/>
                <a:gd name="T37" fmla="*/ 156 h 825"/>
                <a:gd name="T38" fmla="*/ 94 w 626"/>
                <a:gd name="T39" fmla="*/ 158 h 825"/>
                <a:gd name="T40" fmla="*/ 86 w 626"/>
                <a:gd name="T41" fmla="*/ 161 h 825"/>
                <a:gd name="T42" fmla="*/ 85 w 626"/>
                <a:gd name="T43" fmla="*/ 165 h 825"/>
                <a:gd name="T44" fmla="*/ 89 w 626"/>
                <a:gd name="T45" fmla="*/ 171 h 825"/>
                <a:gd name="T46" fmla="*/ 90 w 626"/>
                <a:gd name="T47" fmla="*/ 176 h 825"/>
                <a:gd name="T48" fmla="*/ 86 w 626"/>
                <a:gd name="T49" fmla="*/ 182 h 825"/>
                <a:gd name="T50" fmla="*/ 80 w 626"/>
                <a:gd name="T51" fmla="*/ 189 h 825"/>
                <a:gd name="T52" fmla="*/ 76 w 626"/>
                <a:gd name="T53" fmla="*/ 193 h 825"/>
                <a:gd name="T54" fmla="*/ 69 w 626"/>
                <a:gd name="T55" fmla="*/ 199 h 825"/>
                <a:gd name="T56" fmla="*/ 61 w 626"/>
                <a:gd name="T57" fmla="*/ 204 h 825"/>
                <a:gd name="T58" fmla="*/ 58 w 626"/>
                <a:gd name="T59" fmla="*/ 207 h 825"/>
                <a:gd name="T60" fmla="*/ 48 w 626"/>
                <a:gd name="T61" fmla="*/ 185 h 825"/>
                <a:gd name="T62" fmla="*/ 22 w 626"/>
                <a:gd name="T63" fmla="*/ 161 h 825"/>
                <a:gd name="T64" fmla="*/ 0 w 626"/>
                <a:gd name="T65" fmla="*/ 146 h 825"/>
                <a:gd name="T66" fmla="*/ 15 w 626"/>
                <a:gd name="T67" fmla="*/ 107 h 825"/>
                <a:gd name="T68" fmla="*/ 20 w 626"/>
                <a:gd name="T69" fmla="*/ 88 h 825"/>
                <a:gd name="T70" fmla="*/ 18 w 626"/>
                <a:gd name="T71" fmla="*/ 67 h 825"/>
                <a:gd name="T72" fmla="*/ 34 w 626"/>
                <a:gd name="T73" fmla="*/ 43 h 825"/>
                <a:gd name="T74" fmla="*/ 42 w 626"/>
                <a:gd name="T75" fmla="*/ 24 h 825"/>
                <a:gd name="T76" fmla="*/ 63 w 626"/>
                <a:gd name="T77" fmla="*/ 17 h 825"/>
                <a:gd name="T78" fmla="*/ 75 w 626"/>
                <a:gd name="T79" fmla="*/ 1 h 825"/>
                <a:gd name="T80" fmla="*/ 92 w 626"/>
                <a:gd name="T81" fmla="*/ 14 h 825"/>
                <a:gd name="T82" fmla="*/ 114 w 626"/>
                <a:gd name="T83" fmla="*/ 32 h 825"/>
                <a:gd name="T84" fmla="*/ 135 w 626"/>
                <a:gd name="T85" fmla="*/ 32 h 825"/>
                <a:gd name="T86" fmla="*/ 151 w 626"/>
                <a:gd name="T87" fmla="*/ 25 h 825"/>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626"/>
                <a:gd name="T133" fmla="*/ 0 h 825"/>
                <a:gd name="T134" fmla="*/ 626 w 626"/>
                <a:gd name="T135" fmla="*/ 825 h 825"/>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626" h="825">
                  <a:moveTo>
                    <a:pt x="626" y="122"/>
                  </a:moveTo>
                  <a:lnTo>
                    <a:pt x="624" y="124"/>
                  </a:lnTo>
                  <a:lnTo>
                    <a:pt x="621" y="134"/>
                  </a:lnTo>
                  <a:lnTo>
                    <a:pt x="615" y="146"/>
                  </a:lnTo>
                  <a:lnTo>
                    <a:pt x="613" y="159"/>
                  </a:lnTo>
                  <a:lnTo>
                    <a:pt x="607" y="173"/>
                  </a:lnTo>
                  <a:lnTo>
                    <a:pt x="597" y="189"/>
                  </a:lnTo>
                  <a:lnTo>
                    <a:pt x="581" y="205"/>
                  </a:lnTo>
                  <a:lnTo>
                    <a:pt x="565" y="216"/>
                  </a:lnTo>
                  <a:lnTo>
                    <a:pt x="550" y="228"/>
                  </a:lnTo>
                  <a:lnTo>
                    <a:pt x="534" y="236"/>
                  </a:lnTo>
                  <a:lnTo>
                    <a:pt x="524" y="242"/>
                  </a:lnTo>
                  <a:lnTo>
                    <a:pt x="520" y="244"/>
                  </a:lnTo>
                  <a:lnTo>
                    <a:pt x="520" y="248"/>
                  </a:lnTo>
                  <a:lnTo>
                    <a:pt x="524" y="258"/>
                  </a:lnTo>
                  <a:lnTo>
                    <a:pt x="528" y="272"/>
                  </a:lnTo>
                  <a:lnTo>
                    <a:pt x="532" y="285"/>
                  </a:lnTo>
                  <a:lnTo>
                    <a:pt x="538" y="299"/>
                  </a:lnTo>
                  <a:lnTo>
                    <a:pt x="542" y="309"/>
                  </a:lnTo>
                  <a:lnTo>
                    <a:pt x="544" y="321"/>
                  </a:lnTo>
                  <a:lnTo>
                    <a:pt x="546" y="339"/>
                  </a:lnTo>
                  <a:lnTo>
                    <a:pt x="544" y="354"/>
                  </a:lnTo>
                  <a:lnTo>
                    <a:pt x="544" y="368"/>
                  </a:lnTo>
                  <a:lnTo>
                    <a:pt x="548" y="380"/>
                  </a:lnTo>
                  <a:lnTo>
                    <a:pt x="550" y="396"/>
                  </a:lnTo>
                  <a:lnTo>
                    <a:pt x="550" y="413"/>
                  </a:lnTo>
                  <a:lnTo>
                    <a:pt x="540" y="429"/>
                  </a:lnTo>
                  <a:lnTo>
                    <a:pt x="522" y="447"/>
                  </a:lnTo>
                  <a:lnTo>
                    <a:pt x="504" y="462"/>
                  </a:lnTo>
                  <a:lnTo>
                    <a:pt x="489" y="480"/>
                  </a:lnTo>
                  <a:lnTo>
                    <a:pt x="479" y="494"/>
                  </a:lnTo>
                  <a:lnTo>
                    <a:pt x="469" y="522"/>
                  </a:lnTo>
                  <a:lnTo>
                    <a:pt x="463" y="549"/>
                  </a:lnTo>
                  <a:lnTo>
                    <a:pt x="459" y="565"/>
                  </a:lnTo>
                  <a:lnTo>
                    <a:pt x="451" y="585"/>
                  </a:lnTo>
                  <a:lnTo>
                    <a:pt x="441" y="602"/>
                  </a:lnTo>
                  <a:lnTo>
                    <a:pt x="428" y="618"/>
                  </a:lnTo>
                  <a:lnTo>
                    <a:pt x="414" y="624"/>
                  </a:lnTo>
                  <a:lnTo>
                    <a:pt x="396" y="630"/>
                  </a:lnTo>
                  <a:lnTo>
                    <a:pt x="376" y="632"/>
                  </a:lnTo>
                  <a:lnTo>
                    <a:pt x="359" y="636"/>
                  </a:lnTo>
                  <a:lnTo>
                    <a:pt x="345" y="642"/>
                  </a:lnTo>
                  <a:lnTo>
                    <a:pt x="337" y="648"/>
                  </a:lnTo>
                  <a:lnTo>
                    <a:pt x="339" y="659"/>
                  </a:lnTo>
                  <a:lnTo>
                    <a:pt x="347" y="669"/>
                  </a:lnTo>
                  <a:lnTo>
                    <a:pt x="357" y="681"/>
                  </a:lnTo>
                  <a:lnTo>
                    <a:pt x="363" y="691"/>
                  </a:lnTo>
                  <a:lnTo>
                    <a:pt x="361" y="701"/>
                  </a:lnTo>
                  <a:lnTo>
                    <a:pt x="353" y="710"/>
                  </a:lnTo>
                  <a:lnTo>
                    <a:pt x="343" y="726"/>
                  </a:lnTo>
                  <a:lnTo>
                    <a:pt x="331" y="742"/>
                  </a:lnTo>
                  <a:lnTo>
                    <a:pt x="319" y="756"/>
                  </a:lnTo>
                  <a:lnTo>
                    <a:pt x="312" y="766"/>
                  </a:lnTo>
                  <a:lnTo>
                    <a:pt x="302" y="771"/>
                  </a:lnTo>
                  <a:lnTo>
                    <a:pt x="290" y="781"/>
                  </a:lnTo>
                  <a:lnTo>
                    <a:pt x="274" y="793"/>
                  </a:lnTo>
                  <a:lnTo>
                    <a:pt x="258" y="805"/>
                  </a:lnTo>
                  <a:lnTo>
                    <a:pt x="245" y="815"/>
                  </a:lnTo>
                  <a:lnTo>
                    <a:pt x="235" y="821"/>
                  </a:lnTo>
                  <a:lnTo>
                    <a:pt x="231" y="825"/>
                  </a:lnTo>
                  <a:lnTo>
                    <a:pt x="215" y="795"/>
                  </a:lnTo>
                  <a:lnTo>
                    <a:pt x="191" y="740"/>
                  </a:lnTo>
                  <a:lnTo>
                    <a:pt x="158" y="675"/>
                  </a:lnTo>
                  <a:lnTo>
                    <a:pt x="89" y="642"/>
                  </a:lnTo>
                  <a:lnTo>
                    <a:pt x="2" y="640"/>
                  </a:lnTo>
                  <a:lnTo>
                    <a:pt x="0" y="581"/>
                  </a:lnTo>
                  <a:lnTo>
                    <a:pt x="28" y="476"/>
                  </a:lnTo>
                  <a:lnTo>
                    <a:pt x="60" y="425"/>
                  </a:lnTo>
                  <a:lnTo>
                    <a:pt x="58" y="376"/>
                  </a:lnTo>
                  <a:lnTo>
                    <a:pt x="77" y="352"/>
                  </a:lnTo>
                  <a:lnTo>
                    <a:pt x="63" y="317"/>
                  </a:lnTo>
                  <a:lnTo>
                    <a:pt x="69" y="266"/>
                  </a:lnTo>
                  <a:lnTo>
                    <a:pt x="126" y="244"/>
                  </a:lnTo>
                  <a:lnTo>
                    <a:pt x="136" y="171"/>
                  </a:lnTo>
                  <a:lnTo>
                    <a:pt x="140" y="116"/>
                  </a:lnTo>
                  <a:lnTo>
                    <a:pt x="170" y="94"/>
                  </a:lnTo>
                  <a:lnTo>
                    <a:pt x="203" y="94"/>
                  </a:lnTo>
                  <a:lnTo>
                    <a:pt x="254" y="65"/>
                  </a:lnTo>
                  <a:lnTo>
                    <a:pt x="298" y="45"/>
                  </a:lnTo>
                  <a:lnTo>
                    <a:pt x="298" y="4"/>
                  </a:lnTo>
                  <a:lnTo>
                    <a:pt x="363" y="0"/>
                  </a:lnTo>
                  <a:lnTo>
                    <a:pt x="367" y="53"/>
                  </a:lnTo>
                  <a:lnTo>
                    <a:pt x="406" y="110"/>
                  </a:lnTo>
                  <a:lnTo>
                    <a:pt x="455" y="126"/>
                  </a:lnTo>
                  <a:lnTo>
                    <a:pt x="495" y="83"/>
                  </a:lnTo>
                  <a:lnTo>
                    <a:pt x="538" y="126"/>
                  </a:lnTo>
                  <a:lnTo>
                    <a:pt x="571" y="122"/>
                  </a:lnTo>
                  <a:lnTo>
                    <a:pt x="603" y="98"/>
                  </a:lnTo>
                  <a:lnTo>
                    <a:pt x="626" y="122"/>
                  </a:lnTo>
                  <a:close/>
                </a:path>
              </a:pathLst>
            </a:custGeom>
            <a:grpFill/>
            <a:ln w="0">
              <a:solidFill>
                <a:schemeClr val="bg1"/>
              </a:solidFill>
              <a:prstDash val="solid"/>
              <a:round/>
            </a:ln>
          </p:spPr>
          <p:txBody>
            <a:bodyPr/>
            <a:lstStyle/>
            <a:p>
              <a:endParaRPr lang="zh-CN" altLang="en-US"/>
            </a:p>
          </p:txBody>
        </p:sp>
        <p:sp>
          <p:nvSpPr>
            <p:cNvPr id="37" name="Freeform 80"/>
            <p:cNvSpPr/>
            <p:nvPr/>
          </p:nvSpPr>
          <p:spPr bwMode="gray">
            <a:xfrm>
              <a:off x="3636" y="3029"/>
              <a:ext cx="313" cy="413"/>
            </a:xfrm>
            <a:custGeom>
              <a:avLst/>
              <a:gdLst>
                <a:gd name="T0" fmla="*/ 156 w 626"/>
                <a:gd name="T1" fmla="*/ 31 h 825"/>
                <a:gd name="T2" fmla="*/ 154 w 626"/>
                <a:gd name="T3" fmla="*/ 37 h 825"/>
                <a:gd name="T4" fmla="*/ 152 w 626"/>
                <a:gd name="T5" fmla="*/ 44 h 825"/>
                <a:gd name="T6" fmla="*/ 146 w 626"/>
                <a:gd name="T7" fmla="*/ 52 h 825"/>
                <a:gd name="T8" fmla="*/ 138 w 626"/>
                <a:gd name="T9" fmla="*/ 57 h 825"/>
                <a:gd name="T10" fmla="*/ 131 w 626"/>
                <a:gd name="T11" fmla="*/ 61 h 825"/>
                <a:gd name="T12" fmla="*/ 130 w 626"/>
                <a:gd name="T13" fmla="*/ 62 h 825"/>
                <a:gd name="T14" fmla="*/ 132 w 626"/>
                <a:gd name="T15" fmla="*/ 68 h 825"/>
                <a:gd name="T16" fmla="*/ 135 w 626"/>
                <a:gd name="T17" fmla="*/ 75 h 825"/>
                <a:gd name="T18" fmla="*/ 136 w 626"/>
                <a:gd name="T19" fmla="*/ 81 h 825"/>
                <a:gd name="T20" fmla="*/ 136 w 626"/>
                <a:gd name="T21" fmla="*/ 89 h 825"/>
                <a:gd name="T22" fmla="*/ 137 w 626"/>
                <a:gd name="T23" fmla="*/ 95 h 825"/>
                <a:gd name="T24" fmla="*/ 138 w 626"/>
                <a:gd name="T25" fmla="*/ 104 h 825"/>
                <a:gd name="T26" fmla="*/ 131 w 626"/>
                <a:gd name="T27" fmla="*/ 112 h 825"/>
                <a:gd name="T28" fmla="*/ 122 w 626"/>
                <a:gd name="T29" fmla="*/ 120 h 825"/>
                <a:gd name="T30" fmla="*/ 117 w 626"/>
                <a:gd name="T31" fmla="*/ 131 h 825"/>
                <a:gd name="T32" fmla="*/ 115 w 626"/>
                <a:gd name="T33" fmla="*/ 142 h 825"/>
                <a:gd name="T34" fmla="*/ 110 w 626"/>
                <a:gd name="T35" fmla="*/ 151 h 825"/>
                <a:gd name="T36" fmla="*/ 103 w 626"/>
                <a:gd name="T37" fmla="*/ 156 h 825"/>
                <a:gd name="T38" fmla="*/ 94 w 626"/>
                <a:gd name="T39" fmla="*/ 158 h 825"/>
                <a:gd name="T40" fmla="*/ 86 w 626"/>
                <a:gd name="T41" fmla="*/ 161 h 825"/>
                <a:gd name="T42" fmla="*/ 85 w 626"/>
                <a:gd name="T43" fmla="*/ 165 h 825"/>
                <a:gd name="T44" fmla="*/ 89 w 626"/>
                <a:gd name="T45" fmla="*/ 171 h 825"/>
                <a:gd name="T46" fmla="*/ 90 w 626"/>
                <a:gd name="T47" fmla="*/ 176 h 825"/>
                <a:gd name="T48" fmla="*/ 86 w 626"/>
                <a:gd name="T49" fmla="*/ 182 h 825"/>
                <a:gd name="T50" fmla="*/ 80 w 626"/>
                <a:gd name="T51" fmla="*/ 189 h 825"/>
                <a:gd name="T52" fmla="*/ 76 w 626"/>
                <a:gd name="T53" fmla="*/ 193 h 825"/>
                <a:gd name="T54" fmla="*/ 69 w 626"/>
                <a:gd name="T55" fmla="*/ 199 h 825"/>
                <a:gd name="T56" fmla="*/ 61 w 626"/>
                <a:gd name="T57" fmla="*/ 204 h 825"/>
                <a:gd name="T58" fmla="*/ 58 w 626"/>
                <a:gd name="T59" fmla="*/ 207 h 825"/>
                <a:gd name="T60" fmla="*/ 48 w 626"/>
                <a:gd name="T61" fmla="*/ 185 h 825"/>
                <a:gd name="T62" fmla="*/ 22 w 626"/>
                <a:gd name="T63" fmla="*/ 161 h 825"/>
                <a:gd name="T64" fmla="*/ 0 w 626"/>
                <a:gd name="T65" fmla="*/ 146 h 825"/>
                <a:gd name="T66" fmla="*/ 15 w 626"/>
                <a:gd name="T67" fmla="*/ 107 h 825"/>
                <a:gd name="T68" fmla="*/ 20 w 626"/>
                <a:gd name="T69" fmla="*/ 88 h 825"/>
                <a:gd name="T70" fmla="*/ 18 w 626"/>
                <a:gd name="T71" fmla="*/ 67 h 825"/>
                <a:gd name="T72" fmla="*/ 34 w 626"/>
                <a:gd name="T73" fmla="*/ 43 h 825"/>
                <a:gd name="T74" fmla="*/ 42 w 626"/>
                <a:gd name="T75" fmla="*/ 24 h 825"/>
                <a:gd name="T76" fmla="*/ 63 w 626"/>
                <a:gd name="T77" fmla="*/ 17 h 825"/>
                <a:gd name="T78" fmla="*/ 75 w 626"/>
                <a:gd name="T79" fmla="*/ 1 h 825"/>
                <a:gd name="T80" fmla="*/ 92 w 626"/>
                <a:gd name="T81" fmla="*/ 14 h 825"/>
                <a:gd name="T82" fmla="*/ 114 w 626"/>
                <a:gd name="T83" fmla="*/ 32 h 825"/>
                <a:gd name="T84" fmla="*/ 135 w 626"/>
                <a:gd name="T85" fmla="*/ 32 h 825"/>
                <a:gd name="T86" fmla="*/ 151 w 626"/>
                <a:gd name="T87" fmla="*/ 25 h 825"/>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626"/>
                <a:gd name="T133" fmla="*/ 0 h 825"/>
                <a:gd name="T134" fmla="*/ 626 w 626"/>
                <a:gd name="T135" fmla="*/ 825 h 825"/>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626" h="825">
                  <a:moveTo>
                    <a:pt x="626" y="122"/>
                  </a:moveTo>
                  <a:lnTo>
                    <a:pt x="624" y="124"/>
                  </a:lnTo>
                  <a:lnTo>
                    <a:pt x="621" y="134"/>
                  </a:lnTo>
                  <a:lnTo>
                    <a:pt x="615" y="146"/>
                  </a:lnTo>
                  <a:lnTo>
                    <a:pt x="613" y="159"/>
                  </a:lnTo>
                  <a:lnTo>
                    <a:pt x="607" y="173"/>
                  </a:lnTo>
                  <a:lnTo>
                    <a:pt x="597" y="189"/>
                  </a:lnTo>
                  <a:lnTo>
                    <a:pt x="581" y="205"/>
                  </a:lnTo>
                  <a:lnTo>
                    <a:pt x="565" y="216"/>
                  </a:lnTo>
                  <a:lnTo>
                    <a:pt x="550" y="228"/>
                  </a:lnTo>
                  <a:lnTo>
                    <a:pt x="534" y="236"/>
                  </a:lnTo>
                  <a:lnTo>
                    <a:pt x="524" y="242"/>
                  </a:lnTo>
                  <a:lnTo>
                    <a:pt x="520" y="244"/>
                  </a:lnTo>
                  <a:lnTo>
                    <a:pt x="520" y="248"/>
                  </a:lnTo>
                  <a:lnTo>
                    <a:pt x="524" y="258"/>
                  </a:lnTo>
                  <a:lnTo>
                    <a:pt x="528" y="272"/>
                  </a:lnTo>
                  <a:lnTo>
                    <a:pt x="532" y="285"/>
                  </a:lnTo>
                  <a:lnTo>
                    <a:pt x="538" y="299"/>
                  </a:lnTo>
                  <a:lnTo>
                    <a:pt x="542" y="309"/>
                  </a:lnTo>
                  <a:lnTo>
                    <a:pt x="544" y="321"/>
                  </a:lnTo>
                  <a:lnTo>
                    <a:pt x="546" y="339"/>
                  </a:lnTo>
                  <a:lnTo>
                    <a:pt x="544" y="354"/>
                  </a:lnTo>
                  <a:lnTo>
                    <a:pt x="544" y="368"/>
                  </a:lnTo>
                  <a:lnTo>
                    <a:pt x="548" y="380"/>
                  </a:lnTo>
                  <a:lnTo>
                    <a:pt x="550" y="396"/>
                  </a:lnTo>
                  <a:lnTo>
                    <a:pt x="550" y="413"/>
                  </a:lnTo>
                  <a:lnTo>
                    <a:pt x="540" y="429"/>
                  </a:lnTo>
                  <a:lnTo>
                    <a:pt x="522" y="447"/>
                  </a:lnTo>
                  <a:lnTo>
                    <a:pt x="504" y="462"/>
                  </a:lnTo>
                  <a:lnTo>
                    <a:pt x="489" y="480"/>
                  </a:lnTo>
                  <a:lnTo>
                    <a:pt x="479" y="494"/>
                  </a:lnTo>
                  <a:lnTo>
                    <a:pt x="469" y="522"/>
                  </a:lnTo>
                  <a:lnTo>
                    <a:pt x="463" y="549"/>
                  </a:lnTo>
                  <a:lnTo>
                    <a:pt x="459" y="565"/>
                  </a:lnTo>
                  <a:lnTo>
                    <a:pt x="451" y="585"/>
                  </a:lnTo>
                  <a:lnTo>
                    <a:pt x="441" y="602"/>
                  </a:lnTo>
                  <a:lnTo>
                    <a:pt x="428" y="618"/>
                  </a:lnTo>
                  <a:lnTo>
                    <a:pt x="414" y="624"/>
                  </a:lnTo>
                  <a:lnTo>
                    <a:pt x="396" y="630"/>
                  </a:lnTo>
                  <a:lnTo>
                    <a:pt x="376" y="632"/>
                  </a:lnTo>
                  <a:lnTo>
                    <a:pt x="359" y="636"/>
                  </a:lnTo>
                  <a:lnTo>
                    <a:pt x="345" y="642"/>
                  </a:lnTo>
                  <a:lnTo>
                    <a:pt x="337" y="648"/>
                  </a:lnTo>
                  <a:lnTo>
                    <a:pt x="339" y="659"/>
                  </a:lnTo>
                  <a:lnTo>
                    <a:pt x="347" y="669"/>
                  </a:lnTo>
                  <a:lnTo>
                    <a:pt x="357" y="681"/>
                  </a:lnTo>
                  <a:lnTo>
                    <a:pt x="363" y="691"/>
                  </a:lnTo>
                  <a:lnTo>
                    <a:pt x="361" y="701"/>
                  </a:lnTo>
                  <a:lnTo>
                    <a:pt x="353" y="710"/>
                  </a:lnTo>
                  <a:lnTo>
                    <a:pt x="343" y="726"/>
                  </a:lnTo>
                  <a:lnTo>
                    <a:pt x="331" y="742"/>
                  </a:lnTo>
                  <a:lnTo>
                    <a:pt x="319" y="756"/>
                  </a:lnTo>
                  <a:lnTo>
                    <a:pt x="312" y="766"/>
                  </a:lnTo>
                  <a:lnTo>
                    <a:pt x="302" y="771"/>
                  </a:lnTo>
                  <a:lnTo>
                    <a:pt x="290" y="781"/>
                  </a:lnTo>
                  <a:lnTo>
                    <a:pt x="274" y="793"/>
                  </a:lnTo>
                  <a:lnTo>
                    <a:pt x="258" y="805"/>
                  </a:lnTo>
                  <a:lnTo>
                    <a:pt x="245" y="815"/>
                  </a:lnTo>
                  <a:lnTo>
                    <a:pt x="235" y="821"/>
                  </a:lnTo>
                  <a:lnTo>
                    <a:pt x="231" y="825"/>
                  </a:lnTo>
                  <a:lnTo>
                    <a:pt x="215" y="795"/>
                  </a:lnTo>
                  <a:lnTo>
                    <a:pt x="191" y="740"/>
                  </a:lnTo>
                  <a:lnTo>
                    <a:pt x="158" y="675"/>
                  </a:lnTo>
                  <a:lnTo>
                    <a:pt x="89" y="642"/>
                  </a:lnTo>
                  <a:lnTo>
                    <a:pt x="2" y="640"/>
                  </a:lnTo>
                  <a:lnTo>
                    <a:pt x="0" y="581"/>
                  </a:lnTo>
                  <a:lnTo>
                    <a:pt x="28" y="476"/>
                  </a:lnTo>
                  <a:lnTo>
                    <a:pt x="60" y="425"/>
                  </a:lnTo>
                  <a:lnTo>
                    <a:pt x="58" y="376"/>
                  </a:lnTo>
                  <a:lnTo>
                    <a:pt x="77" y="352"/>
                  </a:lnTo>
                  <a:lnTo>
                    <a:pt x="63" y="317"/>
                  </a:lnTo>
                  <a:lnTo>
                    <a:pt x="69" y="266"/>
                  </a:lnTo>
                  <a:lnTo>
                    <a:pt x="126" y="244"/>
                  </a:lnTo>
                  <a:lnTo>
                    <a:pt x="136" y="171"/>
                  </a:lnTo>
                  <a:lnTo>
                    <a:pt x="140" y="116"/>
                  </a:lnTo>
                  <a:lnTo>
                    <a:pt x="170" y="94"/>
                  </a:lnTo>
                  <a:lnTo>
                    <a:pt x="203" y="94"/>
                  </a:lnTo>
                  <a:lnTo>
                    <a:pt x="254" y="65"/>
                  </a:lnTo>
                  <a:lnTo>
                    <a:pt x="298" y="45"/>
                  </a:lnTo>
                  <a:lnTo>
                    <a:pt x="298" y="4"/>
                  </a:lnTo>
                  <a:lnTo>
                    <a:pt x="363" y="0"/>
                  </a:lnTo>
                  <a:lnTo>
                    <a:pt x="367" y="53"/>
                  </a:lnTo>
                  <a:lnTo>
                    <a:pt x="406" y="110"/>
                  </a:lnTo>
                  <a:lnTo>
                    <a:pt x="455" y="126"/>
                  </a:lnTo>
                  <a:lnTo>
                    <a:pt x="495" y="83"/>
                  </a:lnTo>
                  <a:lnTo>
                    <a:pt x="538" y="126"/>
                  </a:lnTo>
                  <a:lnTo>
                    <a:pt x="571" y="122"/>
                  </a:lnTo>
                  <a:lnTo>
                    <a:pt x="603" y="98"/>
                  </a:lnTo>
                  <a:lnTo>
                    <a:pt x="626" y="122"/>
                  </a:lnTo>
                </a:path>
              </a:pathLst>
            </a:custGeom>
            <a:grpFill/>
            <a:ln w="6350">
              <a:solidFill>
                <a:schemeClr val="bg1"/>
              </a:solidFill>
              <a:prstDash val="solid"/>
              <a:round/>
            </a:ln>
          </p:spPr>
          <p:txBody>
            <a:bodyPr/>
            <a:lstStyle/>
            <a:p>
              <a:endParaRPr lang="zh-CN" altLang="en-US"/>
            </a:p>
          </p:txBody>
        </p:sp>
        <p:sp>
          <p:nvSpPr>
            <p:cNvPr id="38" name="Freeform 81"/>
            <p:cNvSpPr/>
            <p:nvPr/>
          </p:nvSpPr>
          <p:spPr bwMode="gray">
            <a:xfrm>
              <a:off x="3746" y="2774"/>
              <a:ext cx="283" cy="318"/>
            </a:xfrm>
            <a:custGeom>
              <a:avLst/>
              <a:gdLst>
                <a:gd name="T0" fmla="*/ 109 w 565"/>
                <a:gd name="T1" fmla="*/ 11 h 638"/>
                <a:gd name="T2" fmla="*/ 106 w 565"/>
                <a:gd name="T3" fmla="*/ 11 h 638"/>
                <a:gd name="T4" fmla="*/ 103 w 565"/>
                <a:gd name="T5" fmla="*/ 14 h 638"/>
                <a:gd name="T6" fmla="*/ 100 w 565"/>
                <a:gd name="T7" fmla="*/ 21 h 638"/>
                <a:gd name="T8" fmla="*/ 99 w 565"/>
                <a:gd name="T9" fmla="*/ 28 h 638"/>
                <a:gd name="T10" fmla="*/ 96 w 565"/>
                <a:gd name="T11" fmla="*/ 31 h 638"/>
                <a:gd name="T12" fmla="*/ 90 w 565"/>
                <a:gd name="T13" fmla="*/ 29 h 638"/>
                <a:gd name="T14" fmla="*/ 84 w 565"/>
                <a:gd name="T15" fmla="*/ 26 h 638"/>
                <a:gd name="T16" fmla="*/ 80 w 565"/>
                <a:gd name="T17" fmla="*/ 26 h 638"/>
                <a:gd name="T18" fmla="*/ 82 w 565"/>
                <a:gd name="T19" fmla="*/ 32 h 638"/>
                <a:gd name="T20" fmla="*/ 87 w 565"/>
                <a:gd name="T21" fmla="*/ 36 h 638"/>
                <a:gd name="T22" fmla="*/ 93 w 565"/>
                <a:gd name="T23" fmla="*/ 38 h 638"/>
                <a:gd name="T24" fmla="*/ 101 w 565"/>
                <a:gd name="T25" fmla="*/ 35 h 638"/>
                <a:gd name="T26" fmla="*/ 104 w 565"/>
                <a:gd name="T27" fmla="*/ 31 h 638"/>
                <a:gd name="T28" fmla="*/ 106 w 565"/>
                <a:gd name="T29" fmla="*/ 25 h 638"/>
                <a:gd name="T30" fmla="*/ 110 w 565"/>
                <a:gd name="T31" fmla="*/ 24 h 638"/>
                <a:gd name="T32" fmla="*/ 117 w 565"/>
                <a:gd name="T33" fmla="*/ 30 h 638"/>
                <a:gd name="T34" fmla="*/ 126 w 565"/>
                <a:gd name="T35" fmla="*/ 34 h 638"/>
                <a:gd name="T36" fmla="*/ 131 w 565"/>
                <a:gd name="T37" fmla="*/ 36 h 638"/>
                <a:gd name="T38" fmla="*/ 138 w 565"/>
                <a:gd name="T39" fmla="*/ 38 h 638"/>
                <a:gd name="T40" fmla="*/ 142 w 565"/>
                <a:gd name="T41" fmla="*/ 44 h 638"/>
                <a:gd name="T42" fmla="*/ 139 w 565"/>
                <a:gd name="T43" fmla="*/ 51 h 638"/>
                <a:gd name="T44" fmla="*/ 133 w 565"/>
                <a:gd name="T45" fmla="*/ 58 h 638"/>
                <a:gd name="T46" fmla="*/ 130 w 565"/>
                <a:gd name="T47" fmla="*/ 60 h 638"/>
                <a:gd name="T48" fmla="*/ 134 w 565"/>
                <a:gd name="T49" fmla="*/ 60 h 638"/>
                <a:gd name="T50" fmla="*/ 139 w 565"/>
                <a:gd name="T51" fmla="*/ 60 h 638"/>
                <a:gd name="T52" fmla="*/ 141 w 565"/>
                <a:gd name="T53" fmla="*/ 63 h 638"/>
                <a:gd name="T54" fmla="*/ 136 w 565"/>
                <a:gd name="T55" fmla="*/ 67 h 638"/>
                <a:gd name="T56" fmla="*/ 129 w 565"/>
                <a:gd name="T57" fmla="*/ 71 h 638"/>
                <a:gd name="T58" fmla="*/ 126 w 565"/>
                <a:gd name="T59" fmla="*/ 73 h 638"/>
                <a:gd name="T60" fmla="*/ 129 w 565"/>
                <a:gd name="T61" fmla="*/ 73 h 638"/>
                <a:gd name="T62" fmla="*/ 135 w 565"/>
                <a:gd name="T63" fmla="*/ 78 h 638"/>
                <a:gd name="T64" fmla="*/ 136 w 565"/>
                <a:gd name="T65" fmla="*/ 88 h 638"/>
                <a:gd name="T66" fmla="*/ 138 w 565"/>
                <a:gd name="T67" fmla="*/ 98 h 638"/>
                <a:gd name="T68" fmla="*/ 141 w 565"/>
                <a:gd name="T69" fmla="*/ 104 h 638"/>
                <a:gd name="T70" fmla="*/ 141 w 565"/>
                <a:gd name="T71" fmla="*/ 108 h 638"/>
                <a:gd name="T72" fmla="*/ 136 w 565"/>
                <a:gd name="T73" fmla="*/ 112 h 638"/>
                <a:gd name="T74" fmla="*/ 129 w 565"/>
                <a:gd name="T75" fmla="*/ 111 h 638"/>
                <a:gd name="T76" fmla="*/ 123 w 565"/>
                <a:gd name="T77" fmla="*/ 110 h 638"/>
                <a:gd name="T78" fmla="*/ 119 w 565"/>
                <a:gd name="T79" fmla="*/ 116 h 638"/>
                <a:gd name="T80" fmla="*/ 118 w 565"/>
                <a:gd name="T81" fmla="*/ 122 h 638"/>
                <a:gd name="T82" fmla="*/ 116 w 565"/>
                <a:gd name="T83" fmla="*/ 129 h 638"/>
                <a:gd name="T84" fmla="*/ 113 w 565"/>
                <a:gd name="T85" fmla="*/ 136 h 638"/>
                <a:gd name="T86" fmla="*/ 112 w 565"/>
                <a:gd name="T87" fmla="*/ 146 h 638"/>
                <a:gd name="T88" fmla="*/ 112 w 565"/>
                <a:gd name="T89" fmla="*/ 150 h 638"/>
                <a:gd name="T90" fmla="*/ 102 w 565"/>
                <a:gd name="T91" fmla="*/ 158 h 638"/>
                <a:gd name="T92" fmla="*/ 88 w 565"/>
                <a:gd name="T93" fmla="*/ 158 h 638"/>
                <a:gd name="T94" fmla="*/ 69 w 565"/>
                <a:gd name="T95" fmla="*/ 148 h 638"/>
                <a:gd name="T96" fmla="*/ 47 w 565"/>
                <a:gd name="T97" fmla="*/ 155 h 638"/>
                <a:gd name="T98" fmla="*/ 35 w 565"/>
                <a:gd name="T99" fmla="*/ 128 h 638"/>
                <a:gd name="T100" fmla="*/ 20 w 565"/>
                <a:gd name="T101" fmla="*/ 113 h 638"/>
                <a:gd name="T102" fmla="*/ 5 w 565"/>
                <a:gd name="T103" fmla="*/ 83 h 638"/>
                <a:gd name="T104" fmla="*/ 27 w 565"/>
                <a:gd name="T105" fmla="*/ 49 h 638"/>
                <a:gd name="T106" fmla="*/ 42 w 565"/>
                <a:gd name="T107" fmla="*/ 36 h 638"/>
                <a:gd name="T108" fmla="*/ 46 w 565"/>
                <a:gd name="T109" fmla="*/ 12 h 638"/>
                <a:gd name="T110" fmla="*/ 56 w 565"/>
                <a:gd name="T111" fmla="*/ 0 h 638"/>
                <a:gd name="T112" fmla="*/ 76 w 565"/>
                <a:gd name="T113" fmla="*/ 7 h 638"/>
                <a:gd name="T114" fmla="*/ 96 w 565"/>
                <a:gd name="T115" fmla="*/ 1 h 638"/>
                <a:gd name="T116" fmla="*/ 109 w 565"/>
                <a:gd name="T117" fmla="*/ 11 h 63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565"/>
                <a:gd name="T178" fmla="*/ 0 h 638"/>
                <a:gd name="T179" fmla="*/ 565 w 565"/>
                <a:gd name="T180" fmla="*/ 638 h 638"/>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565" h="638">
                  <a:moveTo>
                    <a:pt x="433" y="44"/>
                  </a:moveTo>
                  <a:lnTo>
                    <a:pt x="433" y="44"/>
                  </a:lnTo>
                  <a:lnTo>
                    <a:pt x="429" y="46"/>
                  </a:lnTo>
                  <a:lnTo>
                    <a:pt x="423" y="47"/>
                  </a:lnTo>
                  <a:lnTo>
                    <a:pt x="417" y="53"/>
                  </a:lnTo>
                  <a:lnTo>
                    <a:pt x="411" y="59"/>
                  </a:lnTo>
                  <a:lnTo>
                    <a:pt x="403" y="69"/>
                  </a:lnTo>
                  <a:lnTo>
                    <a:pt x="398" y="85"/>
                  </a:lnTo>
                  <a:lnTo>
                    <a:pt x="396" y="99"/>
                  </a:lnTo>
                  <a:lnTo>
                    <a:pt x="394" y="112"/>
                  </a:lnTo>
                  <a:lnTo>
                    <a:pt x="392" y="122"/>
                  </a:lnTo>
                  <a:lnTo>
                    <a:pt x="384" y="126"/>
                  </a:lnTo>
                  <a:lnTo>
                    <a:pt x="372" y="122"/>
                  </a:lnTo>
                  <a:lnTo>
                    <a:pt x="360" y="118"/>
                  </a:lnTo>
                  <a:lnTo>
                    <a:pt x="346" y="110"/>
                  </a:lnTo>
                  <a:lnTo>
                    <a:pt x="335" y="107"/>
                  </a:lnTo>
                  <a:lnTo>
                    <a:pt x="325" y="105"/>
                  </a:lnTo>
                  <a:lnTo>
                    <a:pt x="319" y="107"/>
                  </a:lnTo>
                  <a:lnTo>
                    <a:pt x="317" y="118"/>
                  </a:lnTo>
                  <a:lnTo>
                    <a:pt x="325" y="128"/>
                  </a:lnTo>
                  <a:lnTo>
                    <a:pt x="337" y="138"/>
                  </a:lnTo>
                  <a:lnTo>
                    <a:pt x="346" y="146"/>
                  </a:lnTo>
                  <a:lnTo>
                    <a:pt x="358" y="152"/>
                  </a:lnTo>
                  <a:lnTo>
                    <a:pt x="372" y="154"/>
                  </a:lnTo>
                  <a:lnTo>
                    <a:pt x="388" y="150"/>
                  </a:lnTo>
                  <a:lnTo>
                    <a:pt x="402" y="142"/>
                  </a:lnTo>
                  <a:lnTo>
                    <a:pt x="407" y="134"/>
                  </a:lnTo>
                  <a:lnTo>
                    <a:pt x="413" y="124"/>
                  </a:lnTo>
                  <a:lnTo>
                    <a:pt x="417" y="112"/>
                  </a:lnTo>
                  <a:lnTo>
                    <a:pt x="423" y="103"/>
                  </a:lnTo>
                  <a:lnTo>
                    <a:pt x="429" y="97"/>
                  </a:lnTo>
                  <a:lnTo>
                    <a:pt x="437" y="97"/>
                  </a:lnTo>
                  <a:lnTo>
                    <a:pt x="447" y="105"/>
                  </a:lnTo>
                  <a:lnTo>
                    <a:pt x="468" y="122"/>
                  </a:lnTo>
                  <a:lnTo>
                    <a:pt x="486" y="132"/>
                  </a:lnTo>
                  <a:lnTo>
                    <a:pt x="502" y="138"/>
                  </a:lnTo>
                  <a:lnTo>
                    <a:pt x="514" y="142"/>
                  </a:lnTo>
                  <a:lnTo>
                    <a:pt x="524" y="144"/>
                  </a:lnTo>
                  <a:lnTo>
                    <a:pt x="537" y="148"/>
                  </a:lnTo>
                  <a:lnTo>
                    <a:pt x="549" y="154"/>
                  </a:lnTo>
                  <a:lnTo>
                    <a:pt x="559" y="164"/>
                  </a:lnTo>
                  <a:lnTo>
                    <a:pt x="565" y="177"/>
                  </a:lnTo>
                  <a:lnTo>
                    <a:pt x="561" y="191"/>
                  </a:lnTo>
                  <a:lnTo>
                    <a:pt x="553" y="207"/>
                  </a:lnTo>
                  <a:lnTo>
                    <a:pt x="543" y="221"/>
                  </a:lnTo>
                  <a:lnTo>
                    <a:pt x="531" y="232"/>
                  </a:lnTo>
                  <a:lnTo>
                    <a:pt x="524" y="240"/>
                  </a:lnTo>
                  <a:lnTo>
                    <a:pt x="520" y="242"/>
                  </a:lnTo>
                  <a:lnTo>
                    <a:pt x="524" y="242"/>
                  </a:lnTo>
                  <a:lnTo>
                    <a:pt x="533" y="242"/>
                  </a:lnTo>
                  <a:lnTo>
                    <a:pt x="543" y="240"/>
                  </a:lnTo>
                  <a:lnTo>
                    <a:pt x="555" y="242"/>
                  </a:lnTo>
                  <a:lnTo>
                    <a:pt x="561" y="246"/>
                  </a:lnTo>
                  <a:lnTo>
                    <a:pt x="561" y="252"/>
                  </a:lnTo>
                  <a:lnTo>
                    <a:pt x="555" y="262"/>
                  </a:lnTo>
                  <a:lnTo>
                    <a:pt x="543" y="270"/>
                  </a:lnTo>
                  <a:lnTo>
                    <a:pt x="529" y="278"/>
                  </a:lnTo>
                  <a:lnTo>
                    <a:pt x="516" y="286"/>
                  </a:lnTo>
                  <a:lnTo>
                    <a:pt x="506" y="290"/>
                  </a:lnTo>
                  <a:lnTo>
                    <a:pt x="502" y="292"/>
                  </a:lnTo>
                  <a:lnTo>
                    <a:pt x="506" y="292"/>
                  </a:lnTo>
                  <a:lnTo>
                    <a:pt x="516" y="295"/>
                  </a:lnTo>
                  <a:lnTo>
                    <a:pt x="528" y="303"/>
                  </a:lnTo>
                  <a:lnTo>
                    <a:pt x="537" y="315"/>
                  </a:lnTo>
                  <a:lnTo>
                    <a:pt x="541" y="329"/>
                  </a:lnTo>
                  <a:lnTo>
                    <a:pt x="543" y="353"/>
                  </a:lnTo>
                  <a:lnTo>
                    <a:pt x="543" y="374"/>
                  </a:lnTo>
                  <a:lnTo>
                    <a:pt x="549" y="396"/>
                  </a:lnTo>
                  <a:lnTo>
                    <a:pt x="555" y="408"/>
                  </a:lnTo>
                  <a:lnTo>
                    <a:pt x="561" y="418"/>
                  </a:lnTo>
                  <a:lnTo>
                    <a:pt x="565" y="425"/>
                  </a:lnTo>
                  <a:lnTo>
                    <a:pt x="563" y="435"/>
                  </a:lnTo>
                  <a:lnTo>
                    <a:pt x="553" y="445"/>
                  </a:lnTo>
                  <a:lnTo>
                    <a:pt x="541" y="451"/>
                  </a:lnTo>
                  <a:lnTo>
                    <a:pt x="528" y="449"/>
                  </a:lnTo>
                  <a:lnTo>
                    <a:pt x="514" y="445"/>
                  </a:lnTo>
                  <a:lnTo>
                    <a:pt x="502" y="441"/>
                  </a:lnTo>
                  <a:lnTo>
                    <a:pt x="490" y="443"/>
                  </a:lnTo>
                  <a:lnTo>
                    <a:pt x="482" y="453"/>
                  </a:lnTo>
                  <a:lnTo>
                    <a:pt x="476" y="465"/>
                  </a:lnTo>
                  <a:lnTo>
                    <a:pt x="474" y="479"/>
                  </a:lnTo>
                  <a:lnTo>
                    <a:pt x="472" y="492"/>
                  </a:lnTo>
                  <a:lnTo>
                    <a:pt x="470" y="506"/>
                  </a:lnTo>
                  <a:lnTo>
                    <a:pt x="463" y="518"/>
                  </a:lnTo>
                  <a:lnTo>
                    <a:pt x="457" y="532"/>
                  </a:lnTo>
                  <a:lnTo>
                    <a:pt x="449" y="545"/>
                  </a:lnTo>
                  <a:lnTo>
                    <a:pt x="447" y="567"/>
                  </a:lnTo>
                  <a:lnTo>
                    <a:pt x="445" y="587"/>
                  </a:lnTo>
                  <a:lnTo>
                    <a:pt x="445" y="599"/>
                  </a:lnTo>
                  <a:lnTo>
                    <a:pt x="445" y="604"/>
                  </a:lnTo>
                  <a:lnTo>
                    <a:pt x="445" y="606"/>
                  </a:lnTo>
                  <a:lnTo>
                    <a:pt x="405" y="634"/>
                  </a:lnTo>
                  <a:lnTo>
                    <a:pt x="382" y="610"/>
                  </a:lnTo>
                  <a:lnTo>
                    <a:pt x="350" y="634"/>
                  </a:lnTo>
                  <a:lnTo>
                    <a:pt x="317" y="638"/>
                  </a:lnTo>
                  <a:lnTo>
                    <a:pt x="274" y="595"/>
                  </a:lnTo>
                  <a:lnTo>
                    <a:pt x="234" y="638"/>
                  </a:lnTo>
                  <a:lnTo>
                    <a:pt x="185" y="622"/>
                  </a:lnTo>
                  <a:lnTo>
                    <a:pt x="146" y="565"/>
                  </a:lnTo>
                  <a:lnTo>
                    <a:pt x="140" y="514"/>
                  </a:lnTo>
                  <a:lnTo>
                    <a:pt x="91" y="514"/>
                  </a:lnTo>
                  <a:lnTo>
                    <a:pt x="77" y="453"/>
                  </a:lnTo>
                  <a:lnTo>
                    <a:pt x="0" y="394"/>
                  </a:lnTo>
                  <a:lnTo>
                    <a:pt x="18" y="333"/>
                  </a:lnTo>
                  <a:lnTo>
                    <a:pt x="77" y="272"/>
                  </a:lnTo>
                  <a:lnTo>
                    <a:pt x="106" y="199"/>
                  </a:lnTo>
                  <a:lnTo>
                    <a:pt x="134" y="156"/>
                  </a:lnTo>
                  <a:lnTo>
                    <a:pt x="165" y="144"/>
                  </a:lnTo>
                  <a:lnTo>
                    <a:pt x="144" y="101"/>
                  </a:lnTo>
                  <a:lnTo>
                    <a:pt x="183" y="51"/>
                  </a:lnTo>
                  <a:lnTo>
                    <a:pt x="179" y="8"/>
                  </a:lnTo>
                  <a:lnTo>
                    <a:pt x="224" y="0"/>
                  </a:lnTo>
                  <a:lnTo>
                    <a:pt x="252" y="34"/>
                  </a:lnTo>
                  <a:lnTo>
                    <a:pt x="301" y="30"/>
                  </a:lnTo>
                  <a:lnTo>
                    <a:pt x="344" y="20"/>
                  </a:lnTo>
                  <a:lnTo>
                    <a:pt x="384" y="4"/>
                  </a:lnTo>
                  <a:lnTo>
                    <a:pt x="415" y="22"/>
                  </a:lnTo>
                  <a:lnTo>
                    <a:pt x="433" y="44"/>
                  </a:lnTo>
                  <a:close/>
                </a:path>
              </a:pathLst>
            </a:custGeom>
            <a:grpFill/>
            <a:ln w="0">
              <a:solidFill>
                <a:schemeClr val="bg1"/>
              </a:solidFill>
              <a:prstDash val="solid"/>
              <a:round/>
            </a:ln>
          </p:spPr>
          <p:txBody>
            <a:bodyPr/>
            <a:lstStyle/>
            <a:p>
              <a:endParaRPr lang="zh-CN" altLang="en-US"/>
            </a:p>
          </p:txBody>
        </p:sp>
        <p:sp>
          <p:nvSpPr>
            <p:cNvPr id="39" name="Freeform 82"/>
            <p:cNvSpPr/>
            <p:nvPr/>
          </p:nvSpPr>
          <p:spPr bwMode="gray">
            <a:xfrm>
              <a:off x="3746" y="2774"/>
              <a:ext cx="283" cy="318"/>
            </a:xfrm>
            <a:custGeom>
              <a:avLst/>
              <a:gdLst>
                <a:gd name="T0" fmla="*/ 109 w 565"/>
                <a:gd name="T1" fmla="*/ 11 h 638"/>
                <a:gd name="T2" fmla="*/ 106 w 565"/>
                <a:gd name="T3" fmla="*/ 11 h 638"/>
                <a:gd name="T4" fmla="*/ 103 w 565"/>
                <a:gd name="T5" fmla="*/ 14 h 638"/>
                <a:gd name="T6" fmla="*/ 100 w 565"/>
                <a:gd name="T7" fmla="*/ 21 h 638"/>
                <a:gd name="T8" fmla="*/ 99 w 565"/>
                <a:gd name="T9" fmla="*/ 28 h 638"/>
                <a:gd name="T10" fmla="*/ 96 w 565"/>
                <a:gd name="T11" fmla="*/ 31 h 638"/>
                <a:gd name="T12" fmla="*/ 90 w 565"/>
                <a:gd name="T13" fmla="*/ 29 h 638"/>
                <a:gd name="T14" fmla="*/ 84 w 565"/>
                <a:gd name="T15" fmla="*/ 26 h 638"/>
                <a:gd name="T16" fmla="*/ 80 w 565"/>
                <a:gd name="T17" fmla="*/ 26 h 638"/>
                <a:gd name="T18" fmla="*/ 82 w 565"/>
                <a:gd name="T19" fmla="*/ 32 h 638"/>
                <a:gd name="T20" fmla="*/ 87 w 565"/>
                <a:gd name="T21" fmla="*/ 36 h 638"/>
                <a:gd name="T22" fmla="*/ 93 w 565"/>
                <a:gd name="T23" fmla="*/ 38 h 638"/>
                <a:gd name="T24" fmla="*/ 101 w 565"/>
                <a:gd name="T25" fmla="*/ 35 h 638"/>
                <a:gd name="T26" fmla="*/ 104 w 565"/>
                <a:gd name="T27" fmla="*/ 31 h 638"/>
                <a:gd name="T28" fmla="*/ 106 w 565"/>
                <a:gd name="T29" fmla="*/ 25 h 638"/>
                <a:gd name="T30" fmla="*/ 110 w 565"/>
                <a:gd name="T31" fmla="*/ 24 h 638"/>
                <a:gd name="T32" fmla="*/ 117 w 565"/>
                <a:gd name="T33" fmla="*/ 30 h 638"/>
                <a:gd name="T34" fmla="*/ 126 w 565"/>
                <a:gd name="T35" fmla="*/ 34 h 638"/>
                <a:gd name="T36" fmla="*/ 131 w 565"/>
                <a:gd name="T37" fmla="*/ 36 h 638"/>
                <a:gd name="T38" fmla="*/ 138 w 565"/>
                <a:gd name="T39" fmla="*/ 38 h 638"/>
                <a:gd name="T40" fmla="*/ 142 w 565"/>
                <a:gd name="T41" fmla="*/ 44 h 638"/>
                <a:gd name="T42" fmla="*/ 139 w 565"/>
                <a:gd name="T43" fmla="*/ 51 h 638"/>
                <a:gd name="T44" fmla="*/ 133 w 565"/>
                <a:gd name="T45" fmla="*/ 58 h 638"/>
                <a:gd name="T46" fmla="*/ 130 w 565"/>
                <a:gd name="T47" fmla="*/ 60 h 638"/>
                <a:gd name="T48" fmla="*/ 134 w 565"/>
                <a:gd name="T49" fmla="*/ 60 h 638"/>
                <a:gd name="T50" fmla="*/ 139 w 565"/>
                <a:gd name="T51" fmla="*/ 60 h 638"/>
                <a:gd name="T52" fmla="*/ 141 w 565"/>
                <a:gd name="T53" fmla="*/ 63 h 638"/>
                <a:gd name="T54" fmla="*/ 136 w 565"/>
                <a:gd name="T55" fmla="*/ 67 h 638"/>
                <a:gd name="T56" fmla="*/ 129 w 565"/>
                <a:gd name="T57" fmla="*/ 71 h 638"/>
                <a:gd name="T58" fmla="*/ 126 w 565"/>
                <a:gd name="T59" fmla="*/ 73 h 638"/>
                <a:gd name="T60" fmla="*/ 129 w 565"/>
                <a:gd name="T61" fmla="*/ 73 h 638"/>
                <a:gd name="T62" fmla="*/ 135 w 565"/>
                <a:gd name="T63" fmla="*/ 78 h 638"/>
                <a:gd name="T64" fmla="*/ 136 w 565"/>
                <a:gd name="T65" fmla="*/ 88 h 638"/>
                <a:gd name="T66" fmla="*/ 138 w 565"/>
                <a:gd name="T67" fmla="*/ 98 h 638"/>
                <a:gd name="T68" fmla="*/ 141 w 565"/>
                <a:gd name="T69" fmla="*/ 104 h 638"/>
                <a:gd name="T70" fmla="*/ 141 w 565"/>
                <a:gd name="T71" fmla="*/ 108 h 638"/>
                <a:gd name="T72" fmla="*/ 136 w 565"/>
                <a:gd name="T73" fmla="*/ 112 h 638"/>
                <a:gd name="T74" fmla="*/ 129 w 565"/>
                <a:gd name="T75" fmla="*/ 111 h 638"/>
                <a:gd name="T76" fmla="*/ 123 w 565"/>
                <a:gd name="T77" fmla="*/ 110 h 638"/>
                <a:gd name="T78" fmla="*/ 119 w 565"/>
                <a:gd name="T79" fmla="*/ 116 h 638"/>
                <a:gd name="T80" fmla="*/ 118 w 565"/>
                <a:gd name="T81" fmla="*/ 122 h 638"/>
                <a:gd name="T82" fmla="*/ 116 w 565"/>
                <a:gd name="T83" fmla="*/ 129 h 638"/>
                <a:gd name="T84" fmla="*/ 113 w 565"/>
                <a:gd name="T85" fmla="*/ 136 h 638"/>
                <a:gd name="T86" fmla="*/ 112 w 565"/>
                <a:gd name="T87" fmla="*/ 146 h 638"/>
                <a:gd name="T88" fmla="*/ 112 w 565"/>
                <a:gd name="T89" fmla="*/ 150 h 638"/>
                <a:gd name="T90" fmla="*/ 102 w 565"/>
                <a:gd name="T91" fmla="*/ 158 h 638"/>
                <a:gd name="T92" fmla="*/ 88 w 565"/>
                <a:gd name="T93" fmla="*/ 158 h 638"/>
                <a:gd name="T94" fmla="*/ 69 w 565"/>
                <a:gd name="T95" fmla="*/ 148 h 638"/>
                <a:gd name="T96" fmla="*/ 47 w 565"/>
                <a:gd name="T97" fmla="*/ 155 h 638"/>
                <a:gd name="T98" fmla="*/ 35 w 565"/>
                <a:gd name="T99" fmla="*/ 128 h 638"/>
                <a:gd name="T100" fmla="*/ 20 w 565"/>
                <a:gd name="T101" fmla="*/ 113 h 638"/>
                <a:gd name="T102" fmla="*/ 5 w 565"/>
                <a:gd name="T103" fmla="*/ 83 h 638"/>
                <a:gd name="T104" fmla="*/ 27 w 565"/>
                <a:gd name="T105" fmla="*/ 49 h 638"/>
                <a:gd name="T106" fmla="*/ 42 w 565"/>
                <a:gd name="T107" fmla="*/ 36 h 638"/>
                <a:gd name="T108" fmla="*/ 46 w 565"/>
                <a:gd name="T109" fmla="*/ 12 h 638"/>
                <a:gd name="T110" fmla="*/ 56 w 565"/>
                <a:gd name="T111" fmla="*/ 0 h 638"/>
                <a:gd name="T112" fmla="*/ 76 w 565"/>
                <a:gd name="T113" fmla="*/ 7 h 638"/>
                <a:gd name="T114" fmla="*/ 96 w 565"/>
                <a:gd name="T115" fmla="*/ 1 h 638"/>
                <a:gd name="T116" fmla="*/ 109 w 565"/>
                <a:gd name="T117" fmla="*/ 11 h 63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565"/>
                <a:gd name="T178" fmla="*/ 0 h 638"/>
                <a:gd name="T179" fmla="*/ 565 w 565"/>
                <a:gd name="T180" fmla="*/ 638 h 638"/>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565" h="638">
                  <a:moveTo>
                    <a:pt x="433" y="44"/>
                  </a:moveTo>
                  <a:lnTo>
                    <a:pt x="433" y="44"/>
                  </a:lnTo>
                  <a:lnTo>
                    <a:pt x="429" y="46"/>
                  </a:lnTo>
                  <a:lnTo>
                    <a:pt x="423" y="47"/>
                  </a:lnTo>
                  <a:lnTo>
                    <a:pt x="417" y="53"/>
                  </a:lnTo>
                  <a:lnTo>
                    <a:pt x="411" y="59"/>
                  </a:lnTo>
                  <a:lnTo>
                    <a:pt x="403" y="69"/>
                  </a:lnTo>
                  <a:lnTo>
                    <a:pt x="398" y="85"/>
                  </a:lnTo>
                  <a:lnTo>
                    <a:pt x="396" y="99"/>
                  </a:lnTo>
                  <a:lnTo>
                    <a:pt x="394" y="112"/>
                  </a:lnTo>
                  <a:lnTo>
                    <a:pt x="392" y="122"/>
                  </a:lnTo>
                  <a:lnTo>
                    <a:pt x="384" y="126"/>
                  </a:lnTo>
                  <a:lnTo>
                    <a:pt x="372" y="122"/>
                  </a:lnTo>
                  <a:lnTo>
                    <a:pt x="360" y="118"/>
                  </a:lnTo>
                  <a:lnTo>
                    <a:pt x="346" y="110"/>
                  </a:lnTo>
                  <a:lnTo>
                    <a:pt x="335" y="107"/>
                  </a:lnTo>
                  <a:lnTo>
                    <a:pt x="325" y="105"/>
                  </a:lnTo>
                  <a:lnTo>
                    <a:pt x="319" y="107"/>
                  </a:lnTo>
                  <a:lnTo>
                    <a:pt x="317" y="118"/>
                  </a:lnTo>
                  <a:lnTo>
                    <a:pt x="325" y="128"/>
                  </a:lnTo>
                  <a:lnTo>
                    <a:pt x="337" y="138"/>
                  </a:lnTo>
                  <a:lnTo>
                    <a:pt x="346" y="146"/>
                  </a:lnTo>
                  <a:lnTo>
                    <a:pt x="358" y="152"/>
                  </a:lnTo>
                  <a:lnTo>
                    <a:pt x="372" y="154"/>
                  </a:lnTo>
                  <a:lnTo>
                    <a:pt x="388" y="150"/>
                  </a:lnTo>
                  <a:lnTo>
                    <a:pt x="402" y="142"/>
                  </a:lnTo>
                  <a:lnTo>
                    <a:pt x="407" y="134"/>
                  </a:lnTo>
                  <a:lnTo>
                    <a:pt x="413" y="124"/>
                  </a:lnTo>
                  <a:lnTo>
                    <a:pt x="417" y="112"/>
                  </a:lnTo>
                  <a:lnTo>
                    <a:pt x="423" y="103"/>
                  </a:lnTo>
                  <a:lnTo>
                    <a:pt x="429" y="97"/>
                  </a:lnTo>
                  <a:lnTo>
                    <a:pt x="437" y="97"/>
                  </a:lnTo>
                  <a:lnTo>
                    <a:pt x="447" y="105"/>
                  </a:lnTo>
                  <a:lnTo>
                    <a:pt x="468" y="122"/>
                  </a:lnTo>
                  <a:lnTo>
                    <a:pt x="486" y="132"/>
                  </a:lnTo>
                  <a:lnTo>
                    <a:pt x="502" y="138"/>
                  </a:lnTo>
                  <a:lnTo>
                    <a:pt x="514" y="142"/>
                  </a:lnTo>
                  <a:lnTo>
                    <a:pt x="524" y="144"/>
                  </a:lnTo>
                  <a:lnTo>
                    <a:pt x="537" y="148"/>
                  </a:lnTo>
                  <a:lnTo>
                    <a:pt x="549" y="154"/>
                  </a:lnTo>
                  <a:lnTo>
                    <a:pt x="559" y="164"/>
                  </a:lnTo>
                  <a:lnTo>
                    <a:pt x="565" y="177"/>
                  </a:lnTo>
                  <a:lnTo>
                    <a:pt x="561" y="191"/>
                  </a:lnTo>
                  <a:lnTo>
                    <a:pt x="553" y="207"/>
                  </a:lnTo>
                  <a:lnTo>
                    <a:pt x="543" y="221"/>
                  </a:lnTo>
                  <a:lnTo>
                    <a:pt x="531" y="232"/>
                  </a:lnTo>
                  <a:lnTo>
                    <a:pt x="524" y="240"/>
                  </a:lnTo>
                  <a:lnTo>
                    <a:pt x="520" y="242"/>
                  </a:lnTo>
                  <a:lnTo>
                    <a:pt x="524" y="242"/>
                  </a:lnTo>
                  <a:lnTo>
                    <a:pt x="533" y="242"/>
                  </a:lnTo>
                  <a:lnTo>
                    <a:pt x="543" y="240"/>
                  </a:lnTo>
                  <a:lnTo>
                    <a:pt x="555" y="242"/>
                  </a:lnTo>
                  <a:lnTo>
                    <a:pt x="561" y="246"/>
                  </a:lnTo>
                  <a:lnTo>
                    <a:pt x="561" y="252"/>
                  </a:lnTo>
                  <a:lnTo>
                    <a:pt x="555" y="262"/>
                  </a:lnTo>
                  <a:lnTo>
                    <a:pt x="543" y="270"/>
                  </a:lnTo>
                  <a:lnTo>
                    <a:pt x="529" y="278"/>
                  </a:lnTo>
                  <a:lnTo>
                    <a:pt x="516" y="286"/>
                  </a:lnTo>
                  <a:lnTo>
                    <a:pt x="506" y="290"/>
                  </a:lnTo>
                  <a:lnTo>
                    <a:pt x="502" y="292"/>
                  </a:lnTo>
                  <a:lnTo>
                    <a:pt x="506" y="292"/>
                  </a:lnTo>
                  <a:lnTo>
                    <a:pt x="516" y="295"/>
                  </a:lnTo>
                  <a:lnTo>
                    <a:pt x="528" y="303"/>
                  </a:lnTo>
                  <a:lnTo>
                    <a:pt x="537" y="315"/>
                  </a:lnTo>
                  <a:lnTo>
                    <a:pt x="541" y="329"/>
                  </a:lnTo>
                  <a:lnTo>
                    <a:pt x="543" y="353"/>
                  </a:lnTo>
                  <a:lnTo>
                    <a:pt x="543" y="374"/>
                  </a:lnTo>
                  <a:lnTo>
                    <a:pt x="549" y="396"/>
                  </a:lnTo>
                  <a:lnTo>
                    <a:pt x="555" y="408"/>
                  </a:lnTo>
                  <a:lnTo>
                    <a:pt x="561" y="418"/>
                  </a:lnTo>
                  <a:lnTo>
                    <a:pt x="565" y="425"/>
                  </a:lnTo>
                  <a:lnTo>
                    <a:pt x="563" y="435"/>
                  </a:lnTo>
                  <a:lnTo>
                    <a:pt x="553" y="445"/>
                  </a:lnTo>
                  <a:lnTo>
                    <a:pt x="541" y="451"/>
                  </a:lnTo>
                  <a:lnTo>
                    <a:pt x="528" y="449"/>
                  </a:lnTo>
                  <a:lnTo>
                    <a:pt x="514" y="445"/>
                  </a:lnTo>
                  <a:lnTo>
                    <a:pt x="502" y="441"/>
                  </a:lnTo>
                  <a:lnTo>
                    <a:pt x="490" y="443"/>
                  </a:lnTo>
                  <a:lnTo>
                    <a:pt x="482" y="453"/>
                  </a:lnTo>
                  <a:lnTo>
                    <a:pt x="476" y="465"/>
                  </a:lnTo>
                  <a:lnTo>
                    <a:pt x="474" y="479"/>
                  </a:lnTo>
                  <a:lnTo>
                    <a:pt x="472" y="492"/>
                  </a:lnTo>
                  <a:lnTo>
                    <a:pt x="470" y="506"/>
                  </a:lnTo>
                  <a:lnTo>
                    <a:pt x="463" y="518"/>
                  </a:lnTo>
                  <a:lnTo>
                    <a:pt x="457" y="532"/>
                  </a:lnTo>
                  <a:lnTo>
                    <a:pt x="449" y="545"/>
                  </a:lnTo>
                  <a:lnTo>
                    <a:pt x="447" y="567"/>
                  </a:lnTo>
                  <a:lnTo>
                    <a:pt x="445" y="587"/>
                  </a:lnTo>
                  <a:lnTo>
                    <a:pt x="445" y="599"/>
                  </a:lnTo>
                  <a:lnTo>
                    <a:pt x="445" y="604"/>
                  </a:lnTo>
                  <a:lnTo>
                    <a:pt x="445" y="606"/>
                  </a:lnTo>
                  <a:lnTo>
                    <a:pt x="405" y="634"/>
                  </a:lnTo>
                  <a:lnTo>
                    <a:pt x="382" y="610"/>
                  </a:lnTo>
                  <a:lnTo>
                    <a:pt x="350" y="634"/>
                  </a:lnTo>
                  <a:lnTo>
                    <a:pt x="317" y="638"/>
                  </a:lnTo>
                  <a:lnTo>
                    <a:pt x="274" y="595"/>
                  </a:lnTo>
                  <a:lnTo>
                    <a:pt x="234" y="638"/>
                  </a:lnTo>
                  <a:lnTo>
                    <a:pt x="185" y="622"/>
                  </a:lnTo>
                  <a:lnTo>
                    <a:pt x="146" y="565"/>
                  </a:lnTo>
                  <a:lnTo>
                    <a:pt x="140" y="514"/>
                  </a:lnTo>
                  <a:lnTo>
                    <a:pt x="91" y="514"/>
                  </a:lnTo>
                  <a:lnTo>
                    <a:pt x="77" y="453"/>
                  </a:lnTo>
                  <a:lnTo>
                    <a:pt x="0" y="394"/>
                  </a:lnTo>
                  <a:lnTo>
                    <a:pt x="18" y="333"/>
                  </a:lnTo>
                  <a:lnTo>
                    <a:pt x="77" y="272"/>
                  </a:lnTo>
                  <a:lnTo>
                    <a:pt x="106" y="199"/>
                  </a:lnTo>
                  <a:lnTo>
                    <a:pt x="134" y="156"/>
                  </a:lnTo>
                  <a:lnTo>
                    <a:pt x="165" y="144"/>
                  </a:lnTo>
                  <a:lnTo>
                    <a:pt x="144" y="101"/>
                  </a:lnTo>
                  <a:lnTo>
                    <a:pt x="183" y="51"/>
                  </a:lnTo>
                  <a:lnTo>
                    <a:pt x="179" y="8"/>
                  </a:lnTo>
                  <a:lnTo>
                    <a:pt x="224" y="0"/>
                  </a:lnTo>
                  <a:lnTo>
                    <a:pt x="252" y="34"/>
                  </a:lnTo>
                  <a:lnTo>
                    <a:pt x="301" y="30"/>
                  </a:lnTo>
                  <a:lnTo>
                    <a:pt x="344" y="20"/>
                  </a:lnTo>
                  <a:lnTo>
                    <a:pt x="384" y="4"/>
                  </a:lnTo>
                  <a:lnTo>
                    <a:pt x="415" y="22"/>
                  </a:lnTo>
                  <a:lnTo>
                    <a:pt x="433" y="44"/>
                  </a:lnTo>
                </a:path>
              </a:pathLst>
            </a:custGeom>
            <a:grpFill/>
            <a:ln w="6350">
              <a:solidFill>
                <a:schemeClr val="bg1"/>
              </a:solidFill>
              <a:prstDash val="solid"/>
              <a:round/>
            </a:ln>
          </p:spPr>
          <p:txBody>
            <a:bodyPr/>
            <a:lstStyle/>
            <a:p>
              <a:endParaRPr lang="zh-CN" altLang="en-US"/>
            </a:p>
          </p:txBody>
        </p:sp>
        <p:sp>
          <p:nvSpPr>
            <p:cNvPr id="40" name="Freeform 83"/>
            <p:cNvSpPr/>
            <p:nvPr/>
          </p:nvSpPr>
          <p:spPr bwMode="gray">
            <a:xfrm>
              <a:off x="3622" y="2455"/>
              <a:ext cx="383" cy="340"/>
            </a:xfrm>
            <a:custGeom>
              <a:avLst/>
              <a:gdLst>
                <a:gd name="T0" fmla="*/ 67 w 766"/>
                <a:gd name="T1" fmla="*/ 11 h 681"/>
                <a:gd name="T2" fmla="*/ 71 w 766"/>
                <a:gd name="T3" fmla="*/ 13 h 681"/>
                <a:gd name="T4" fmla="*/ 79 w 766"/>
                <a:gd name="T5" fmla="*/ 17 h 681"/>
                <a:gd name="T6" fmla="*/ 85 w 766"/>
                <a:gd name="T7" fmla="*/ 22 h 681"/>
                <a:gd name="T8" fmla="*/ 96 w 766"/>
                <a:gd name="T9" fmla="*/ 25 h 681"/>
                <a:gd name="T10" fmla="*/ 105 w 766"/>
                <a:gd name="T11" fmla="*/ 28 h 681"/>
                <a:gd name="T12" fmla="*/ 110 w 766"/>
                <a:gd name="T13" fmla="*/ 34 h 681"/>
                <a:gd name="T14" fmla="*/ 114 w 766"/>
                <a:gd name="T15" fmla="*/ 41 h 681"/>
                <a:gd name="T16" fmla="*/ 120 w 766"/>
                <a:gd name="T17" fmla="*/ 51 h 681"/>
                <a:gd name="T18" fmla="*/ 126 w 766"/>
                <a:gd name="T19" fmla="*/ 59 h 681"/>
                <a:gd name="T20" fmla="*/ 133 w 766"/>
                <a:gd name="T21" fmla="*/ 69 h 681"/>
                <a:gd name="T22" fmla="*/ 138 w 766"/>
                <a:gd name="T23" fmla="*/ 79 h 681"/>
                <a:gd name="T24" fmla="*/ 138 w 766"/>
                <a:gd name="T25" fmla="*/ 85 h 681"/>
                <a:gd name="T26" fmla="*/ 141 w 766"/>
                <a:gd name="T27" fmla="*/ 92 h 681"/>
                <a:gd name="T28" fmla="*/ 152 w 766"/>
                <a:gd name="T29" fmla="*/ 96 h 681"/>
                <a:gd name="T30" fmla="*/ 162 w 766"/>
                <a:gd name="T31" fmla="*/ 99 h 681"/>
                <a:gd name="T32" fmla="*/ 168 w 766"/>
                <a:gd name="T33" fmla="*/ 106 h 681"/>
                <a:gd name="T34" fmla="*/ 174 w 766"/>
                <a:gd name="T35" fmla="*/ 112 h 681"/>
                <a:gd name="T36" fmla="*/ 179 w 766"/>
                <a:gd name="T37" fmla="*/ 116 h 681"/>
                <a:gd name="T38" fmla="*/ 183 w 766"/>
                <a:gd name="T39" fmla="*/ 121 h 681"/>
                <a:gd name="T40" fmla="*/ 181 w 766"/>
                <a:gd name="T41" fmla="*/ 124 h 681"/>
                <a:gd name="T42" fmla="*/ 173 w 766"/>
                <a:gd name="T43" fmla="*/ 125 h 681"/>
                <a:gd name="T44" fmla="*/ 161 w 766"/>
                <a:gd name="T45" fmla="*/ 124 h 681"/>
                <a:gd name="T46" fmla="*/ 153 w 766"/>
                <a:gd name="T47" fmla="*/ 124 h 681"/>
                <a:gd name="T48" fmla="*/ 153 w 766"/>
                <a:gd name="T49" fmla="*/ 124 h 681"/>
                <a:gd name="T50" fmla="*/ 158 w 766"/>
                <a:gd name="T51" fmla="*/ 126 h 681"/>
                <a:gd name="T52" fmla="*/ 165 w 766"/>
                <a:gd name="T53" fmla="*/ 130 h 681"/>
                <a:gd name="T54" fmla="*/ 168 w 766"/>
                <a:gd name="T55" fmla="*/ 134 h 681"/>
                <a:gd name="T56" fmla="*/ 177 w 766"/>
                <a:gd name="T57" fmla="*/ 139 h 681"/>
                <a:gd name="T58" fmla="*/ 184 w 766"/>
                <a:gd name="T59" fmla="*/ 144 h 681"/>
                <a:gd name="T60" fmla="*/ 189 w 766"/>
                <a:gd name="T61" fmla="*/ 150 h 681"/>
                <a:gd name="T62" fmla="*/ 192 w 766"/>
                <a:gd name="T63" fmla="*/ 155 h 681"/>
                <a:gd name="T64" fmla="*/ 190 w 766"/>
                <a:gd name="T65" fmla="*/ 157 h 681"/>
                <a:gd name="T66" fmla="*/ 183 w 766"/>
                <a:gd name="T67" fmla="*/ 161 h 681"/>
                <a:gd name="T68" fmla="*/ 177 w 766"/>
                <a:gd name="T69" fmla="*/ 164 h 681"/>
                <a:gd name="T70" fmla="*/ 175 w 766"/>
                <a:gd name="T71" fmla="*/ 166 h 681"/>
                <a:gd name="T72" fmla="*/ 173 w 766"/>
                <a:gd name="T73" fmla="*/ 168 h 681"/>
                <a:gd name="T74" fmla="*/ 171 w 766"/>
                <a:gd name="T75" fmla="*/ 169 h 681"/>
                <a:gd name="T76" fmla="*/ 170 w 766"/>
                <a:gd name="T77" fmla="*/ 170 h 681"/>
                <a:gd name="T78" fmla="*/ 158 w 766"/>
                <a:gd name="T79" fmla="*/ 160 h 681"/>
                <a:gd name="T80" fmla="*/ 125 w 766"/>
                <a:gd name="T81" fmla="*/ 167 h 681"/>
                <a:gd name="T82" fmla="*/ 108 w 766"/>
                <a:gd name="T83" fmla="*/ 161 h 681"/>
                <a:gd name="T84" fmla="*/ 89 w 766"/>
                <a:gd name="T85" fmla="*/ 158 h 681"/>
                <a:gd name="T86" fmla="*/ 75 w 766"/>
                <a:gd name="T87" fmla="*/ 148 h 681"/>
                <a:gd name="T88" fmla="*/ 57 w 766"/>
                <a:gd name="T89" fmla="*/ 128 h 681"/>
                <a:gd name="T90" fmla="*/ 49 w 766"/>
                <a:gd name="T91" fmla="*/ 101 h 681"/>
                <a:gd name="T92" fmla="*/ 36 w 766"/>
                <a:gd name="T93" fmla="*/ 67 h 681"/>
                <a:gd name="T94" fmla="*/ 21 w 766"/>
                <a:gd name="T95" fmla="*/ 64 h 681"/>
                <a:gd name="T96" fmla="*/ 0 w 766"/>
                <a:gd name="T97" fmla="*/ 55 h 681"/>
                <a:gd name="T98" fmla="*/ 18 w 766"/>
                <a:gd name="T99" fmla="*/ 31 h 681"/>
                <a:gd name="T100" fmla="*/ 30 w 766"/>
                <a:gd name="T101" fmla="*/ 25 h 681"/>
                <a:gd name="T102" fmla="*/ 51 w 766"/>
                <a:gd name="T103" fmla="*/ 19 h 681"/>
                <a:gd name="T104" fmla="*/ 66 w 766"/>
                <a:gd name="T105" fmla="*/ 0 h 681"/>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766"/>
                <a:gd name="T160" fmla="*/ 0 h 681"/>
                <a:gd name="T161" fmla="*/ 766 w 766"/>
                <a:gd name="T162" fmla="*/ 681 h 681"/>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766" h="681">
                  <a:moveTo>
                    <a:pt x="262" y="0"/>
                  </a:moveTo>
                  <a:lnTo>
                    <a:pt x="266" y="45"/>
                  </a:lnTo>
                  <a:lnTo>
                    <a:pt x="270" y="49"/>
                  </a:lnTo>
                  <a:lnTo>
                    <a:pt x="281" y="55"/>
                  </a:lnTo>
                  <a:lnTo>
                    <a:pt x="297" y="63"/>
                  </a:lnTo>
                  <a:lnTo>
                    <a:pt x="313" y="70"/>
                  </a:lnTo>
                  <a:lnTo>
                    <a:pt x="325" y="78"/>
                  </a:lnTo>
                  <a:lnTo>
                    <a:pt x="340" y="88"/>
                  </a:lnTo>
                  <a:lnTo>
                    <a:pt x="362" y="94"/>
                  </a:lnTo>
                  <a:lnTo>
                    <a:pt x="384" y="100"/>
                  </a:lnTo>
                  <a:lnTo>
                    <a:pt x="402" y="104"/>
                  </a:lnTo>
                  <a:lnTo>
                    <a:pt x="419" y="114"/>
                  </a:lnTo>
                  <a:lnTo>
                    <a:pt x="433" y="124"/>
                  </a:lnTo>
                  <a:lnTo>
                    <a:pt x="441" y="137"/>
                  </a:lnTo>
                  <a:lnTo>
                    <a:pt x="447" y="149"/>
                  </a:lnTo>
                  <a:lnTo>
                    <a:pt x="457" y="165"/>
                  </a:lnTo>
                  <a:lnTo>
                    <a:pt x="470" y="185"/>
                  </a:lnTo>
                  <a:lnTo>
                    <a:pt x="482" y="204"/>
                  </a:lnTo>
                  <a:lnTo>
                    <a:pt x="496" y="222"/>
                  </a:lnTo>
                  <a:lnTo>
                    <a:pt x="506" y="236"/>
                  </a:lnTo>
                  <a:lnTo>
                    <a:pt x="518" y="253"/>
                  </a:lnTo>
                  <a:lnTo>
                    <a:pt x="531" y="277"/>
                  </a:lnTo>
                  <a:lnTo>
                    <a:pt x="543" y="299"/>
                  </a:lnTo>
                  <a:lnTo>
                    <a:pt x="549" y="316"/>
                  </a:lnTo>
                  <a:lnTo>
                    <a:pt x="551" y="330"/>
                  </a:lnTo>
                  <a:lnTo>
                    <a:pt x="551" y="342"/>
                  </a:lnTo>
                  <a:lnTo>
                    <a:pt x="553" y="354"/>
                  </a:lnTo>
                  <a:lnTo>
                    <a:pt x="563" y="368"/>
                  </a:lnTo>
                  <a:lnTo>
                    <a:pt x="583" y="379"/>
                  </a:lnTo>
                  <a:lnTo>
                    <a:pt x="606" y="385"/>
                  </a:lnTo>
                  <a:lnTo>
                    <a:pt x="628" y="391"/>
                  </a:lnTo>
                  <a:lnTo>
                    <a:pt x="646" y="399"/>
                  </a:lnTo>
                  <a:lnTo>
                    <a:pt x="659" y="411"/>
                  </a:lnTo>
                  <a:lnTo>
                    <a:pt x="671" y="427"/>
                  </a:lnTo>
                  <a:lnTo>
                    <a:pt x="681" y="440"/>
                  </a:lnTo>
                  <a:lnTo>
                    <a:pt x="693" y="448"/>
                  </a:lnTo>
                  <a:lnTo>
                    <a:pt x="705" y="454"/>
                  </a:lnTo>
                  <a:lnTo>
                    <a:pt x="716" y="464"/>
                  </a:lnTo>
                  <a:lnTo>
                    <a:pt x="726" y="474"/>
                  </a:lnTo>
                  <a:lnTo>
                    <a:pt x="732" y="486"/>
                  </a:lnTo>
                  <a:lnTo>
                    <a:pt x="732" y="496"/>
                  </a:lnTo>
                  <a:lnTo>
                    <a:pt x="724" y="499"/>
                  </a:lnTo>
                  <a:lnTo>
                    <a:pt x="711" y="501"/>
                  </a:lnTo>
                  <a:lnTo>
                    <a:pt x="689" y="503"/>
                  </a:lnTo>
                  <a:lnTo>
                    <a:pt x="667" y="501"/>
                  </a:lnTo>
                  <a:lnTo>
                    <a:pt x="644" y="499"/>
                  </a:lnTo>
                  <a:lnTo>
                    <a:pt x="624" y="498"/>
                  </a:lnTo>
                  <a:lnTo>
                    <a:pt x="610" y="496"/>
                  </a:lnTo>
                  <a:lnTo>
                    <a:pt x="606" y="496"/>
                  </a:lnTo>
                  <a:lnTo>
                    <a:pt x="610" y="498"/>
                  </a:lnTo>
                  <a:lnTo>
                    <a:pt x="620" y="501"/>
                  </a:lnTo>
                  <a:lnTo>
                    <a:pt x="632" y="507"/>
                  </a:lnTo>
                  <a:lnTo>
                    <a:pt x="646" y="515"/>
                  </a:lnTo>
                  <a:lnTo>
                    <a:pt x="657" y="523"/>
                  </a:lnTo>
                  <a:lnTo>
                    <a:pt x="663" y="531"/>
                  </a:lnTo>
                  <a:lnTo>
                    <a:pt x="671" y="539"/>
                  </a:lnTo>
                  <a:lnTo>
                    <a:pt x="687" y="549"/>
                  </a:lnTo>
                  <a:lnTo>
                    <a:pt x="707" y="559"/>
                  </a:lnTo>
                  <a:lnTo>
                    <a:pt x="724" y="568"/>
                  </a:lnTo>
                  <a:lnTo>
                    <a:pt x="736" y="578"/>
                  </a:lnTo>
                  <a:lnTo>
                    <a:pt x="746" y="590"/>
                  </a:lnTo>
                  <a:lnTo>
                    <a:pt x="754" y="602"/>
                  </a:lnTo>
                  <a:lnTo>
                    <a:pt x="762" y="612"/>
                  </a:lnTo>
                  <a:lnTo>
                    <a:pt x="766" y="622"/>
                  </a:lnTo>
                  <a:lnTo>
                    <a:pt x="766" y="627"/>
                  </a:lnTo>
                  <a:lnTo>
                    <a:pt x="758" y="631"/>
                  </a:lnTo>
                  <a:lnTo>
                    <a:pt x="746" y="639"/>
                  </a:lnTo>
                  <a:lnTo>
                    <a:pt x="730" y="647"/>
                  </a:lnTo>
                  <a:lnTo>
                    <a:pt x="716" y="653"/>
                  </a:lnTo>
                  <a:lnTo>
                    <a:pt x="705" y="659"/>
                  </a:lnTo>
                  <a:lnTo>
                    <a:pt x="699" y="663"/>
                  </a:lnTo>
                  <a:lnTo>
                    <a:pt x="697" y="665"/>
                  </a:lnTo>
                  <a:lnTo>
                    <a:pt x="693" y="669"/>
                  </a:lnTo>
                  <a:lnTo>
                    <a:pt x="689" y="673"/>
                  </a:lnTo>
                  <a:lnTo>
                    <a:pt x="685" y="675"/>
                  </a:lnTo>
                  <a:lnTo>
                    <a:pt x="681" y="677"/>
                  </a:lnTo>
                  <a:lnTo>
                    <a:pt x="679" y="679"/>
                  </a:lnTo>
                  <a:lnTo>
                    <a:pt x="679" y="681"/>
                  </a:lnTo>
                  <a:lnTo>
                    <a:pt x="665" y="663"/>
                  </a:lnTo>
                  <a:lnTo>
                    <a:pt x="632" y="641"/>
                  </a:lnTo>
                  <a:lnTo>
                    <a:pt x="592" y="657"/>
                  </a:lnTo>
                  <a:lnTo>
                    <a:pt x="500" y="671"/>
                  </a:lnTo>
                  <a:lnTo>
                    <a:pt x="472" y="637"/>
                  </a:lnTo>
                  <a:lnTo>
                    <a:pt x="431" y="645"/>
                  </a:lnTo>
                  <a:lnTo>
                    <a:pt x="398" y="651"/>
                  </a:lnTo>
                  <a:lnTo>
                    <a:pt x="356" y="633"/>
                  </a:lnTo>
                  <a:lnTo>
                    <a:pt x="303" y="651"/>
                  </a:lnTo>
                  <a:lnTo>
                    <a:pt x="297" y="592"/>
                  </a:lnTo>
                  <a:lnTo>
                    <a:pt x="242" y="566"/>
                  </a:lnTo>
                  <a:lnTo>
                    <a:pt x="230" y="513"/>
                  </a:lnTo>
                  <a:lnTo>
                    <a:pt x="258" y="470"/>
                  </a:lnTo>
                  <a:lnTo>
                    <a:pt x="197" y="407"/>
                  </a:lnTo>
                  <a:lnTo>
                    <a:pt x="140" y="336"/>
                  </a:lnTo>
                  <a:lnTo>
                    <a:pt x="144" y="269"/>
                  </a:lnTo>
                  <a:lnTo>
                    <a:pt x="112" y="250"/>
                  </a:lnTo>
                  <a:lnTo>
                    <a:pt x="83" y="257"/>
                  </a:lnTo>
                  <a:lnTo>
                    <a:pt x="69" y="222"/>
                  </a:lnTo>
                  <a:lnTo>
                    <a:pt x="0" y="220"/>
                  </a:lnTo>
                  <a:lnTo>
                    <a:pt x="14" y="131"/>
                  </a:lnTo>
                  <a:lnTo>
                    <a:pt x="69" y="124"/>
                  </a:lnTo>
                  <a:lnTo>
                    <a:pt x="81" y="98"/>
                  </a:lnTo>
                  <a:lnTo>
                    <a:pt x="122" y="100"/>
                  </a:lnTo>
                  <a:lnTo>
                    <a:pt x="175" y="76"/>
                  </a:lnTo>
                  <a:lnTo>
                    <a:pt x="203" y="76"/>
                  </a:lnTo>
                  <a:lnTo>
                    <a:pt x="215" y="15"/>
                  </a:lnTo>
                  <a:lnTo>
                    <a:pt x="262" y="0"/>
                  </a:lnTo>
                  <a:close/>
                </a:path>
              </a:pathLst>
            </a:custGeom>
            <a:grpFill/>
            <a:ln w="0">
              <a:solidFill>
                <a:schemeClr val="bg1"/>
              </a:solidFill>
              <a:prstDash val="solid"/>
              <a:round/>
            </a:ln>
          </p:spPr>
          <p:txBody>
            <a:bodyPr/>
            <a:lstStyle/>
            <a:p>
              <a:endParaRPr lang="zh-CN" altLang="en-US"/>
            </a:p>
          </p:txBody>
        </p:sp>
        <p:sp>
          <p:nvSpPr>
            <p:cNvPr id="41" name="Freeform 84"/>
            <p:cNvSpPr/>
            <p:nvPr/>
          </p:nvSpPr>
          <p:spPr bwMode="gray">
            <a:xfrm>
              <a:off x="3622" y="2455"/>
              <a:ext cx="383" cy="340"/>
            </a:xfrm>
            <a:custGeom>
              <a:avLst/>
              <a:gdLst>
                <a:gd name="T0" fmla="*/ 67 w 766"/>
                <a:gd name="T1" fmla="*/ 11 h 681"/>
                <a:gd name="T2" fmla="*/ 71 w 766"/>
                <a:gd name="T3" fmla="*/ 13 h 681"/>
                <a:gd name="T4" fmla="*/ 79 w 766"/>
                <a:gd name="T5" fmla="*/ 17 h 681"/>
                <a:gd name="T6" fmla="*/ 85 w 766"/>
                <a:gd name="T7" fmla="*/ 22 h 681"/>
                <a:gd name="T8" fmla="*/ 96 w 766"/>
                <a:gd name="T9" fmla="*/ 25 h 681"/>
                <a:gd name="T10" fmla="*/ 105 w 766"/>
                <a:gd name="T11" fmla="*/ 28 h 681"/>
                <a:gd name="T12" fmla="*/ 110 w 766"/>
                <a:gd name="T13" fmla="*/ 34 h 681"/>
                <a:gd name="T14" fmla="*/ 114 w 766"/>
                <a:gd name="T15" fmla="*/ 41 h 681"/>
                <a:gd name="T16" fmla="*/ 120 w 766"/>
                <a:gd name="T17" fmla="*/ 51 h 681"/>
                <a:gd name="T18" fmla="*/ 126 w 766"/>
                <a:gd name="T19" fmla="*/ 59 h 681"/>
                <a:gd name="T20" fmla="*/ 133 w 766"/>
                <a:gd name="T21" fmla="*/ 69 h 681"/>
                <a:gd name="T22" fmla="*/ 138 w 766"/>
                <a:gd name="T23" fmla="*/ 79 h 681"/>
                <a:gd name="T24" fmla="*/ 138 w 766"/>
                <a:gd name="T25" fmla="*/ 85 h 681"/>
                <a:gd name="T26" fmla="*/ 141 w 766"/>
                <a:gd name="T27" fmla="*/ 92 h 681"/>
                <a:gd name="T28" fmla="*/ 152 w 766"/>
                <a:gd name="T29" fmla="*/ 96 h 681"/>
                <a:gd name="T30" fmla="*/ 162 w 766"/>
                <a:gd name="T31" fmla="*/ 99 h 681"/>
                <a:gd name="T32" fmla="*/ 168 w 766"/>
                <a:gd name="T33" fmla="*/ 106 h 681"/>
                <a:gd name="T34" fmla="*/ 174 w 766"/>
                <a:gd name="T35" fmla="*/ 112 h 681"/>
                <a:gd name="T36" fmla="*/ 179 w 766"/>
                <a:gd name="T37" fmla="*/ 116 h 681"/>
                <a:gd name="T38" fmla="*/ 183 w 766"/>
                <a:gd name="T39" fmla="*/ 121 h 681"/>
                <a:gd name="T40" fmla="*/ 181 w 766"/>
                <a:gd name="T41" fmla="*/ 124 h 681"/>
                <a:gd name="T42" fmla="*/ 173 w 766"/>
                <a:gd name="T43" fmla="*/ 125 h 681"/>
                <a:gd name="T44" fmla="*/ 161 w 766"/>
                <a:gd name="T45" fmla="*/ 124 h 681"/>
                <a:gd name="T46" fmla="*/ 153 w 766"/>
                <a:gd name="T47" fmla="*/ 124 h 681"/>
                <a:gd name="T48" fmla="*/ 153 w 766"/>
                <a:gd name="T49" fmla="*/ 124 h 681"/>
                <a:gd name="T50" fmla="*/ 158 w 766"/>
                <a:gd name="T51" fmla="*/ 126 h 681"/>
                <a:gd name="T52" fmla="*/ 165 w 766"/>
                <a:gd name="T53" fmla="*/ 130 h 681"/>
                <a:gd name="T54" fmla="*/ 168 w 766"/>
                <a:gd name="T55" fmla="*/ 134 h 681"/>
                <a:gd name="T56" fmla="*/ 177 w 766"/>
                <a:gd name="T57" fmla="*/ 139 h 681"/>
                <a:gd name="T58" fmla="*/ 184 w 766"/>
                <a:gd name="T59" fmla="*/ 144 h 681"/>
                <a:gd name="T60" fmla="*/ 189 w 766"/>
                <a:gd name="T61" fmla="*/ 150 h 681"/>
                <a:gd name="T62" fmla="*/ 192 w 766"/>
                <a:gd name="T63" fmla="*/ 155 h 681"/>
                <a:gd name="T64" fmla="*/ 190 w 766"/>
                <a:gd name="T65" fmla="*/ 157 h 681"/>
                <a:gd name="T66" fmla="*/ 183 w 766"/>
                <a:gd name="T67" fmla="*/ 161 h 681"/>
                <a:gd name="T68" fmla="*/ 177 w 766"/>
                <a:gd name="T69" fmla="*/ 164 h 681"/>
                <a:gd name="T70" fmla="*/ 175 w 766"/>
                <a:gd name="T71" fmla="*/ 166 h 681"/>
                <a:gd name="T72" fmla="*/ 173 w 766"/>
                <a:gd name="T73" fmla="*/ 168 h 681"/>
                <a:gd name="T74" fmla="*/ 171 w 766"/>
                <a:gd name="T75" fmla="*/ 169 h 681"/>
                <a:gd name="T76" fmla="*/ 170 w 766"/>
                <a:gd name="T77" fmla="*/ 170 h 681"/>
                <a:gd name="T78" fmla="*/ 158 w 766"/>
                <a:gd name="T79" fmla="*/ 160 h 681"/>
                <a:gd name="T80" fmla="*/ 125 w 766"/>
                <a:gd name="T81" fmla="*/ 167 h 681"/>
                <a:gd name="T82" fmla="*/ 108 w 766"/>
                <a:gd name="T83" fmla="*/ 161 h 681"/>
                <a:gd name="T84" fmla="*/ 89 w 766"/>
                <a:gd name="T85" fmla="*/ 158 h 681"/>
                <a:gd name="T86" fmla="*/ 75 w 766"/>
                <a:gd name="T87" fmla="*/ 148 h 681"/>
                <a:gd name="T88" fmla="*/ 57 w 766"/>
                <a:gd name="T89" fmla="*/ 128 h 681"/>
                <a:gd name="T90" fmla="*/ 49 w 766"/>
                <a:gd name="T91" fmla="*/ 101 h 681"/>
                <a:gd name="T92" fmla="*/ 36 w 766"/>
                <a:gd name="T93" fmla="*/ 67 h 681"/>
                <a:gd name="T94" fmla="*/ 21 w 766"/>
                <a:gd name="T95" fmla="*/ 64 h 681"/>
                <a:gd name="T96" fmla="*/ 0 w 766"/>
                <a:gd name="T97" fmla="*/ 55 h 681"/>
                <a:gd name="T98" fmla="*/ 18 w 766"/>
                <a:gd name="T99" fmla="*/ 31 h 681"/>
                <a:gd name="T100" fmla="*/ 30 w 766"/>
                <a:gd name="T101" fmla="*/ 25 h 681"/>
                <a:gd name="T102" fmla="*/ 51 w 766"/>
                <a:gd name="T103" fmla="*/ 19 h 681"/>
                <a:gd name="T104" fmla="*/ 66 w 766"/>
                <a:gd name="T105" fmla="*/ 0 h 681"/>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766"/>
                <a:gd name="T160" fmla="*/ 0 h 681"/>
                <a:gd name="T161" fmla="*/ 766 w 766"/>
                <a:gd name="T162" fmla="*/ 681 h 681"/>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766" h="681">
                  <a:moveTo>
                    <a:pt x="262" y="0"/>
                  </a:moveTo>
                  <a:lnTo>
                    <a:pt x="266" y="45"/>
                  </a:lnTo>
                  <a:lnTo>
                    <a:pt x="270" y="49"/>
                  </a:lnTo>
                  <a:lnTo>
                    <a:pt x="281" y="55"/>
                  </a:lnTo>
                  <a:lnTo>
                    <a:pt x="297" y="63"/>
                  </a:lnTo>
                  <a:lnTo>
                    <a:pt x="313" y="70"/>
                  </a:lnTo>
                  <a:lnTo>
                    <a:pt x="325" y="78"/>
                  </a:lnTo>
                  <a:lnTo>
                    <a:pt x="340" y="88"/>
                  </a:lnTo>
                  <a:lnTo>
                    <a:pt x="362" y="94"/>
                  </a:lnTo>
                  <a:lnTo>
                    <a:pt x="384" y="100"/>
                  </a:lnTo>
                  <a:lnTo>
                    <a:pt x="402" y="104"/>
                  </a:lnTo>
                  <a:lnTo>
                    <a:pt x="419" y="114"/>
                  </a:lnTo>
                  <a:lnTo>
                    <a:pt x="433" y="124"/>
                  </a:lnTo>
                  <a:lnTo>
                    <a:pt x="441" y="137"/>
                  </a:lnTo>
                  <a:lnTo>
                    <a:pt x="447" y="149"/>
                  </a:lnTo>
                  <a:lnTo>
                    <a:pt x="457" y="165"/>
                  </a:lnTo>
                  <a:lnTo>
                    <a:pt x="470" y="185"/>
                  </a:lnTo>
                  <a:lnTo>
                    <a:pt x="482" y="204"/>
                  </a:lnTo>
                  <a:lnTo>
                    <a:pt x="496" y="222"/>
                  </a:lnTo>
                  <a:lnTo>
                    <a:pt x="506" y="236"/>
                  </a:lnTo>
                  <a:lnTo>
                    <a:pt x="518" y="253"/>
                  </a:lnTo>
                  <a:lnTo>
                    <a:pt x="531" y="277"/>
                  </a:lnTo>
                  <a:lnTo>
                    <a:pt x="543" y="299"/>
                  </a:lnTo>
                  <a:lnTo>
                    <a:pt x="549" y="316"/>
                  </a:lnTo>
                  <a:lnTo>
                    <a:pt x="551" y="330"/>
                  </a:lnTo>
                  <a:lnTo>
                    <a:pt x="551" y="342"/>
                  </a:lnTo>
                  <a:lnTo>
                    <a:pt x="553" y="354"/>
                  </a:lnTo>
                  <a:lnTo>
                    <a:pt x="563" y="368"/>
                  </a:lnTo>
                  <a:lnTo>
                    <a:pt x="583" y="379"/>
                  </a:lnTo>
                  <a:lnTo>
                    <a:pt x="606" y="385"/>
                  </a:lnTo>
                  <a:lnTo>
                    <a:pt x="628" y="391"/>
                  </a:lnTo>
                  <a:lnTo>
                    <a:pt x="646" y="399"/>
                  </a:lnTo>
                  <a:lnTo>
                    <a:pt x="659" y="411"/>
                  </a:lnTo>
                  <a:lnTo>
                    <a:pt x="671" y="427"/>
                  </a:lnTo>
                  <a:lnTo>
                    <a:pt x="681" y="440"/>
                  </a:lnTo>
                  <a:lnTo>
                    <a:pt x="693" y="448"/>
                  </a:lnTo>
                  <a:lnTo>
                    <a:pt x="705" y="454"/>
                  </a:lnTo>
                  <a:lnTo>
                    <a:pt x="716" y="464"/>
                  </a:lnTo>
                  <a:lnTo>
                    <a:pt x="726" y="474"/>
                  </a:lnTo>
                  <a:lnTo>
                    <a:pt x="732" y="486"/>
                  </a:lnTo>
                  <a:lnTo>
                    <a:pt x="732" y="496"/>
                  </a:lnTo>
                  <a:lnTo>
                    <a:pt x="724" y="499"/>
                  </a:lnTo>
                  <a:lnTo>
                    <a:pt x="711" y="501"/>
                  </a:lnTo>
                  <a:lnTo>
                    <a:pt x="689" y="503"/>
                  </a:lnTo>
                  <a:lnTo>
                    <a:pt x="667" y="501"/>
                  </a:lnTo>
                  <a:lnTo>
                    <a:pt x="644" y="499"/>
                  </a:lnTo>
                  <a:lnTo>
                    <a:pt x="624" y="498"/>
                  </a:lnTo>
                  <a:lnTo>
                    <a:pt x="610" y="496"/>
                  </a:lnTo>
                  <a:lnTo>
                    <a:pt x="606" y="496"/>
                  </a:lnTo>
                  <a:lnTo>
                    <a:pt x="610" y="498"/>
                  </a:lnTo>
                  <a:lnTo>
                    <a:pt x="620" y="501"/>
                  </a:lnTo>
                  <a:lnTo>
                    <a:pt x="632" y="507"/>
                  </a:lnTo>
                  <a:lnTo>
                    <a:pt x="646" y="515"/>
                  </a:lnTo>
                  <a:lnTo>
                    <a:pt x="657" y="523"/>
                  </a:lnTo>
                  <a:lnTo>
                    <a:pt x="663" y="531"/>
                  </a:lnTo>
                  <a:lnTo>
                    <a:pt x="671" y="539"/>
                  </a:lnTo>
                  <a:lnTo>
                    <a:pt x="687" y="549"/>
                  </a:lnTo>
                  <a:lnTo>
                    <a:pt x="707" y="559"/>
                  </a:lnTo>
                  <a:lnTo>
                    <a:pt x="724" y="568"/>
                  </a:lnTo>
                  <a:lnTo>
                    <a:pt x="736" y="578"/>
                  </a:lnTo>
                  <a:lnTo>
                    <a:pt x="746" y="590"/>
                  </a:lnTo>
                  <a:lnTo>
                    <a:pt x="754" y="602"/>
                  </a:lnTo>
                  <a:lnTo>
                    <a:pt x="762" y="612"/>
                  </a:lnTo>
                  <a:lnTo>
                    <a:pt x="766" y="622"/>
                  </a:lnTo>
                  <a:lnTo>
                    <a:pt x="766" y="627"/>
                  </a:lnTo>
                  <a:lnTo>
                    <a:pt x="758" y="631"/>
                  </a:lnTo>
                  <a:lnTo>
                    <a:pt x="746" y="639"/>
                  </a:lnTo>
                  <a:lnTo>
                    <a:pt x="730" y="647"/>
                  </a:lnTo>
                  <a:lnTo>
                    <a:pt x="716" y="653"/>
                  </a:lnTo>
                  <a:lnTo>
                    <a:pt x="705" y="659"/>
                  </a:lnTo>
                  <a:lnTo>
                    <a:pt x="699" y="663"/>
                  </a:lnTo>
                  <a:lnTo>
                    <a:pt x="697" y="665"/>
                  </a:lnTo>
                  <a:lnTo>
                    <a:pt x="693" y="669"/>
                  </a:lnTo>
                  <a:lnTo>
                    <a:pt x="689" y="673"/>
                  </a:lnTo>
                  <a:lnTo>
                    <a:pt x="685" y="675"/>
                  </a:lnTo>
                  <a:lnTo>
                    <a:pt x="681" y="677"/>
                  </a:lnTo>
                  <a:lnTo>
                    <a:pt x="679" y="679"/>
                  </a:lnTo>
                  <a:lnTo>
                    <a:pt x="679" y="681"/>
                  </a:lnTo>
                  <a:lnTo>
                    <a:pt x="665" y="663"/>
                  </a:lnTo>
                  <a:lnTo>
                    <a:pt x="632" y="641"/>
                  </a:lnTo>
                  <a:lnTo>
                    <a:pt x="592" y="657"/>
                  </a:lnTo>
                  <a:lnTo>
                    <a:pt x="500" y="671"/>
                  </a:lnTo>
                  <a:lnTo>
                    <a:pt x="472" y="637"/>
                  </a:lnTo>
                  <a:lnTo>
                    <a:pt x="431" y="645"/>
                  </a:lnTo>
                  <a:lnTo>
                    <a:pt x="398" y="651"/>
                  </a:lnTo>
                  <a:lnTo>
                    <a:pt x="356" y="633"/>
                  </a:lnTo>
                  <a:lnTo>
                    <a:pt x="303" y="651"/>
                  </a:lnTo>
                  <a:lnTo>
                    <a:pt x="297" y="592"/>
                  </a:lnTo>
                  <a:lnTo>
                    <a:pt x="242" y="566"/>
                  </a:lnTo>
                  <a:lnTo>
                    <a:pt x="230" y="513"/>
                  </a:lnTo>
                  <a:lnTo>
                    <a:pt x="258" y="470"/>
                  </a:lnTo>
                  <a:lnTo>
                    <a:pt x="197" y="407"/>
                  </a:lnTo>
                  <a:lnTo>
                    <a:pt x="140" y="336"/>
                  </a:lnTo>
                  <a:lnTo>
                    <a:pt x="144" y="269"/>
                  </a:lnTo>
                  <a:lnTo>
                    <a:pt x="112" y="250"/>
                  </a:lnTo>
                  <a:lnTo>
                    <a:pt x="83" y="257"/>
                  </a:lnTo>
                  <a:lnTo>
                    <a:pt x="69" y="222"/>
                  </a:lnTo>
                  <a:lnTo>
                    <a:pt x="0" y="220"/>
                  </a:lnTo>
                  <a:lnTo>
                    <a:pt x="14" y="131"/>
                  </a:lnTo>
                  <a:lnTo>
                    <a:pt x="69" y="124"/>
                  </a:lnTo>
                  <a:lnTo>
                    <a:pt x="81" y="98"/>
                  </a:lnTo>
                  <a:lnTo>
                    <a:pt x="122" y="100"/>
                  </a:lnTo>
                  <a:lnTo>
                    <a:pt x="175" y="76"/>
                  </a:lnTo>
                  <a:lnTo>
                    <a:pt x="203" y="76"/>
                  </a:lnTo>
                  <a:lnTo>
                    <a:pt x="215" y="15"/>
                  </a:lnTo>
                  <a:lnTo>
                    <a:pt x="262" y="0"/>
                  </a:lnTo>
                </a:path>
              </a:pathLst>
            </a:custGeom>
            <a:grpFill/>
            <a:ln w="6350">
              <a:solidFill>
                <a:schemeClr val="bg1"/>
              </a:solidFill>
              <a:prstDash val="solid"/>
              <a:round/>
            </a:ln>
          </p:spPr>
          <p:txBody>
            <a:bodyPr/>
            <a:lstStyle/>
            <a:p>
              <a:endParaRPr lang="zh-CN" altLang="en-US"/>
            </a:p>
          </p:txBody>
        </p:sp>
        <p:sp>
          <p:nvSpPr>
            <p:cNvPr id="42" name="Freeform 85"/>
            <p:cNvSpPr/>
            <p:nvPr/>
          </p:nvSpPr>
          <p:spPr bwMode="gray">
            <a:xfrm>
              <a:off x="3848" y="2705"/>
              <a:ext cx="58" cy="77"/>
            </a:xfrm>
            <a:custGeom>
              <a:avLst/>
              <a:gdLst>
                <a:gd name="T0" fmla="*/ 0 w 116"/>
                <a:gd name="T1" fmla="*/ 0 h 156"/>
                <a:gd name="T2" fmla="*/ 1 w 116"/>
                <a:gd name="T3" fmla="*/ 1 h 156"/>
                <a:gd name="T4" fmla="*/ 2 w 116"/>
                <a:gd name="T5" fmla="*/ 4 h 156"/>
                <a:gd name="T6" fmla="*/ 4 w 116"/>
                <a:gd name="T7" fmla="*/ 8 h 156"/>
                <a:gd name="T8" fmla="*/ 5 w 116"/>
                <a:gd name="T9" fmla="*/ 13 h 156"/>
                <a:gd name="T10" fmla="*/ 6 w 116"/>
                <a:gd name="T11" fmla="*/ 16 h 156"/>
                <a:gd name="T12" fmla="*/ 6 w 116"/>
                <a:gd name="T13" fmla="*/ 20 h 156"/>
                <a:gd name="T14" fmla="*/ 8 w 116"/>
                <a:gd name="T15" fmla="*/ 25 h 156"/>
                <a:gd name="T16" fmla="*/ 11 w 116"/>
                <a:gd name="T17" fmla="*/ 30 h 156"/>
                <a:gd name="T18" fmla="*/ 12 w 116"/>
                <a:gd name="T19" fmla="*/ 33 h 156"/>
                <a:gd name="T20" fmla="*/ 13 w 116"/>
                <a:gd name="T21" fmla="*/ 35 h 156"/>
                <a:gd name="T22" fmla="*/ 15 w 116"/>
                <a:gd name="T23" fmla="*/ 36 h 156"/>
                <a:gd name="T24" fmla="*/ 18 w 116"/>
                <a:gd name="T25" fmla="*/ 38 h 156"/>
                <a:gd name="T26" fmla="*/ 21 w 116"/>
                <a:gd name="T27" fmla="*/ 38 h 156"/>
                <a:gd name="T28" fmla="*/ 24 w 116"/>
                <a:gd name="T29" fmla="*/ 38 h 156"/>
                <a:gd name="T30" fmla="*/ 27 w 116"/>
                <a:gd name="T31" fmla="*/ 37 h 156"/>
                <a:gd name="T32" fmla="*/ 29 w 116"/>
                <a:gd name="T33" fmla="*/ 34 h 156"/>
                <a:gd name="T34" fmla="*/ 29 w 116"/>
                <a:gd name="T35" fmla="*/ 30 h 156"/>
                <a:gd name="T36" fmla="*/ 27 w 116"/>
                <a:gd name="T37" fmla="*/ 26 h 156"/>
                <a:gd name="T38" fmla="*/ 24 w 116"/>
                <a:gd name="T39" fmla="*/ 22 h 156"/>
                <a:gd name="T40" fmla="*/ 19 w 116"/>
                <a:gd name="T41" fmla="*/ 19 h 156"/>
                <a:gd name="T42" fmla="*/ 15 w 116"/>
                <a:gd name="T43" fmla="*/ 16 h 156"/>
                <a:gd name="T44" fmla="*/ 11 w 116"/>
                <a:gd name="T45" fmla="*/ 13 h 156"/>
                <a:gd name="T46" fmla="*/ 10 w 116"/>
                <a:gd name="T47" fmla="*/ 11 h 156"/>
                <a:gd name="T48" fmla="*/ 8 w 116"/>
                <a:gd name="T49" fmla="*/ 8 h 156"/>
                <a:gd name="T50" fmla="*/ 6 w 116"/>
                <a:gd name="T51" fmla="*/ 5 h 156"/>
                <a:gd name="T52" fmla="*/ 3 w 116"/>
                <a:gd name="T53" fmla="*/ 3 h 156"/>
                <a:gd name="T54" fmla="*/ 1 w 116"/>
                <a:gd name="T55" fmla="*/ 1 h 156"/>
                <a:gd name="T56" fmla="*/ 0 w 116"/>
                <a:gd name="T57" fmla="*/ 0 h 15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16"/>
                <a:gd name="T88" fmla="*/ 0 h 156"/>
                <a:gd name="T89" fmla="*/ 116 w 116"/>
                <a:gd name="T90" fmla="*/ 156 h 15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16" h="156">
                  <a:moveTo>
                    <a:pt x="0" y="0"/>
                  </a:moveTo>
                  <a:lnTo>
                    <a:pt x="2" y="6"/>
                  </a:lnTo>
                  <a:lnTo>
                    <a:pt x="8" y="18"/>
                  </a:lnTo>
                  <a:lnTo>
                    <a:pt x="13" y="34"/>
                  </a:lnTo>
                  <a:lnTo>
                    <a:pt x="19" y="52"/>
                  </a:lnTo>
                  <a:lnTo>
                    <a:pt x="21" y="65"/>
                  </a:lnTo>
                  <a:lnTo>
                    <a:pt x="23" y="83"/>
                  </a:lnTo>
                  <a:lnTo>
                    <a:pt x="31" y="103"/>
                  </a:lnTo>
                  <a:lnTo>
                    <a:pt x="41" y="121"/>
                  </a:lnTo>
                  <a:lnTo>
                    <a:pt x="47" y="136"/>
                  </a:lnTo>
                  <a:lnTo>
                    <a:pt x="49" y="142"/>
                  </a:lnTo>
                  <a:lnTo>
                    <a:pt x="59" y="148"/>
                  </a:lnTo>
                  <a:lnTo>
                    <a:pt x="69" y="154"/>
                  </a:lnTo>
                  <a:lnTo>
                    <a:pt x="82" y="156"/>
                  </a:lnTo>
                  <a:lnTo>
                    <a:pt x="94" y="156"/>
                  </a:lnTo>
                  <a:lnTo>
                    <a:pt x="106" y="150"/>
                  </a:lnTo>
                  <a:lnTo>
                    <a:pt x="114" y="138"/>
                  </a:lnTo>
                  <a:lnTo>
                    <a:pt x="116" y="123"/>
                  </a:lnTo>
                  <a:lnTo>
                    <a:pt x="108" y="107"/>
                  </a:lnTo>
                  <a:lnTo>
                    <a:pt x="94" y="91"/>
                  </a:lnTo>
                  <a:lnTo>
                    <a:pt x="76" y="77"/>
                  </a:lnTo>
                  <a:lnTo>
                    <a:pt x="59" y="65"/>
                  </a:lnTo>
                  <a:lnTo>
                    <a:pt x="43" y="54"/>
                  </a:lnTo>
                  <a:lnTo>
                    <a:pt x="37" y="46"/>
                  </a:lnTo>
                  <a:lnTo>
                    <a:pt x="31" y="34"/>
                  </a:lnTo>
                  <a:lnTo>
                    <a:pt x="21" y="22"/>
                  </a:lnTo>
                  <a:lnTo>
                    <a:pt x="12" y="12"/>
                  </a:lnTo>
                  <a:lnTo>
                    <a:pt x="2" y="4"/>
                  </a:lnTo>
                  <a:lnTo>
                    <a:pt x="0" y="0"/>
                  </a:lnTo>
                  <a:close/>
                </a:path>
              </a:pathLst>
            </a:custGeom>
            <a:grpFill/>
            <a:ln w="0">
              <a:solidFill>
                <a:schemeClr val="bg1"/>
              </a:solidFill>
              <a:prstDash val="solid"/>
              <a:round/>
            </a:ln>
          </p:spPr>
          <p:txBody>
            <a:bodyPr/>
            <a:lstStyle/>
            <a:p>
              <a:endParaRPr lang="zh-CN" altLang="en-US"/>
            </a:p>
          </p:txBody>
        </p:sp>
        <p:sp>
          <p:nvSpPr>
            <p:cNvPr id="43" name="Freeform 86"/>
            <p:cNvSpPr/>
            <p:nvPr/>
          </p:nvSpPr>
          <p:spPr bwMode="gray">
            <a:xfrm>
              <a:off x="3848" y="2705"/>
              <a:ext cx="58" cy="77"/>
            </a:xfrm>
            <a:custGeom>
              <a:avLst/>
              <a:gdLst>
                <a:gd name="T0" fmla="*/ 0 w 116"/>
                <a:gd name="T1" fmla="*/ 0 h 156"/>
                <a:gd name="T2" fmla="*/ 1 w 116"/>
                <a:gd name="T3" fmla="*/ 1 h 156"/>
                <a:gd name="T4" fmla="*/ 2 w 116"/>
                <a:gd name="T5" fmla="*/ 4 h 156"/>
                <a:gd name="T6" fmla="*/ 4 w 116"/>
                <a:gd name="T7" fmla="*/ 8 h 156"/>
                <a:gd name="T8" fmla="*/ 5 w 116"/>
                <a:gd name="T9" fmla="*/ 13 h 156"/>
                <a:gd name="T10" fmla="*/ 6 w 116"/>
                <a:gd name="T11" fmla="*/ 16 h 156"/>
                <a:gd name="T12" fmla="*/ 6 w 116"/>
                <a:gd name="T13" fmla="*/ 20 h 156"/>
                <a:gd name="T14" fmla="*/ 8 w 116"/>
                <a:gd name="T15" fmla="*/ 25 h 156"/>
                <a:gd name="T16" fmla="*/ 11 w 116"/>
                <a:gd name="T17" fmla="*/ 30 h 156"/>
                <a:gd name="T18" fmla="*/ 12 w 116"/>
                <a:gd name="T19" fmla="*/ 33 h 156"/>
                <a:gd name="T20" fmla="*/ 13 w 116"/>
                <a:gd name="T21" fmla="*/ 35 h 156"/>
                <a:gd name="T22" fmla="*/ 15 w 116"/>
                <a:gd name="T23" fmla="*/ 36 h 156"/>
                <a:gd name="T24" fmla="*/ 18 w 116"/>
                <a:gd name="T25" fmla="*/ 38 h 156"/>
                <a:gd name="T26" fmla="*/ 21 w 116"/>
                <a:gd name="T27" fmla="*/ 38 h 156"/>
                <a:gd name="T28" fmla="*/ 24 w 116"/>
                <a:gd name="T29" fmla="*/ 38 h 156"/>
                <a:gd name="T30" fmla="*/ 27 w 116"/>
                <a:gd name="T31" fmla="*/ 37 h 156"/>
                <a:gd name="T32" fmla="*/ 29 w 116"/>
                <a:gd name="T33" fmla="*/ 34 h 156"/>
                <a:gd name="T34" fmla="*/ 29 w 116"/>
                <a:gd name="T35" fmla="*/ 30 h 156"/>
                <a:gd name="T36" fmla="*/ 27 w 116"/>
                <a:gd name="T37" fmla="*/ 26 h 156"/>
                <a:gd name="T38" fmla="*/ 24 w 116"/>
                <a:gd name="T39" fmla="*/ 22 h 156"/>
                <a:gd name="T40" fmla="*/ 19 w 116"/>
                <a:gd name="T41" fmla="*/ 19 h 156"/>
                <a:gd name="T42" fmla="*/ 15 w 116"/>
                <a:gd name="T43" fmla="*/ 16 h 156"/>
                <a:gd name="T44" fmla="*/ 11 w 116"/>
                <a:gd name="T45" fmla="*/ 13 h 156"/>
                <a:gd name="T46" fmla="*/ 10 w 116"/>
                <a:gd name="T47" fmla="*/ 11 h 156"/>
                <a:gd name="T48" fmla="*/ 8 w 116"/>
                <a:gd name="T49" fmla="*/ 8 h 156"/>
                <a:gd name="T50" fmla="*/ 6 w 116"/>
                <a:gd name="T51" fmla="*/ 5 h 156"/>
                <a:gd name="T52" fmla="*/ 3 w 116"/>
                <a:gd name="T53" fmla="*/ 3 h 156"/>
                <a:gd name="T54" fmla="*/ 1 w 116"/>
                <a:gd name="T55" fmla="*/ 1 h 156"/>
                <a:gd name="T56" fmla="*/ 0 w 116"/>
                <a:gd name="T57" fmla="*/ 0 h 15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16"/>
                <a:gd name="T88" fmla="*/ 0 h 156"/>
                <a:gd name="T89" fmla="*/ 116 w 116"/>
                <a:gd name="T90" fmla="*/ 156 h 15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16" h="156">
                  <a:moveTo>
                    <a:pt x="0" y="0"/>
                  </a:moveTo>
                  <a:lnTo>
                    <a:pt x="2" y="6"/>
                  </a:lnTo>
                  <a:lnTo>
                    <a:pt x="8" y="18"/>
                  </a:lnTo>
                  <a:lnTo>
                    <a:pt x="13" y="34"/>
                  </a:lnTo>
                  <a:lnTo>
                    <a:pt x="19" y="52"/>
                  </a:lnTo>
                  <a:lnTo>
                    <a:pt x="21" y="65"/>
                  </a:lnTo>
                  <a:lnTo>
                    <a:pt x="23" y="83"/>
                  </a:lnTo>
                  <a:lnTo>
                    <a:pt x="31" y="103"/>
                  </a:lnTo>
                  <a:lnTo>
                    <a:pt x="41" y="121"/>
                  </a:lnTo>
                  <a:lnTo>
                    <a:pt x="47" y="136"/>
                  </a:lnTo>
                  <a:lnTo>
                    <a:pt x="49" y="142"/>
                  </a:lnTo>
                  <a:lnTo>
                    <a:pt x="59" y="148"/>
                  </a:lnTo>
                  <a:lnTo>
                    <a:pt x="69" y="154"/>
                  </a:lnTo>
                  <a:lnTo>
                    <a:pt x="82" y="156"/>
                  </a:lnTo>
                  <a:lnTo>
                    <a:pt x="94" y="156"/>
                  </a:lnTo>
                  <a:lnTo>
                    <a:pt x="106" y="150"/>
                  </a:lnTo>
                  <a:lnTo>
                    <a:pt x="114" y="138"/>
                  </a:lnTo>
                  <a:lnTo>
                    <a:pt x="116" y="123"/>
                  </a:lnTo>
                  <a:lnTo>
                    <a:pt x="108" y="107"/>
                  </a:lnTo>
                  <a:lnTo>
                    <a:pt x="94" y="91"/>
                  </a:lnTo>
                  <a:lnTo>
                    <a:pt x="76" y="77"/>
                  </a:lnTo>
                  <a:lnTo>
                    <a:pt x="59" y="65"/>
                  </a:lnTo>
                  <a:lnTo>
                    <a:pt x="43" y="54"/>
                  </a:lnTo>
                  <a:lnTo>
                    <a:pt x="37" y="46"/>
                  </a:lnTo>
                  <a:lnTo>
                    <a:pt x="31" y="34"/>
                  </a:lnTo>
                  <a:lnTo>
                    <a:pt x="21" y="22"/>
                  </a:lnTo>
                  <a:lnTo>
                    <a:pt x="12" y="12"/>
                  </a:lnTo>
                  <a:lnTo>
                    <a:pt x="2" y="4"/>
                  </a:lnTo>
                  <a:lnTo>
                    <a:pt x="0" y="0"/>
                  </a:lnTo>
                </a:path>
              </a:pathLst>
            </a:custGeom>
            <a:grpFill/>
            <a:ln w="6350">
              <a:solidFill>
                <a:schemeClr val="bg1"/>
              </a:solidFill>
              <a:prstDash val="solid"/>
              <a:round/>
            </a:ln>
          </p:spPr>
          <p:txBody>
            <a:bodyPr/>
            <a:lstStyle/>
            <a:p>
              <a:endParaRPr lang="zh-CN" altLang="en-US"/>
            </a:p>
          </p:txBody>
        </p:sp>
        <p:sp>
          <p:nvSpPr>
            <p:cNvPr id="44" name="Freeform 87"/>
            <p:cNvSpPr/>
            <p:nvPr/>
          </p:nvSpPr>
          <p:spPr bwMode="gray">
            <a:xfrm>
              <a:off x="3714" y="2597"/>
              <a:ext cx="37" cy="32"/>
            </a:xfrm>
            <a:custGeom>
              <a:avLst/>
              <a:gdLst>
                <a:gd name="T0" fmla="*/ 0 w 75"/>
                <a:gd name="T1" fmla="*/ 12 h 63"/>
                <a:gd name="T2" fmla="*/ 8 w 75"/>
                <a:gd name="T3" fmla="*/ 0 h 63"/>
                <a:gd name="T4" fmla="*/ 18 w 75"/>
                <a:gd name="T5" fmla="*/ 4 h 63"/>
                <a:gd name="T6" fmla="*/ 18 w 75"/>
                <a:gd name="T7" fmla="*/ 13 h 63"/>
                <a:gd name="T8" fmla="*/ 8 w 75"/>
                <a:gd name="T9" fmla="*/ 16 h 63"/>
                <a:gd name="T10" fmla="*/ 0 w 75"/>
                <a:gd name="T11" fmla="*/ 12 h 63"/>
                <a:gd name="T12" fmla="*/ 0 60000 65536"/>
                <a:gd name="T13" fmla="*/ 0 60000 65536"/>
                <a:gd name="T14" fmla="*/ 0 60000 65536"/>
                <a:gd name="T15" fmla="*/ 0 60000 65536"/>
                <a:gd name="T16" fmla="*/ 0 60000 65536"/>
                <a:gd name="T17" fmla="*/ 0 60000 65536"/>
                <a:gd name="T18" fmla="*/ 0 w 75"/>
                <a:gd name="T19" fmla="*/ 0 h 63"/>
                <a:gd name="T20" fmla="*/ 75 w 75"/>
                <a:gd name="T21" fmla="*/ 63 h 63"/>
              </a:gdLst>
              <a:ahLst/>
              <a:cxnLst>
                <a:cxn ang="T12">
                  <a:pos x="T0" y="T1"/>
                </a:cxn>
                <a:cxn ang="T13">
                  <a:pos x="T2" y="T3"/>
                </a:cxn>
                <a:cxn ang="T14">
                  <a:pos x="T4" y="T5"/>
                </a:cxn>
                <a:cxn ang="T15">
                  <a:pos x="T6" y="T7"/>
                </a:cxn>
                <a:cxn ang="T16">
                  <a:pos x="T8" y="T9"/>
                </a:cxn>
                <a:cxn ang="T17">
                  <a:pos x="T10" y="T11"/>
                </a:cxn>
              </a:cxnLst>
              <a:rect l="T18" t="T19" r="T20" b="T21"/>
              <a:pathLst>
                <a:path w="75" h="63">
                  <a:moveTo>
                    <a:pt x="0" y="45"/>
                  </a:moveTo>
                  <a:lnTo>
                    <a:pt x="33" y="0"/>
                  </a:lnTo>
                  <a:lnTo>
                    <a:pt x="73" y="14"/>
                  </a:lnTo>
                  <a:lnTo>
                    <a:pt x="75" y="49"/>
                  </a:lnTo>
                  <a:lnTo>
                    <a:pt x="32" y="63"/>
                  </a:lnTo>
                  <a:lnTo>
                    <a:pt x="0" y="45"/>
                  </a:lnTo>
                  <a:close/>
                </a:path>
              </a:pathLst>
            </a:custGeom>
            <a:grpFill/>
            <a:ln w="0">
              <a:solidFill>
                <a:schemeClr val="bg1"/>
              </a:solidFill>
              <a:prstDash val="solid"/>
              <a:round/>
            </a:ln>
          </p:spPr>
          <p:txBody>
            <a:bodyPr/>
            <a:lstStyle/>
            <a:p>
              <a:endParaRPr lang="zh-CN" altLang="en-US"/>
            </a:p>
          </p:txBody>
        </p:sp>
        <p:sp>
          <p:nvSpPr>
            <p:cNvPr id="45" name="Freeform 88"/>
            <p:cNvSpPr/>
            <p:nvPr/>
          </p:nvSpPr>
          <p:spPr bwMode="gray">
            <a:xfrm>
              <a:off x="3714" y="2597"/>
              <a:ext cx="37" cy="32"/>
            </a:xfrm>
            <a:custGeom>
              <a:avLst/>
              <a:gdLst>
                <a:gd name="T0" fmla="*/ 0 w 75"/>
                <a:gd name="T1" fmla="*/ 12 h 63"/>
                <a:gd name="T2" fmla="*/ 8 w 75"/>
                <a:gd name="T3" fmla="*/ 0 h 63"/>
                <a:gd name="T4" fmla="*/ 18 w 75"/>
                <a:gd name="T5" fmla="*/ 4 h 63"/>
                <a:gd name="T6" fmla="*/ 18 w 75"/>
                <a:gd name="T7" fmla="*/ 13 h 63"/>
                <a:gd name="T8" fmla="*/ 8 w 75"/>
                <a:gd name="T9" fmla="*/ 16 h 63"/>
                <a:gd name="T10" fmla="*/ 0 w 75"/>
                <a:gd name="T11" fmla="*/ 12 h 63"/>
                <a:gd name="T12" fmla="*/ 0 60000 65536"/>
                <a:gd name="T13" fmla="*/ 0 60000 65536"/>
                <a:gd name="T14" fmla="*/ 0 60000 65536"/>
                <a:gd name="T15" fmla="*/ 0 60000 65536"/>
                <a:gd name="T16" fmla="*/ 0 60000 65536"/>
                <a:gd name="T17" fmla="*/ 0 60000 65536"/>
                <a:gd name="T18" fmla="*/ 0 w 75"/>
                <a:gd name="T19" fmla="*/ 0 h 63"/>
                <a:gd name="T20" fmla="*/ 75 w 75"/>
                <a:gd name="T21" fmla="*/ 63 h 63"/>
              </a:gdLst>
              <a:ahLst/>
              <a:cxnLst>
                <a:cxn ang="T12">
                  <a:pos x="T0" y="T1"/>
                </a:cxn>
                <a:cxn ang="T13">
                  <a:pos x="T2" y="T3"/>
                </a:cxn>
                <a:cxn ang="T14">
                  <a:pos x="T4" y="T5"/>
                </a:cxn>
                <a:cxn ang="T15">
                  <a:pos x="T6" y="T7"/>
                </a:cxn>
                <a:cxn ang="T16">
                  <a:pos x="T8" y="T9"/>
                </a:cxn>
                <a:cxn ang="T17">
                  <a:pos x="T10" y="T11"/>
                </a:cxn>
              </a:cxnLst>
              <a:rect l="T18" t="T19" r="T20" b="T21"/>
              <a:pathLst>
                <a:path w="75" h="63">
                  <a:moveTo>
                    <a:pt x="0" y="45"/>
                  </a:moveTo>
                  <a:lnTo>
                    <a:pt x="33" y="0"/>
                  </a:lnTo>
                  <a:lnTo>
                    <a:pt x="73" y="14"/>
                  </a:lnTo>
                  <a:lnTo>
                    <a:pt x="75" y="49"/>
                  </a:lnTo>
                  <a:lnTo>
                    <a:pt x="32" y="63"/>
                  </a:lnTo>
                  <a:lnTo>
                    <a:pt x="0" y="45"/>
                  </a:lnTo>
                </a:path>
              </a:pathLst>
            </a:custGeom>
            <a:grpFill/>
            <a:ln w="6350">
              <a:solidFill>
                <a:schemeClr val="bg1"/>
              </a:solidFill>
              <a:prstDash val="solid"/>
              <a:round/>
            </a:ln>
          </p:spPr>
          <p:txBody>
            <a:bodyPr/>
            <a:lstStyle/>
            <a:p>
              <a:endParaRPr lang="zh-CN" altLang="en-US"/>
            </a:p>
          </p:txBody>
        </p:sp>
        <p:sp>
          <p:nvSpPr>
            <p:cNvPr id="46" name="Freeform 89"/>
            <p:cNvSpPr/>
            <p:nvPr/>
          </p:nvSpPr>
          <p:spPr bwMode="gray">
            <a:xfrm>
              <a:off x="3768" y="2614"/>
              <a:ext cx="37" cy="52"/>
            </a:xfrm>
            <a:custGeom>
              <a:avLst/>
              <a:gdLst>
                <a:gd name="T0" fmla="*/ 0 w 73"/>
                <a:gd name="T1" fmla="*/ 10 h 105"/>
                <a:gd name="T2" fmla="*/ 9 w 73"/>
                <a:gd name="T3" fmla="*/ 0 h 105"/>
                <a:gd name="T4" fmla="*/ 16 w 73"/>
                <a:gd name="T5" fmla="*/ 12 h 105"/>
                <a:gd name="T6" fmla="*/ 19 w 73"/>
                <a:gd name="T7" fmla="*/ 26 h 105"/>
                <a:gd name="T8" fmla="*/ 9 w 73"/>
                <a:gd name="T9" fmla="*/ 19 h 105"/>
                <a:gd name="T10" fmla="*/ 0 w 73"/>
                <a:gd name="T11" fmla="*/ 10 h 105"/>
                <a:gd name="T12" fmla="*/ 0 60000 65536"/>
                <a:gd name="T13" fmla="*/ 0 60000 65536"/>
                <a:gd name="T14" fmla="*/ 0 60000 65536"/>
                <a:gd name="T15" fmla="*/ 0 60000 65536"/>
                <a:gd name="T16" fmla="*/ 0 60000 65536"/>
                <a:gd name="T17" fmla="*/ 0 60000 65536"/>
                <a:gd name="T18" fmla="*/ 0 w 73"/>
                <a:gd name="T19" fmla="*/ 0 h 105"/>
                <a:gd name="T20" fmla="*/ 73 w 73"/>
                <a:gd name="T21" fmla="*/ 105 h 105"/>
              </a:gdLst>
              <a:ahLst/>
              <a:cxnLst>
                <a:cxn ang="T12">
                  <a:pos x="T0" y="T1"/>
                </a:cxn>
                <a:cxn ang="T13">
                  <a:pos x="T2" y="T3"/>
                </a:cxn>
                <a:cxn ang="T14">
                  <a:pos x="T4" y="T5"/>
                </a:cxn>
                <a:cxn ang="T15">
                  <a:pos x="T6" y="T7"/>
                </a:cxn>
                <a:cxn ang="T16">
                  <a:pos x="T8" y="T9"/>
                </a:cxn>
                <a:cxn ang="T17">
                  <a:pos x="T10" y="T11"/>
                </a:cxn>
              </a:cxnLst>
              <a:rect l="T18" t="T19" r="T20" b="T21"/>
              <a:pathLst>
                <a:path w="73" h="105">
                  <a:moveTo>
                    <a:pt x="0" y="40"/>
                  </a:moveTo>
                  <a:lnTo>
                    <a:pt x="34" y="0"/>
                  </a:lnTo>
                  <a:lnTo>
                    <a:pt x="63" y="48"/>
                  </a:lnTo>
                  <a:lnTo>
                    <a:pt x="73" y="105"/>
                  </a:lnTo>
                  <a:lnTo>
                    <a:pt x="34" y="77"/>
                  </a:lnTo>
                  <a:lnTo>
                    <a:pt x="0" y="40"/>
                  </a:lnTo>
                  <a:close/>
                </a:path>
              </a:pathLst>
            </a:custGeom>
            <a:grpFill/>
            <a:ln w="0">
              <a:solidFill>
                <a:schemeClr val="bg1"/>
              </a:solidFill>
              <a:prstDash val="solid"/>
              <a:round/>
            </a:ln>
          </p:spPr>
          <p:txBody>
            <a:bodyPr/>
            <a:lstStyle/>
            <a:p>
              <a:endParaRPr lang="zh-CN" altLang="en-US"/>
            </a:p>
          </p:txBody>
        </p:sp>
        <p:sp>
          <p:nvSpPr>
            <p:cNvPr id="47" name="Freeform 90"/>
            <p:cNvSpPr/>
            <p:nvPr/>
          </p:nvSpPr>
          <p:spPr bwMode="gray">
            <a:xfrm>
              <a:off x="3768" y="2614"/>
              <a:ext cx="37" cy="52"/>
            </a:xfrm>
            <a:custGeom>
              <a:avLst/>
              <a:gdLst>
                <a:gd name="T0" fmla="*/ 0 w 73"/>
                <a:gd name="T1" fmla="*/ 10 h 105"/>
                <a:gd name="T2" fmla="*/ 9 w 73"/>
                <a:gd name="T3" fmla="*/ 0 h 105"/>
                <a:gd name="T4" fmla="*/ 16 w 73"/>
                <a:gd name="T5" fmla="*/ 12 h 105"/>
                <a:gd name="T6" fmla="*/ 19 w 73"/>
                <a:gd name="T7" fmla="*/ 26 h 105"/>
                <a:gd name="T8" fmla="*/ 9 w 73"/>
                <a:gd name="T9" fmla="*/ 19 h 105"/>
                <a:gd name="T10" fmla="*/ 0 w 73"/>
                <a:gd name="T11" fmla="*/ 10 h 105"/>
                <a:gd name="T12" fmla="*/ 0 60000 65536"/>
                <a:gd name="T13" fmla="*/ 0 60000 65536"/>
                <a:gd name="T14" fmla="*/ 0 60000 65536"/>
                <a:gd name="T15" fmla="*/ 0 60000 65536"/>
                <a:gd name="T16" fmla="*/ 0 60000 65536"/>
                <a:gd name="T17" fmla="*/ 0 60000 65536"/>
                <a:gd name="T18" fmla="*/ 0 w 73"/>
                <a:gd name="T19" fmla="*/ 0 h 105"/>
                <a:gd name="T20" fmla="*/ 73 w 73"/>
                <a:gd name="T21" fmla="*/ 105 h 105"/>
              </a:gdLst>
              <a:ahLst/>
              <a:cxnLst>
                <a:cxn ang="T12">
                  <a:pos x="T0" y="T1"/>
                </a:cxn>
                <a:cxn ang="T13">
                  <a:pos x="T2" y="T3"/>
                </a:cxn>
                <a:cxn ang="T14">
                  <a:pos x="T4" y="T5"/>
                </a:cxn>
                <a:cxn ang="T15">
                  <a:pos x="T6" y="T7"/>
                </a:cxn>
                <a:cxn ang="T16">
                  <a:pos x="T8" y="T9"/>
                </a:cxn>
                <a:cxn ang="T17">
                  <a:pos x="T10" y="T11"/>
                </a:cxn>
              </a:cxnLst>
              <a:rect l="T18" t="T19" r="T20" b="T21"/>
              <a:pathLst>
                <a:path w="73" h="105">
                  <a:moveTo>
                    <a:pt x="0" y="40"/>
                  </a:moveTo>
                  <a:lnTo>
                    <a:pt x="34" y="0"/>
                  </a:lnTo>
                  <a:lnTo>
                    <a:pt x="63" y="48"/>
                  </a:lnTo>
                  <a:lnTo>
                    <a:pt x="73" y="105"/>
                  </a:lnTo>
                  <a:lnTo>
                    <a:pt x="34" y="77"/>
                  </a:lnTo>
                  <a:lnTo>
                    <a:pt x="0" y="40"/>
                  </a:lnTo>
                </a:path>
              </a:pathLst>
            </a:custGeom>
            <a:grpFill/>
            <a:ln w="6350">
              <a:solidFill>
                <a:schemeClr val="bg1"/>
              </a:solidFill>
              <a:prstDash val="solid"/>
              <a:round/>
            </a:ln>
          </p:spPr>
          <p:txBody>
            <a:bodyPr/>
            <a:lstStyle/>
            <a:p>
              <a:endParaRPr lang="zh-CN" altLang="en-US"/>
            </a:p>
          </p:txBody>
        </p:sp>
        <p:sp>
          <p:nvSpPr>
            <p:cNvPr id="48" name="Freeform 91"/>
            <p:cNvSpPr/>
            <p:nvPr/>
          </p:nvSpPr>
          <p:spPr bwMode="gray">
            <a:xfrm>
              <a:off x="3451" y="2207"/>
              <a:ext cx="493" cy="331"/>
            </a:xfrm>
            <a:custGeom>
              <a:avLst/>
              <a:gdLst>
                <a:gd name="T0" fmla="*/ 81 w 987"/>
                <a:gd name="T1" fmla="*/ 0 h 663"/>
                <a:gd name="T2" fmla="*/ 88 w 987"/>
                <a:gd name="T3" fmla="*/ 3 h 663"/>
                <a:gd name="T4" fmla="*/ 96 w 987"/>
                <a:gd name="T5" fmla="*/ 5 h 663"/>
                <a:gd name="T6" fmla="*/ 103 w 987"/>
                <a:gd name="T7" fmla="*/ 2 h 663"/>
                <a:gd name="T8" fmla="*/ 111 w 987"/>
                <a:gd name="T9" fmla="*/ 0 h 663"/>
                <a:gd name="T10" fmla="*/ 119 w 987"/>
                <a:gd name="T11" fmla="*/ 5 h 663"/>
                <a:gd name="T12" fmla="*/ 125 w 987"/>
                <a:gd name="T13" fmla="*/ 15 h 663"/>
                <a:gd name="T14" fmla="*/ 126 w 987"/>
                <a:gd name="T15" fmla="*/ 24 h 663"/>
                <a:gd name="T16" fmla="*/ 128 w 987"/>
                <a:gd name="T17" fmla="*/ 32 h 663"/>
                <a:gd name="T18" fmla="*/ 133 w 987"/>
                <a:gd name="T19" fmla="*/ 37 h 663"/>
                <a:gd name="T20" fmla="*/ 141 w 987"/>
                <a:gd name="T21" fmla="*/ 39 h 663"/>
                <a:gd name="T22" fmla="*/ 149 w 987"/>
                <a:gd name="T23" fmla="*/ 38 h 663"/>
                <a:gd name="T24" fmla="*/ 154 w 987"/>
                <a:gd name="T25" fmla="*/ 33 h 663"/>
                <a:gd name="T26" fmla="*/ 160 w 987"/>
                <a:gd name="T27" fmla="*/ 24 h 663"/>
                <a:gd name="T28" fmla="*/ 167 w 987"/>
                <a:gd name="T29" fmla="*/ 15 h 663"/>
                <a:gd name="T30" fmla="*/ 175 w 987"/>
                <a:gd name="T31" fmla="*/ 6 h 663"/>
                <a:gd name="T32" fmla="*/ 184 w 987"/>
                <a:gd name="T33" fmla="*/ 2 h 663"/>
                <a:gd name="T34" fmla="*/ 191 w 987"/>
                <a:gd name="T35" fmla="*/ 4 h 663"/>
                <a:gd name="T36" fmla="*/ 200 w 987"/>
                <a:gd name="T37" fmla="*/ 9 h 663"/>
                <a:gd name="T38" fmla="*/ 212 w 987"/>
                <a:gd name="T39" fmla="*/ 11 h 663"/>
                <a:gd name="T40" fmla="*/ 224 w 987"/>
                <a:gd name="T41" fmla="*/ 9 h 663"/>
                <a:gd name="T42" fmla="*/ 234 w 987"/>
                <a:gd name="T43" fmla="*/ 7 h 663"/>
                <a:gd name="T44" fmla="*/ 241 w 987"/>
                <a:gd name="T45" fmla="*/ 5 h 663"/>
                <a:gd name="T46" fmla="*/ 246 w 987"/>
                <a:gd name="T47" fmla="*/ 5 h 663"/>
                <a:gd name="T48" fmla="*/ 246 w 987"/>
                <a:gd name="T49" fmla="*/ 12 h 663"/>
                <a:gd name="T50" fmla="*/ 245 w 987"/>
                <a:gd name="T51" fmla="*/ 23 h 663"/>
                <a:gd name="T52" fmla="*/ 243 w 987"/>
                <a:gd name="T53" fmla="*/ 31 h 663"/>
                <a:gd name="T54" fmla="*/ 237 w 987"/>
                <a:gd name="T55" fmla="*/ 32 h 663"/>
                <a:gd name="T56" fmla="*/ 231 w 987"/>
                <a:gd name="T57" fmla="*/ 31 h 663"/>
                <a:gd name="T58" fmla="*/ 225 w 987"/>
                <a:gd name="T59" fmla="*/ 32 h 663"/>
                <a:gd name="T60" fmla="*/ 216 w 987"/>
                <a:gd name="T61" fmla="*/ 41 h 663"/>
                <a:gd name="T62" fmla="*/ 205 w 987"/>
                <a:gd name="T63" fmla="*/ 49 h 663"/>
                <a:gd name="T64" fmla="*/ 198 w 987"/>
                <a:gd name="T65" fmla="*/ 51 h 663"/>
                <a:gd name="T66" fmla="*/ 191 w 987"/>
                <a:gd name="T67" fmla="*/ 52 h 663"/>
                <a:gd name="T68" fmla="*/ 189 w 987"/>
                <a:gd name="T69" fmla="*/ 55 h 663"/>
                <a:gd name="T70" fmla="*/ 191 w 987"/>
                <a:gd name="T71" fmla="*/ 63 h 663"/>
                <a:gd name="T72" fmla="*/ 190 w 987"/>
                <a:gd name="T73" fmla="*/ 72 h 663"/>
                <a:gd name="T74" fmla="*/ 185 w 987"/>
                <a:gd name="T75" fmla="*/ 77 h 663"/>
                <a:gd name="T76" fmla="*/ 177 w 987"/>
                <a:gd name="T77" fmla="*/ 79 h 663"/>
                <a:gd name="T78" fmla="*/ 171 w 987"/>
                <a:gd name="T79" fmla="*/ 79 h 663"/>
                <a:gd name="T80" fmla="*/ 170 w 987"/>
                <a:gd name="T81" fmla="*/ 84 h 663"/>
                <a:gd name="T82" fmla="*/ 170 w 987"/>
                <a:gd name="T83" fmla="*/ 93 h 663"/>
                <a:gd name="T84" fmla="*/ 168 w 987"/>
                <a:gd name="T85" fmla="*/ 101 h 663"/>
                <a:gd name="T86" fmla="*/ 163 w 987"/>
                <a:gd name="T87" fmla="*/ 106 h 663"/>
                <a:gd name="T88" fmla="*/ 157 w 987"/>
                <a:gd name="T89" fmla="*/ 111 h 663"/>
                <a:gd name="T90" fmla="*/ 155 w 987"/>
                <a:gd name="T91" fmla="*/ 118 h 663"/>
                <a:gd name="T92" fmla="*/ 152 w 987"/>
                <a:gd name="T93" fmla="*/ 123 h 663"/>
                <a:gd name="T94" fmla="*/ 139 w 987"/>
                <a:gd name="T95" fmla="*/ 127 h 663"/>
                <a:gd name="T96" fmla="*/ 129 w 987"/>
                <a:gd name="T97" fmla="*/ 143 h 663"/>
                <a:gd name="T98" fmla="*/ 106 w 987"/>
                <a:gd name="T99" fmla="*/ 148 h 663"/>
                <a:gd name="T100" fmla="*/ 89 w 987"/>
                <a:gd name="T101" fmla="*/ 156 h 663"/>
                <a:gd name="T102" fmla="*/ 66 w 987"/>
                <a:gd name="T103" fmla="*/ 144 h 663"/>
                <a:gd name="T104" fmla="*/ 52 w 987"/>
                <a:gd name="T105" fmla="*/ 160 h 663"/>
                <a:gd name="T106" fmla="*/ 13 w 987"/>
                <a:gd name="T107" fmla="*/ 152 h 663"/>
                <a:gd name="T108" fmla="*/ 0 w 987"/>
                <a:gd name="T109" fmla="*/ 140 h 663"/>
                <a:gd name="T110" fmla="*/ 14 w 987"/>
                <a:gd name="T111" fmla="*/ 98 h 663"/>
                <a:gd name="T112" fmla="*/ 8 w 987"/>
                <a:gd name="T113" fmla="*/ 78 h 663"/>
                <a:gd name="T114" fmla="*/ 26 w 987"/>
                <a:gd name="T115" fmla="*/ 45 h 663"/>
                <a:gd name="T116" fmla="*/ 50 w 987"/>
                <a:gd name="T117" fmla="*/ 22 h 663"/>
                <a:gd name="T118" fmla="*/ 80 w 987"/>
                <a:gd name="T119" fmla="*/ 0 h 663"/>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987"/>
                <a:gd name="T181" fmla="*/ 0 h 663"/>
                <a:gd name="T182" fmla="*/ 987 w 987"/>
                <a:gd name="T183" fmla="*/ 663 h 663"/>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987" h="663">
                  <a:moveTo>
                    <a:pt x="323" y="0"/>
                  </a:moveTo>
                  <a:lnTo>
                    <a:pt x="327" y="2"/>
                  </a:lnTo>
                  <a:lnTo>
                    <a:pt x="339" y="7"/>
                  </a:lnTo>
                  <a:lnTo>
                    <a:pt x="353" y="13"/>
                  </a:lnTo>
                  <a:lnTo>
                    <a:pt x="369" y="19"/>
                  </a:lnTo>
                  <a:lnTo>
                    <a:pt x="384" y="21"/>
                  </a:lnTo>
                  <a:lnTo>
                    <a:pt x="398" y="19"/>
                  </a:lnTo>
                  <a:lnTo>
                    <a:pt x="414" y="9"/>
                  </a:lnTo>
                  <a:lnTo>
                    <a:pt x="432" y="2"/>
                  </a:lnTo>
                  <a:lnTo>
                    <a:pt x="447" y="2"/>
                  </a:lnTo>
                  <a:lnTo>
                    <a:pt x="463" y="7"/>
                  </a:lnTo>
                  <a:lnTo>
                    <a:pt x="479" y="23"/>
                  </a:lnTo>
                  <a:lnTo>
                    <a:pt x="493" y="43"/>
                  </a:lnTo>
                  <a:lnTo>
                    <a:pt x="500" y="63"/>
                  </a:lnTo>
                  <a:lnTo>
                    <a:pt x="504" y="82"/>
                  </a:lnTo>
                  <a:lnTo>
                    <a:pt x="504" y="98"/>
                  </a:lnTo>
                  <a:lnTo>
                    <a:pt x="508" y="114"/>
                  </a:lnTo>
                  <a:lnTo>
                    <a:pt x="512" y="129"/>
                  </a:lnTo>
                  <a:lnTo>
                    <a:pt x="522" y="143"/>
                  </a:lnTo>
                  <a:lnTo>
                    <a:pt x="534" y="151"/>
                  </a:lnTo>
                  <a:lnTo>
                    <a:pt x="550" y="155"/>
                  </a:lnTo>
                  <a:lnTo>
                    <a:pt x="567" y="157"/>
                  </a:lnTo>
                  <a:lnTo>
                    <a:pt x="585" y="157"/>
                  </a:lnTo>
                  <a:lnTo>
                    <a:pt x="599" y="153"/>
                  </a:lnTo>
                  <a:lnTo>
                    <a:pt x="609" y="147"/>
                  </a:lnTo>
                  <a:lnTo>
                    <a:pt x="617" y="133"/>
                  </a:lnTo>
                  <a:lnTo>
                    <a:pt x="628" y="116"/>
                  </a:lnTo>
                  <a:lnTo>
                    <a:pt x="642" y="96"/>
                  </a:lnTo>
                  <a:lnTo>
                    <a:pt x="656" y="76"/>
                  </a:lnTo>
                  <a:lnTo>
                    <a:pt x="668" y="61"/>
                  </a:lnTo>
                  <a:lnTo>
                    <a:pt x="683" y="43"/>
                  </a:lnTo>
                  <a:lnTo>
                    <a:pt x="703" y="27"/>
                  </a:lnTo>
                  <a:lnTo>
                    <a:pt x="723" y="15"/>
                  </a:lnTo>
                  <a:lnTo>
                    <a:pt x="737" y="9"/>
                  </a:lnTo>
                  <a:lnTo>
                    <a:pt x="748" y="11"/>
                  </a:lnTo>
                  <a:lnTo>
                    <a:pt x="764" y="19"/>
                  </a:lnTo>
                  <a:lnTo>
                    <a:pt x="782" y="27"/>
                  </a:lnTo>
                  <a:lnTo>
                    <a:pt x="802" y="37"/>
                  </a:lnTo>
                  <a:lnTo>
                    <a:pt x="823" y="45"/>
                  </a:lnTo>
                  <a:lnTo>
                    <a:pt x="851" y="47"/>
                  </a:lnTo>
                  <a:lnTo>
                    <a:pt x="874" y="43"/>
                  </a:lnTo>
                  <a:lnTo>
                    <a:pt x="896" y="37"/>
                  </a:lnTo>
                  <a:lnTo>
                    <a:pt x="920" y="33"/>
                  </a:lnTo>
                  <a:lnTo>
                    <a:pt x="937" y="29"/>
                  </a:lnTo>
                  <a:lnTo>
                    <a:pt x="953" y="25"/>
                  </a:lnTo>
                  <a:lnTo>
                    <a:pt x="967" y="21"/>
                  </a:lnTo>
                  <a:lnTo>
                    <a:pt x="979" y="19"/>
                  </a:lnTo>
                  <a:lnTo>
                    <a:pt x="985" y="21"/>
                  </a:lnTo>
                  <a:lnTo>
                    <a:pt x="987" y="31"/>
                  </a:lnTo>
                  <a:lnTo>
                    <a:pt x="987" y="51"/>
                  </a:lnTo>
                  <a:lnTo>
                    <a:pt x="985" y="70"/>
                  </a:lnTo>
                  <a:lnTo>
                    <a:pt x="983" y="92"/>
                  </a:lnTo>
                  <a:lnTo>
                    <a:pt x="979" y="112"/>
                  </a:lnTo>
                  <a:lnTo>
                    <a:pt x="973" y="124"/>
                  </a:lnTo>
                  <a:lnTo>
                    <a:pt x="963" y="128"/>
                  </a:lnTo>
                  <a:lnTo>
                    <a:pt x="951" y="128"/>
                  </a:lnTo>
                  <a:lnTo>
                    <a:pt x="937" y="126"/>
                  </a:lnTo>
                  <a:lnTo>
                    <a:pt x="926" y="124"/>
                  </a:lnTo>
                  <a:lnTo>
                    <a:pt x="912" y="126"/>
                  </a:lnTo>
                  <a:lnTo>
                    <a:pt x="902" y="131"/>
                  </a:lnTo>
                  <a:lnTo>
                    <a:pt x="886" y="147"/>
                  </a:lnTo>
                  <a:lnTo>
                    <a:pt x="865" y="167"/>
                  </a:lnTo>
                  <a:lnTo>
                    <a:pt x="843" y="185"/>
                  </a:lnTo>
                  <a:lnTo>
                    <a:pt x="821" y="198"/>
                  </a:lnTo>
                  <a:lnTo>
                    <a:pt x="807" y="204"/>
                  </a:lnTo>
                  <a:lnTo>
                    <a:pt x="792" y="206"/>
                  </a:lnTo>
                  <a:lnTo>
                    <a:pt x="778" y="206"/>
                  </a:lnTo>
                  <a:lnTo>
                    <a:pt x="766" y="208"/>
                  </a:lnTo>
                  <a:lnTo>
                    <a:pt x="760" y="212"/>
                  </a:lnTo>
                  <a:lnTo>
                    <a:pt x="758" y="222"/>
                  </a:lnTo>
                  <a:lnTo>
                    <a:pt x="762" y="236"/>
                  </a:lnTo>
                  <a:lnTo>
                    <a:pt x="764" y="253"/>
                  </a:lnTo>
                  <a:lnTo>
                    <a:pt x="764" y="271"/>
                  </a:lnTo>
                  <a:lnTo>
                    <a:pt x="760" y="289"/>
                  </a:lnTo>
                  <a:lnTo>
                    <a:pt x="754" y="303"/>
                  </a:lnTo>
                  <a:lnTo>
                    <a:pt x="743" y="311"/>
                  </a:lnTo>
                  <a:lnTo>
                    <a:pt x="725" y="316"/>
                  </a:lnTo>
                  <a:lnTo>
                    <a:pt x="709" y="316"/>
                  </a:lnTo>
                  <a:lnTo>
                    <a:pt x="695" y="316"/>
                  </a:lnTo>
                  <a:lnTo>
                    <a:pt x="685" y="318"/>
                  </a:lnTo>
                  <a:lnTo>
                    <a:pt x="682" y="326"/>
                  </a:lnTo>
                  <a:lnTo>
                    <a:pt x="682" y="338"/>
                  </a:lnTo>
                  <a:lnTo>
                    <a:pt x="682" y="356"/>
                  </a:lnTo>
                  <a:lnTo>
                    <a:pt x="682" y="374"/>
                  </a:lnTo>
                  <a:lnTo>
                    <a:pt x="680" y="391"/>
                  </a:lnTo>
                  <a:lnTo>
                    <a:pt x="674" y="405"/>
                  </a:lnTo>
                  <a:lnTo>
                    <a:pt x="668" y="415"/>
                  </a:lnTo>
                  <a:lnTo>
                    <a:pt x="654" y="425"/>
                  </a:lnTo>
                  <a:lnTo>
                    <a:pt x="640" y="433"/>
                  </a:lnTo>
                  <a:lnTo>
                    <a:pt x="630" y="444"/>
                  </a:lnTo>
                  <a:lnTo>
                    <a:pt x="626" y="458"/>
                  </a:lnTo>
                  <a:lnTo>
                    <a:pt x="622" y="474"/>
                  </a:lnTo>
                  <a:lnTo>
                    <a:pt x="617" y="486"/>
                  </a:lnTo>
                  <a:lnTo>
                    <a:pt x="609" y="494"/>
                  </a:lnTo>
                  <a:lnTo>
                    <a:pt x="605" y="496"/>
                  </a:lnTo>
                  <a:lnTo>
                    <a:pt x="558" y="511"/>
                  </a:lnTo>
                  <a:lnTo>
                    <a:pt x="546" y="572"/>
                  </a:lnTo>
                  <a:lnTo>
                    <a:pt x="518" y="572"/>
                  </a:lnTo>
                  <a:lnTo>
                    <a:pt x="461" y="598"/>
                  </a:lnTo>
                  <a:lnTo>
                    <a:pt x="424" y="594"/>
                  </a:lnTo>
                  <a:lnTo>
                    <a:pt x="412" y="620"/>
                  </a:lnTo>
                  <a:lnTo>
                    <a:pt x="357" y="627"/>
                  </a:lnTo>
                  <a:lnTo>
                    <a:pt x="327" y="643"/>
                  </a:lnTo>
                  <a:lnTo>
                    <a:pt x="266" y="578"/>
                  </a:lnTo>
                  <a:lnTo>
                    <a:pt x="229" y="596"/>
                  </a:lnTo>
                  <a:lnTo>
                    <a:pt x="209" y="643"/>
                  </a:lnTo>
                  <a:lnTo>
                    <a:pt x="105" y="663"/>
                  </a:lnTo>
                  <a:lnTo>
                    <a:pt x="54" y="610"/>
                  </a:lnTo>
                  <a:lnTo>
                    <a:pt x="4" y="612"/>
                  </a:lnTo>
                  <a:lnTo>
                    <a:pt x="0" y="562"/>
                  </a:lnTo>
                  <a:lnTo>
                    <a:pt x="69" y="482"/>
                  </a:lnTo>
                  <a:lnTo>
                    <a:pt x="59" y="395"/>
                  </a:lnTo>
                  <a:lnTo>
                    <a:pt x="28" y="350"/>
                  </a:lnTo>
                  <a:lnTo>
                    <a:pt x="32" y="313"/>
                  </a:lnTo>
                  <a:lnTo>
                    <a:pt x="87" y="265"/>
                  </a:lnTo>
                  <a:lnTo>
                    <a:pt x="107" y="181"/>
                  </a:lnTo>
                  <a:lnTo>
                    <a:pt x="168" y="143"/>
                  </a:lnTo>
                  <a:lnTo>
                    <a:pt x="201" y="88"/>
                  </a:lnTo>
                  <a:lnTo>
                    <a:pt x="266" y="84"/>
                  </a:lnTo>
                  <a:lnTo>
                    <a:pt x="323" y="0"/>
                  </a:lnTo>
                  <a:close/>
                </a:path>
              </a:pathLst>
            </a:custGeom>
            <a:grpFill/>
            <a:ln w="0">
              <a:solidFill>
                <a:schemeClr val="bg1"/>
              </a:solidFill>
              <a:prstDash val="solid"/>
              <a:round/>
            </a:ln>
          </p:spPr>
          <p:txBody>
            <a:bodyPr/>
            <a:lstStyle/>
            <a:p>
              <a:endParaRPr lang="zh-CN" altLang="en-US"/>
            </a:p>
          </p:txBody>
        </p:sp>
        <p:sp>
          <p:nvSpPr>
            <p:cNvPr id="49" name="Freeform 92"/>
            <p:cNvSpPr/>
            <p:nvPr/>
          </p:nvSpPr>
          <p:spPr bwMode="gray">
            <a:xfrm>
              <a:off x="3451" y="2207"/>
              <a:ext cx="493" cy="331"/>
            </a:xfrm>
            <a:custGeom>
              <a:avLst/>
              <a:gdLst>
                <a:gd name="T0" fmla="*/ 81 w 987"/>
                <a:gd name="T1" fmla="*/ 0 h 663"/>
                <a:gd name="T2" fmla="*/ 88 w 987"/>
                <a:gd name="T3" fmla="*/ 3 h 663"/>
                <a:gd name="T4" fmla="*/ 96 w 987"/>
                <a:gd name="T5" fmla="*/ 5 h 663"/>
                <a:gd name="T6" fmla="*/ 103 w 987"/>
                <a:gd name="T7" fmla="*/ 2 h 663"/>
                <a:gd name="T8" fmla="*/ 111 w 987"/>
                <a:gd name="T9" fmla="*/ 0 h 663"/>
                <a:gd name="T10" fmla="*/ 119 w 987"/>
                <a:gd name="T11" fmla="*/ 5 h 663"/>
                <a:gd name="T12" fmla="*/ 125 w 987"/>
                <a:gd name="T13" fmla="*/ 15 h 663"/>
                <a:gd name="T14" fmla="*/ 126 w 987"/>
                <a:gd name="T15" fmla="*/ 24 h 663"/>
                <a:gd name="T16" fmla="*/ 128 w 987"/>
                <a:gd name="T17" fmla="*/ 32 h 663"/>
                <a:gd name="T18" fmla="*/ 133 w 987"/>
                <a:gd name="T19" fmla="*/ 37 h 663"/>
                <a:gd name="T20" fmla="*/ 141 w 987"/>
                <a:gd name="T21" fmla="*/ 39 h 663"/>
                <a:gd name="T22" fmla="*/ 149 w 987"/>
                <a:gd name="T23" fmla="*/ 38 h 663"/>
                <a:gd name="T24" fmla="*/ 154 w 987"/>
                <a:gd name="T25" fmla="*/ 33 h 663"/>
                <a:gd name="T26" fmla="*/ 160 w 987"/>
                <a:gd name="T27" fmla="*/ 24 h 663"/>
                <a:gd name="T28" fmla="*/ 167 w 987"/>
                <a:gd name="T29" fmla="*/ 15 h 663"/>
                <a:gd name="T30" fmla="*/ 175 w 987"/>
                <a:gd name="T31" fmla="*/ 6 h 663"/>
                <a:gd name="T32" fmla="*/ 184 w 987"/>
                <a:gd name="T33" fmla="*/ 2 h 663"/>
                <a:gd name="T34" fmla="*/ 191 w 987"/>
                <a:gd name="T35" fmla="*/ 4 h 663"/>
                <a:gd name="T36" fmla="*/ 200 w 987"/>
                <a:gd name="T37" fmla="*/ 9 h 663"/>
                <a:gd name="T38" fmla="*/ 212 w 987"/>
                <a:gd name="T39" fmla="*/ 11 h 663"/>
                <a:gd name="T40" fmla="*/ 224 w 987"/>
                <a:gd name="T41" fmla="*/ 9 h 663"/>
                <a:gd name="T42" fmla="*/ 234 w 987"/>
                <a:gd name="T43" fmla="*/ 7 h 663"/>
                <a:gd name="T44" fmla="*/ 241 w 987"/>
                <a:gd name="T45" fmla="*/ 5 h 663"/>
                <a:gd name="T46" fmla="*/ 246 w 987"/>
                <a:gd name="T47" fmla="*/ 5 h 663"/>
                <a:gd name="T48" fmla="*/ 246 w 987"/>
                <a:gd name="T49" fmla="*/ 12 h 663"/>
                <a:gd name="T50" fmla="*/ 245 w 987"/>
                <a:gd name="T51" fmla="*/ 23 h 663"/>
                <a:gd name="T52" fmla="*/ 243 w 987"/>
                <a:gd name="T53" fmla="*/ 31 h 663"/>
                <a:gd name="T54" fmla="*/ 237 w 987"/>
                <a:gd name="T55" fmla="*/ 32 h 663"/>
                <a:gd name="T56" fmla="*/ 231 w 987"/>
                <a:gd name="T57" fmla="*/ 31 h 663"/>
                <a:gd name="T58" fmla="*/ 225 w 987"/>
                <a:gd name="T59" fmla="*/ 32 h 663"/>
                <a:gd name="T60" fmla="*/ 216 w 987"/>
                <a:gd name="T61" fmla="*/ 41 h 663"/>
                <a:gd name="T62" fmla="*/ 205 w 987"/>
                <a:gd name="T63" fmla="*/ 49 h 663"/>
                <a:gd name="T64" fmla="*/ 198 w 987"/>
                <a:gd name="T65" fmla="*/ 51 h 663"/>
                <a:gd name="T66" fmla="*/ 191 w 987"/>
                <a:gd name="T67" fmla="*/ 52 h 663"/>
                <a:gd name="T68" fmla="*/ 189 w 987"/>
                <a:gd name="T69" fmla="*/ 55 h 663"/>
                <a:gd name="T70" fmla="*/ 191 w 987"/>
                <a:gd name="T71" fmla="*/ 63 h 663"/>
                <a:gd name="T72" fmla="*/ 190 w 987"/>
                <a:gd name="T73" fmla="*/ 72 h 663"/>
                <a:gd name="T74" fmla="*/ 185 w 987"/>
                <a:gd name="T75" fmla="*/ 77 h 663"/>
                <a:gd name="T76" fmla="*/ 177 w 987"/>
                <a:gd name="T77" fmla="*/ 79 h 663"/>
                <a:gd name="T78" fmla="*/ 171 w 987"/>
                <a:gd name="T79" fmla="*/ 79 h 663"/>
                <a:gd name="T80" fmla="*/ 170 w 987"/>
                <a:gd name="T81" fmla="*/ 84 h 663"/>
                <a:gd name="T82" fmla="*/ 170 w 987"/>
                <a:gd name="T83" fmla="*/ 93 h 663"/>
                <a:gd name="T84" fmla="*/ 168 w 987"/>
                <a:gd name="T85" fmla="*/ 101 h 663"/>
                <a:gd name="T86" fmla="*/ 163 w 987"/>
                <a:gd name="T87" fmla="*/ 106 h 663"/>
                <a:gd name="T88" fmla="*/ 157 w 987"/>
                <a:gd name="T89" fmla="*/ 111 h 663"/>
                <a:gd name="T90" fmla="*/ 155 w 987"/>
                <a:gd name="T91" fmla="*/ 118 h 663"/>
                <a:gd name="T92" fmla="*/ 152 w 987"/>
                <a:gd name="T93" fmla="*/ 123 h 663"/>
                <a:gd name="T94" fmla="*/ 139 w 987"/>
                <a:gd name="T95" fmla="*/ 127 h 663"/>
                <a:gd name="T96" fmla="*/ 129 w 987"/>
                <a:gd name="T97" fmla="*/ 143 h 663"/>
                <a:gd name="T98" fmla="*/ 106 w 987"/>
                <a:gd name="T99" fmla="*/ 148 h 663"/>
                <a:gd name="T100" fmla="*/ 89 w 987"/>
                <a:gd name="T101" fmla="*/ 156 h 663"/>
                <a:gd name="T102" fmla="*/ 66 w 987"/>
                <a:gd name="T103" fmla="*/ 144 h 663"/>
                <a:gd name="T104" fmla="*/ 52 w 987"/>
                <a:gd name="T105" fmla="*/ 160 h 663"/>
                <a:gd name="T106" fmla="*/ 13 w 987"/>
                <a:gd name="T107" fmla="*/ 152 h 663"/>
                <a:gd name="T108" fmla="*/ 0 w 987"/>
                <a:gd name="T109" fmla="*/ 140 h 663"/>
                <a:gd name="T110" fmla="*/ 14 w 987"/>
                <a:gd name="T111" fmla="*/ 98 h 663"/>
                <a:gd name="T112" fmla="*/ 8 w 987"/>
                <a:gd name="T113" fmla="*/ 78 h 663"/>
                <a:gd name="T114" fmla="*/ 26 w 987"/>
                <a:gd name="T115" fmla="*/ 45 h 663"/>
                <a:gd name="T116" fmla="*/ 50 w 987"/>
                <a:gd name="T117" fmla="*/ 22 h 663"/>
                <a:gd name="T118" fmla="*/ 80 w 987"/>
                <a:gd name="T119" fmla="*/ 0 h 663"/>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987"/>
                <a:gd name="T181" fmla="*/ 0 h 663"/>
                <a:gd name="T182" fmla="*/ 987 w 987"/>
                <a:gd name="T183" fmla="*/ 663 h 663"/>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987" h="663">
                  <a:moveTo>
                    <a:pt x="323" y="0"/>
                  </a:moveTo>
                  <a:lnTo>
                    <a:pt x="327" y="2"/>
                  </a:lnTo>
                  <a:lnTo>
                    <a:pt x="339" y="7"/>
                  </a:lnTo>
                  <a:lnTo>
                    <a:pt x="353" y="13"/>
                  </a:lnTo>
                  <a:lnTo>
                    <a:pt x="369" y="19"/>
                  </a:lnTo>
                  <a:lnTo>
                    <a:pt x="384" y="21"/>
                  </a:lnTo>
                  <a:lnTo>
                    <a:pt x="398" y="19"/>
                  </a:lnTo>
                  <a:lnTo>
                    <a:pt x="414" y="9"/>
                  </a:lnTo>
                  <a:lnTo>
                    <a:pt x="432" y="2"/>
                  </a:lnTo>
                  <a:lnTo>
                    <a:pt x="447" y="2"/>
                  </a:lnTo>
                  <a:lnTo>
                    <a:pt x="463" y="7"/>
                  </a:lnTo>
                  <a:lnTo>
                    <a:pt x="479" y="23"/>
                  </a:lnTo>
                  <a:lnTo>
                    <a:pt x="493" y="43"/>
                  </a:lnTo>
                  <a:lnTo>
                    <a:pt x="500" y="63"/>
                  </a:lnTo>
                  <a:lnTo>
                    <a:pt x="504" y="82"/>
                  </a:lnTo>
                  <a:lnTo>
                    <a:pt x="504" y="98"/>
                  </a:lnTo>
                  <a:lnTo>
                    <a:pt x="508" y="114"/>
                  </a:lnTo>
                  <a:lnTo>
                    <a:pt x="512" y="129"/>
                  </a:lnTo>
                  <a:lnTo>
                    <a:pt x="522" y="143"/>
                  </a:lnTo>
                  <a:lnTo>
                    <a:pt x="534" y="151"/>
                  </a:lnTo>
                  <a:lnTo>
                    <a:pt x="550" y="155"/>
                  </a:lnTo>
                  <a:lnTo>
                    <a:pt x="567" y="157"/>
                  </a:lnTo>
                  <a:lnTo>
                    <a:pt x="585" y="157"/>
                  </a:lnTo>
                  <a:lnTo>
                    <a:pt x="599" y="153"/>
                  </a:lnTo>
                  <a:lnTo>
                    <a:pt x="609" y="147"/>
                  </a:lnTo>
                  <a:lnTo>
                    <a:pt x="617" y="133"/>
                  </a:lnTo>
                  <a:lnTo>
                    <a:pt x="628" y="116"/>
                  </a:lnTo>
                  <a:lnTo>
                    <a:pt x="642" y="96"/>
                  </a:lnTo>
                  <a:lnTo>
                    <a:pt x="656" y="76"/>
                  </a:lnTo>
                  <a:lnTo>
                    <a:pt x="668" y="61"/>
                  </a:lnTo>
                  <a:lnTo>
                    <a:pt x="683" y="43"/>
                  </a:lnTo>
                  <a:lnTo>
                    <a:pt x="703" y="27"/>
                  </a:lnTo>
                  <a:lnTo>
                    <a:pt x="723" y="15"/>
                  </a:lnTo>
                  <a:lnTo>
                    <a:pt x="737" y="9"/>
                  </a:lnTo>
                  <a:lnTo>
                    <a:pt x="748" y="11"/>
                  </a:lnTo>
                  <a:lnTo>
                    <a:pt x="764" y="19"/>
                  </a:lnTo>
                  <a:lnTo>
                    <a:pt x="782" y="27"/>
                  </a:lnTo>
                  <a:lnTo>
                    <a:pt x="802" y="37"/>
                  </a:lnTo>
                  <a:lnTo>
                    <a:pt x="823" y="45"/>
                  </a:lnTo>
                  <a:lnTo>
                    <a:pt x="851" y="47"/>
                  </a:lnTo>
                  <a:lnTo>
                    <a:pt x="874" y="43"/>
                  </a:lnTo>
                  <a:lnTo>
                    <a:pt x="896" y="37"/>
                  </a:lnTo>
                  <a:lnTo>
                    <a:pt x="920" y="33"/>
                  </a:lnTo>
                  <a:lnTo>
                    <a:pt x="937" y="29"/>
                  </a:lnTo>
                  <a:lnTo>
                    <a:pt x="953" y="25"/>
                  </a:lnTo>
                  <a:lnTo>
                    <a:pt x="967" y="21"/>
                  </a:lnTo>
                  <a:lnTo>
                    <a:pt x="979" y="19"/>
                  </a:lnTo>
                  <a:lnTo>
                    <a:pt x="985" y="21"/>
                  </a:lnTo>
                  <a:lnTo>
                    <a:pt x="987" y="31"/>
                  </a:lnTo>
                  <a:lnTo>
                    <a:pt x="987" y="51"/>
                  </a:lnTo>
                  <a:lnTo>
                    <a:pt x="985" y="70"/>
                  </a:lnTo>
                  <a:lnTo>
                    <a:pt x="983" y="92"/>
                  </a:lnTo>
                  <a:lnTo>
                    <a:pt x="979" y="112"/>
                  </a:lnTo>
                  <a:lnTo>
                    <a:pt x="973" y="124"/>
                  </a:lnTo>
                  <a:lnTo>
                    <a:pt x="963" y="128"/>
                  </a:lnTo>
                  <a:lnTo>
                    <a:pt x="951" y="128"/>
                  </a:lnTo>
                  <a:lnTo>
                    <a:pt x="937" y="126"/>
                  </a:lnTo>
                  <a:lnTo>
                    <a:pt x="926" y="124"/>
                  </a:lnTo>
                  <a:lnTo>
                    <a:pt x="912" y="126"/>
                  </a:lnTo>
                  <a:lnTo>
                    <a:pt x="902" y="131"/>
                  </a:lnTo>
                  <a:lnTo>
                    <a:pt x="886" y="147"/>
                  </a:lnTo>
                  <a:lnTo>
                    <a:pt x="865" y="167"/>
                  </a:lnTo>
                  <a:lnTo>
                    <a:pt x="843" y="185"/>
                  </a:lnTo>
                  <a:lnTo>
                    <a:pt x="821" y="198"/>
                  </a:lnTo>
                  <a:lnTo>
                    <a:pt x="807" y="204"/>
                  </a:lnTo>
                  <a:lnTo>
                    <a:pt x="792" y="206"/>
                  </a:lnTo>
                  <a:lnTo>
                    <a:pt x="778" y="206"/>
                  </a:lnTo>
                  <a:lnTo>
                    <a:pt x="766" y="208"/>
                  </a:lnTo>
                  <a:lnTo>
                    <a:pt x="760" y="212"/>
                  </a:lnTo>
                  <a:lnTo>
                    <a:pt x="758" y="222"/>
                  </a:lnTo>
                  <a:lnTo>
                    <a:pt x="762" y="236"/>
                  </a:lnTo>
                  <a:lnTo>
                    <a:pt x="764" y="253"/>
                  </a:lnTo>
                  <a:lnTo>
                    <a:pt x="764" y="271"/>
                  </a:lnTo>
                  <a:lnTo>
                    <a:pt x="760" y="289"/>
                  </a:lnTo>
                  <a:lnTo>
                    <a:pt x="754" y="303"/>
                  </a:lnTo>
                  <a:lnTo>
                    <a:pt x="743" y="311"/>
                  </a:lnTo>
                  <a:lnTo>
                    <a:pt x="725" y="316"/>
                  </a:lnTo>
                  <a:lnTo>
                    <a:pt x="709" y="316"/>
                  </a:lnTo>
                  <a:lnTo>
                    <a:pt x="695" y="316"/>
                  </a:lnTo>
                  <a:lnTo>
                    <a:pt x="685" y="318"/>
                  </a:lnTo>
                  <a:lnTo>
                    <a:pt x="682" y="326"/>
                  </a:lnTo>
                  <a:lnTo>
                    <a:pt x="682" y="338"/>
                  </a:lnTo>
                  <a:lnTo>
                    <a:pt x="682" y="356"/>
                  </a:lnTo>
                  <a:lnTo>
                    <a:pt x="682" y="374"/>
                  </a:lnTo>
                  <a:lnTo>
                    <a:pt x="680" y="391"/>
                  </a:lnTo>
                  <a:lnTo>
                    <a:pt x="674" y="405"/>
                  </a:lnTo>
                  <a:lnTo>
                    <a:pt x="668" y="415"/>
                  </a:lnTo>
                  <a:lnTo>
                    <a:pt x="654" y="425"/>
                  </a:lnTo>
                  <a:lnTo>
                    <a:pt x="640" y="433"/>
                  </a:lnTo>
                  <a:lnTo>
                    <a:pt x="630" y="444"/>
                  </a:lnTo>
                  <a:lnTo>
                    <a:pt x="626" y="458"/>
                  </a:lnTo>
                  <a:lnTo>
                    <a:pt x="622" y="474"/>
                  </a:lnTo>
                  <a:lnTo>
                    <a:pt x="617" y="486"/>
                  </a:lnTo>
                  <a:lnTo>
                    <a:pt x="609" y="494"/>
                  </a:lnTo>
                  <a:lnTo>
                    <a:pt x="605" y="496"/>
                  </a:lnTo>
                  <a:lnTo>
                    <a:pt x="558" y="511"/>
                  </a:lnTo>
                  <a:lnTo>
                    <a:pt x="546" y="572"/>
                  </a:lnTo>
                  <a:lnTo>
                    <a:pt x="518" y="572"/>
                  </a:lnTo>
                  <a:lnTo>
                    <a:pt x="461" y="598"/>
                  </a:lnTo>
                  <a:lnTo>
                    <a:pt x="424" y="594"/>
                  </a:lnTo>
                  <a:lnTo>
                    <a:pt x="412" y="620"/>
                  </a:lnTo>
                  <a:lnTo>
                    <a:pt x="357" y="627"/>
                  </a:lnTo>
                  <a:lnTo>
                    <a:pt x="327" y="643"/>
                  </a:lnTo>
                  <a:lnTo>
                    <a:pt x="266" y="578"/>
                  </a:lnTo>
                  <a:lnTo>
                    <a:pt x="229" y="596"/>
                  </a:lnTo>
                  <a:lnTo>
                    <a:pt x="209" y="643"/>
                  </a:lnTo>
                  <a:lnTo>
                    <a:pt x="105" y="663"/>
                  </a:lnTo>
                  <a:lnTo>
                    <a:pt x="54" y="610"/>
                  </a:lnTo>
                  <a:lnTo>
                    <a:pt x="4" y="612"/>
                  </a:lnTo>
                  <a:lnTo>
                    <a:pt x="0" y="562"/>
                  </a:lnTo>
                  <a:lnTo>
                    <a:pt x="69" y="482"/>
                  </a:lnTo>
                  <a:lnTo>
                    <a:pt x="59" y="395"/>
                  </a:lnTo>
                  <a:lnTo>
                    <a:pt x="28" y="350"/>
                  </a:lnTo>
                  <a:lnTo>
                    <a:pt x="32" y="313"/>
                  </a:lnTo>
                  <a:lnTo>
                    <a:pt x="87" y="265"/>
                  </a:lnTo>
                  <a:lnTo>
                    <a:pt x="107" y="181"/>
                  </a:lnTo>
                  <a:lnTo>
                    <a:pt x="168" y="143"/>
                  </a:lnTo>
                  <a:lnTo>
                    <a:pt x="201" y="88"/>
                  </a:lnTo>
                  <a:lnTo>
                    <a:pt x="266" y="84"/>
                  </a:lnTo>
                  <a:lnTo>
                    <a:pt x="323" y="0"/>
                  </a:lnTo>
                </a:path>
              </a:pathLst>
            </a:custGeom>
            <a:grpFill/>
            <a:ln w="6350">
              <a:solidFill>
                <a:schemeClr val="bg1"/>
              </a:solidFill>
              <a:prstDash val="solid"/>
              <a:round/>
            </a:ln>
          </p:spPr>
          <p:txBody>
            <a:bodyPr/>
            <a:lstStyle/>
            <a:p>
              <a:endParaRPr lang="zh-CN" altLang="en-US"/>
            </a:p>
          </p:txBody>
        </p:sp>
        <p:sp>
          <p:nvSpPr>
            <p:cNvPr id="50" name="Freeform 93"/>
            <p:cNvSpPr/>
            <p:nvPr/>
          </p:nvSpPr>
          <p:spPr bwMode="gray">
            <a:xfrm>
              <a:off x="3322" y="1838"/>
              <a:ext cx="400" cy="580"/>
            </a:xfrm>
            <a:custGeom>
              <a:avLst/>
              <a:gdLst>
                <a:gd name="T0" fmla="*/ 199 w 799"/>
                <a:gd name="T1" fmla="*/ 103 h 1161"/>
                <a:gd name="T2" fmla="*/ 194 w 799"/>
                <a:gd name="T3" fmla="*/ 108 h 1161"/>
                <a:gd name="T4" fmla="*/ 187 w 799"/>
                <a:gd name="T5" fmla="*/ 114 h 1161"/>
                <a:gd name="T6" fmla="*/ 185 w 799"/>
                <a:gd name="T7" fmla="*/ 121 h 1161"/>
                <a:gd name="T8" fmla="*/ 185 w 799"/>
                <a:gd name="T9" fmla="*/ 129 h 1161"/>
                <a:gd name="T10" fmla="*/ 182 w 799"/>
                <a:gd name="T11" fmla="*/ 137 h 1161"/>
                <a:gd name="T12" fmla="*/ 171 w 799"/>
                <a:gd name="T13" fmla="*/ 142 h 1161"/>
                <a:gd name="T14" fmla="*/ 162 w 799"/>
                <a:gd name="T15" fmla="*/ 146 h 1161"/>
                <a:gd name="T16" fmla="*/ 156 w 799"/>
                <a:gd name="T17" fmla="*/ 146 h 1161"/>
                <a:gd name="T18" fmla="*/ 149 w 799"/>
                <a:gd name="T19" fmla="*/ 145 h 1161"/>
                <a:gd name="T20" fmla="*/ 145 w 799"/>
                <a:gd name="T21" fmla="*/ 144 h 1161"/>
                <a:gd name="T22" fmla="*/ 140 w 799"/>
                <a:gd name="T23" fmla="*/ 169 h 1161"/>
                <a:gd name="T24" fmla="*/ 145 w 799"/>
                <a:gd name="T25" fmla="*/ 184 h 1161"/>
                <a:gd name="T26" fmla="*/ 115 w 799"/>
                <a:gd name="T27" fmla="*/ 206 h 1161"/>
                <a:gd name="T28" fmla="*/ 92 w 799"/>
                <a:gd name="T29" fmla="*/ 229 h 1161"/>
                <a:gd name="T30" fmla="*/ 73 w 799"/>
                <a:gd name="T31" fmla="*/ 262 h 1161"/>
                <a:gd name="T32" fmla="*/ 79 w 799"/>
                <a:gd name="T33" fmla="*/ 283 h 1161"/>
                <a:gd name="T34" fmla="*/ 61 w 799"/>
                <a:gd name="T35" fmla="*/ 290 h 1161"/>
                <a:gd name="T36" fmla="*/ 20 w 799"/>
                <a:gd name="T37" fmla="*/ 284 h 1161"/>
                <a:gd name="T38" fmla="*/ 12 w 799"/>
                <a:gd name="T39" fmla="*/ 265 h 1161"/>
                <a:gd name="T40" fmla="*/ 17 w 799"/>
                <a:gd name="T41" fmla="*/ 247 h 1161"/>
                <a:gd name="T42" fmla="*/ 21 w 799"/>
                <a:gd name="T43" fmla="*/ 214 h 1161"/>
                <a:gd name="T44" fmla="*/ 3 w 799"/>
                <a:gd name="T45" fmla="*/ 187 h 1161"/>
                <a:gd name="T46" fmla="*/ 12 w 799"/>
                <a:gd name="T47" fmla="*/ 169 h 1161"/>
                <a:gd name="T48" fmla="*/ 29 w 799"/>
                <a:gd name="T49" fmla="*/ 148 h 1161"/>
                <a:gd name="T50" fmla="*/ 13 w 799"/>
                <a:gd name="T51" fmla="*/ 132 h 1161"/>
                <a:gd name="T52" fmla="*/ 24 w 799"/>
                <a:gd name="T53" fmla="*/ 116 h 1161"/>
                <a:gd name="T54" fmla="*/ 0 w 799"/>
                <a:gd name="T55" fmla="*/ 84 h 1161"/>
                <a:gd name="T56" fmla="*/ 1 w 799"/>
                <a:gd name="T57" fmla="*/ 68 h 1161"/>
                <a:gd name="T58" fmla="*/ 11 w 799"/>
                <a:gd name="T59" fmla="*/ 45 h 1161"/>
                <a:gd name="T60" fmla="*/ 29 w 799"/>
                <a:gd name="T61" fmla="*/ 36 h 1161"/>
                <a:gd name="T62" fmla="*/ 45 w 799"/>
                <a:gd name="T63" fmla="*/ 55 h 1161"/>
                <a:gd name="T64" fmla="*/ 68 w 799"/>
                <a:gd name="T65" fmla="*/ 41 h 1161"/>
                <a:gd name="T66" fmla="*/ 81 w 799"/>
                <a:gd name="T67" fmla="*/ 35 h 1161"/>
                <a:gd name="T68" fmla="*/ 88 w 799"/>
                <a:gd name="T69" fmla="*/ 14 h 1161"/>
                <a:gd name="T70" fmla="*/ 105 w 799"/>
                <a:gd name="T71" fmla="*/ 8 h 1161"/>
                <a:gd name="T72" fmla="*/ 116 w 799"/>
                <a:gd name="T73" fmla="*/ 4 h 1161"/>
                <a:gd name="T74" fmla="*/ 124 w 799"/>
                <a:gd name="T75" fmla="*/ 16 h 1161"/>
                <a:gd name="T76" fmla="*/ 128 w 799"/>
                <a:gd name="T77" fmla="*/ 21 h 1161"/>
                <a:gd name="T78" fmla="*/ 131 w 799"/>
                <a:gd name="T79" fmla="*/ 26 h 1161"/>
                <a:gd name="T80" fmla="*/ 132 w 799"/>
                <a:gd name="T81" fmla="*/ 28 h 1161"/>
                <a:gd name="T82" fmla="*/ 133 w 799"/>
                <a:gd name="T83" fmla="*/ 34 h 1161"/>
                <a:gd name="T84" fmla="*/ 135 w 799"/>
                <a:gd name="T85" fmla="*/ 40 h 1161"/>
                <a:gd name="T86" fmla="*/ 147 w 799"/>
                <a:gd name="T87" fmla="*/ 52 h 1161"/>
                <a:gd name="T88" fmla="*/ 166 w 799"/>
                <a:gd name="T89" fmla="*/ 58 h 1161"/>
                <a:gd name="T90" fmla="*/ 174 w 799"/>
                <a:gd name="T91" fmla="*/ 77 h 1161"/>
                <a:gd name="T92" fmla="*/ 194 w 799"/>
                <a:gd name="T93" fmla="*/ 97 h 1161"/>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799"/>
                <a:gd name="T142" fmla="*/ 0 h 1161"/>
                <a:gd name="T143" fmla="*/ 799 w 799"/>
                <a:gd name="T144" fmla="*/ 1161 h 1161"/>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799" h="1161">
                  <a:moveTo>
                    <a:pt x="799" y="413"/>
                  </a:moveTo>
                  <a:lnTo>
                    <a:pt x="795" y="415"/>
                  </a:lnTo>
                  <a:lnTo>
                    <a:pt x="785" y="423"/>
                  </a:lnTo>
                  <a:lnTo>
                    <a:pt x="773" y="433"/>
                  </a:lnTo>
                  <a:lnTo>
                    <a:pt x="759" y="444"/>
                  </a:lnTo>
                  <a:lnTo>
                    <a:pt x="748" y="458"/>
                  </a:lnTo>
                  <a:lnTo>
                    <a:pt x="740" y="468"/>
                  </a:lnTo>
                  <a:lnTo>
                    <a:pt x="738" y="484"/>
                  </a:lnTo>
                  <a:lnTo>
                    <a:pt x="738" y="499"/>
                  </a:lnTo>
                  <a:lnTo>
                    <a:pt x="738" y="517"/>
                  </a:lnTo>
                  <a:lnTo>
                    <a:pt x="734" y="535"/>
                  </a:lnTo>
                  <a:lnTo>
                    <a:pt x="726" y="549"/>
                  </a:lnTo>
                  <a:lnTo>
                    <a:pt x="706" y="560"/>
                  </a:lnTo>
                  <a:lnTo>
                    <a:pt x="683" y="570"/>
                  </a:lnTo>
                  <a:lnTo>
                    <a:pt x="661" y="578"/>
                  </a:lnTo>
                  <a:lnTo>
                    <a:pt x="645" y="584"/>
                  </a:lnTo>
                  <a:lnTo>
                    <a:pt x="635" y="588"/>
                  </a:lnTo>
                  <a:lnTo>
                    <a:pt x="622" y="586"/>
                  </a:lnTo>
                  <a:lnTo>
                    <a:pt x="608" y="584"/>
                  </a:lnTo>
                  <a:lnTo>
                    <a:pt x="594" y="580"/>
                  </a:lnTo>
                  <a:lnTo>
                    <a:pt x="584" y="576"/>
                  </a:lnTo>
                  <a:lnTo>
                    <a:pt x="580" y="576"/>
                  </a:lnTo>
                  <a:lnTo>
                    <a:pt x="561" y="618"/>
                  </a:lnTo>
                  <a:lnTo>
                    <a:pt x="557" y="679"/>
                  </a:lnTo>
                  <a:lnTo>
                    <a:pt x="568" y="718"/>
                  </a:lnTo>
                  <a:lnTo>
                    <a:pt x="580" y="738"/>
                  </a:lnTo>
                  <a:lnTo>
                    <a:pt x="523" y="822"/>
                  </a:lnTo>
                  <a:lnTo>
                    <a:pt x="458" y="826"/>
                  </a:lnTo>
                  <a:lnTo>
                    <a:pt x="425" y="881"/>
                  </a:lnTo>
                  <a:lnTo>
                    <a:pt x="368" y="919"/>
                  </a:lnTo>
                  <a:lnTo>
                    <a:pt x="344" y="1003"/>
                  </a:lnTo>
                  <a:lnTo>
                    <a:pt x="289" y="1051"/>
                  </a:lnTo>
                  <a:lnTo>
                    <a:pt x="285" y="1088"/>
                  </a:lnTo>
                  <a:lnTo>
                    <a:pt x="316" y="1133"/>
                  </a:lnTo>
                  <a:lnTo>
                    <a:pt x="318" y="1147"/>
                  </a:lnTo>
                  <a:lnTo>
                    <a:pt x="244" y="1161"/>
                  </a:lnTo>
                  <a:lnTo>
                    <a:pt x="139" y="1145"/>
                  </a:lnTo>
                  <a:lnTo>
                    <a:pt x="80" y="1137"/>
                  </a:lnTo>
                  <a:lnTo>
                    <a:pt x="41" y="1100"/>
                  </a:lnTo>
                  <a:lnTo>
                    <a:pt x="45" y="1060"/>
                  </a:lnTo>
                  <a:lnTo>
                    <a:pt x="72" y="1025"/>
                  </a:lnTo>
                  <a:lnTo>
                    <a:pt x="66" y="990"/>
                  </a:lnTo>
                  <a:lnTo>
                    <a:pt x="96" y="929"/>
                  </a:lnTo>
                  <a:lnTo>
                    <a:pt x="82" y="858"/>
                  </a:lnTo>
                  <a:lnTo>
                    <a:pt x="7" y="820"/>
                  </a:lnTo>
                  <a:lnTo>
                    <a:pt x="9" y="749"/>
                  </a:lnTo>
                  <a:lnTo>
                    <a:pt x="41" y="718"/>
                  </a:lnTo>
                  <a:lnTo>
                    <a:pt x="47" y="677"/>
                  </a:lnTo>
                  <a:lnTo>
                    <a:pt x="88" y="665"/>
                  </a:lnTo>
                  <a:lnTo>
                    <a:pt x="114" y="594"/>
                  </a:lnTo>
                  <a:lnTo>
                    <a:pt x="88" y="547"/>
                  </a:lnTo>
                  <a:lnTo>
                    <a:pt x="49" y="529"/>
                  </a:lnTo>
                  <a:lnTo>
                    <a:pt x="53" y="486"/>
                  </a:lnTo>
                  <a:lnTo>
                    <a:pt x="96" y="466"/>
                  </a:lnTo>
                  <a:lnTo>
                    <a:pt x="63" y="419"/>
                  </a:lnTo>
                  <a:lnTo>
                    <a:pt x="0" y="338"/>
                  </a:lnTo>
                  <a:lnTo>
                    <a:pt x="15" y="314"/>
                  </a:lnTo>
                  <a:lnTo>
                    <a:pt x="3" y="273"/>
                  </a:lnTo>
                  <a:lnTo>
                    <a:pt x="35" y="234"/>
                  </a:lnTo>
                  <a:lnTo>
                    <a:pt x="41" y="181"/>
                  </a:lnTo>
                  <a:lnTo>
                    <a:pt x="66" y="143"/>
                  </a:lnTo>
                  <a:lnTo>
                    <a:pt x="114" y="147"/>
                  </a:lnTo>
                  <a:lnTo>
                    <a:pt x="131" y="224"/>
                  </a:lnTo>
                  <a:lnTo>
                    <a:pt x="179" y="220"/>
                  </a:lnTo>
                  <a:lnTo>
                    <a:pt x="230" y="165"/>
                  </a:lnTo>
                  <a:lnTo>
                    <a:pt x="269" y="167"/>
                  </a:lnTo>
                  <a:lnTo>
                    <a:pt x="297" y="131"/>
                  </a:lnTo>
                  <a:lnTo>
                    <a:pt x="324" y="141"/>
                  </a:lnTo>
                  <a:lnTo>
                    <a:pt x="362" y="127"/>
                  </a:lnTo>
                  <a:lnTo>
                    <a:pt x="352" y="59"/>
                  </a:lnTo>
                  <a:lnTo>
                    <a:pt x="387" y="33"/>
                  </a:lnTo>
                  <a:lnTo>
                    <a:pt x="419" y="33"/>
                  </a:lnTo>
                  <a:lnTo>
                    <a:pt x="439" y="0"/>
                  </a:lnTo>
                  <a:lnTo>
                    <a:pt x="464" y="17"/>
                  </a:lnTo>
                  <a:lnTo>
                    <a:pt x="492" y="64"/>
                  </a:lnTo>
                  <a:lnTo>
                    <a:pt x="496" y="66"/>
                  </a:lnTo>
                  <a:lnTo>
                    <a:pt x="502" y="74"/>
                  </a:lnTo>
                  <a:lnTo>
                    <a:pt x="509" y="84"/>
                  </a:lnTo>
                  <a:lnTo>
                    <a:pt x="517" y="94"/>
                  </a:lnTo>
                  <a:lnTo>
                    <a:pt x="523" y="104"/>
                  </a:lnTo>
                  <a:lnTo>
                    <a:pt x="525" y="108"/>
                  </a:lnTo>
                  <a:lnTo>
                    <a:pt x="525" y="114"/>
                  </a:lnTo>
                  <a:lnTo>
                    <a:pt x="527" y="124"/>
                  </a:lnTo>
                  <a:lnTo>
                    <a:pt x="531" y="137"/>
                  </a:lnTo>
                  <a:lnTo>
                    <a:pt x="535" y="151"/>
                  </a:lnTo>
                  <a:lnTo>
                    <a:pt x="539" y="161"/>
                  </a:lnTo>
                  <a:lnTo>
                    <a:pt x="539" y="165"/>
                  </a:lnTo>
                  <a:lnTo>
                    <a:pt x="586" y="208"/>
                  </a:lnTo>
                  <a:lnTo>
                    <a:pt x="653" y="206"/>
                  </a:lnTo>
                  <a:lnTo>
                    <a:pt x="661" y="232"/>
                  </a:lnTo>
                  <a:lnTo>
                    <a:pt x="641" y="291"/>
                  </a:lnTo>
                  <a:lnTo>
                    <a:pt x="696" y="309"/>
                  </a:lnTo>
                  <a:lnTo>
                    <a:pt x="744" y="342"/>
                  </a:lnTo>
                  <a:lnTo>
                    <a:pt x="775" y="389"/>
                  </a:lnTo>
                  <a:lnTo>
                    <a:pt x="799" y="413"/>
                  </a:lnTo>
                  <a:close/>
                </a:path>
              </a:pathLst>
            </a:custGeom>
            <a:grpFill/>
            <a:ln w="0">
              <a:solidFill>
                <a:schemeClr val="bg1"/>
              </a:solidFill>
              <a:prstDash val="solid"/>
              <a:round/>
            </a:ln>
          </p:spPr>
          <p:txBody>
            <a:bodyPr/>
            <a:lstStyle/>
            <a:p>
              <a:endParaRPr lang="zh-CN" altLang="en-US"/>
            </a:p>
          </p:txBody>
        </p:sp>
        <p:sp>
          <p:nvSpPr>
            <p:cNvPr id="51" name="Freeform 94"/>
            <p:cNvSpPr/>
            <p:nvPr/>
          </p:nvSpPr>
          <p:spPr bwMode="gray">
            <a:xfrm>
              <a:off x="3322" y="1838"/>
              <a:ext cx="400" cy="580"/>
            </a:xfrm>
            <a:custGeom>
              <a:avLst/>
              <a:gdLst>
                <a:gd name="T0" fmla="*/ 199 w 799"/>
                <a:gd name="T1" fmla="*/ 103 h 1161"/>
                <a:gd name="T2" fmla="*/ 194 w 799"/>
                <a:gd name="T3" fmla="*/ 108 h 1161"/>
                <a:gd name="T4" fmla="*/ 187 w 799"/>
                <a:gd name="T5" fmla="*/ 114 h 1161"/>
                <a:gd name="T6" fmla="*/ 185 w 799"/>
                <a:gd name="T7" fmla="*/ 121 h 1161"/>
                <a:gd name="T8" fmla="*/ 185 w 799"/>
                <a:gd name="T9" fmla="*/ 129 h 1161"/>
                <a:gd name="T10" fmla="*/ 182 w 799"/>
                <a:gd name="T11" fmla="*/ 137 h 1161"/>
                <a:gd name="T12" fmla="*/ 171 w 799"/>
                <a:gd name="T13" fmla="*/ 142 h 1161"/>
                <a:gd name="T14" fmla="*/ 162 w 799"/>
                <a:gd name="T15" fmla="*/ 146 h 1161"/>
                <a:gd name="T16" fmla="*/ 156 w 799"/>
                <a:gd name="T17" fmla="*/ 146 h 1161"/>
                <a:gd name="T18" fmla="*/ 149 w 799"/>
                <a:gd name="T19" fmla="*/ 145 h 1161"/>
                <a:gd name="T20" fmla="*/ 145 w 799"/>
                <a:gd name="T21" fmla="*/ 144 h 1161"/>
                <a:gd name="T22" fmla="*/ 140 w 799"/>
                <a:gd name="T23" fmla="*/ 169 h 1161"/>
                <a:gd name="T24" fmla="*/ 145 w 799"/>
                <a:gd name="T25" fmla="*/ 184 h 1161"/>
                <a:gd name="T26" fmla="*/ 115 w 799"/>
                <a:gd name="T27" fmla="*/ 206 h 1161"/>
                <a:gd name="T28" fmla="*/ 92 w 799"/>
                <a:gd name="T29" fmla="*/ 229 h 1161"/>
                <a:gd name="T30" fmla="*/ 73 w 799"/>
                <a:gd name="T31" fmla="*/ 262 h 1161"/>
                <a:gd name="T32" fmla="*/ 79 w 799"/>
                <a:gd name="T33" fmla="*/ 283 h 1161"/>
                <a:gd name="T34" fmla="*/ 61 w 799"/>
                <a:gd name="T35" fmla="*/ 290 h 1161"/>
                <a:gd name="T36" fmla="*/ 20 w 799"/>
                <a:gd name="T37" fmla="*/ 284 h 1161"/>
                <a:gd name="T38" fmla="*/ 12 w 799"/>
                <a:gd name="T39" fmla="*/ 265 h 1161"/>
                <a:gd name="T40" fmla="*/ 17 w 799"/>
                <a:gd name="T41" fmla="*/ 247 h 1161"/>
                <a:gd name="T42" fmla="*/ 21 w 799"/>
                <a:gd name="T43" fmla="*/ 214 h 1161"/>
                <a:gd name="T44" fmla="*/ 3 w 799"/>
                <a:gd name="T45" fmla="*/ 187 h 1161"/>
                <a:gd name="T46" fmla="*/ 12 w 799"/>
                <a:gd name="T47" fmla="*/ 169 h 1161"/>
                <a:gd name="T48" fmla="*/ 29 w 799"/>
                <a:gd name="T49" fmla="*/ 148 h 1161"/>
                <a:gd name="T50" fmla="*/ 13 w 799"/>
                <a:gd name="T51" fmla="*/ 132 h 1161"/>
                <a:gd name="T52" fmla="*/ 24 w 799"/>
                <a:gd name="T53" fmla="*/ 116 h 1161"/>
                <a:gd name="T54" fmla="*/ 0 w 799"/>
                <a:gd name="T55" fmla="*/ 84 h 1161"/>
                <a:gd name="T56" fmla="*/ 1 w 799"/>
                <a:gd name="T57" fmla="*/ 68 h 1161"/>
                <a:gd name="T58" fmla="*/ 11 w 799"/>
                <a:gd name="T59" fmla="*/ 45 h 1161"/>
                <a:gd name="T60" fmla="*/ 29 w 799"/>
                <a:gd name="T61" fmla="*/ 36 h 1161"/>
                <a:gd name="T62" fmla="*/ 45 w 799"/>
                <a:gd name="T63" fmla="*/ 55 h 1161"/>
                <a:gd name="T64" fmla="*/ 68 w 799"/>
                <a:gd name="T65" fmla="*/ 41 h 1161"/>
                <a:gd name="T66" fmla="*/ 81 w 799"/>
                <a:gd name="T67" fmla="*/ 35 h 1161"/>
                <a:gd name="T68" fmla="*/ 88 w 799"/>
                <a:gd name="T69" fmla="*/ 14 h 1161"/>
                <a:gd name="T70" fmla="*/ 105 w 799"/>
                <a:gd name="T71" fmla="*/ 8 h 1161"/>
                <a:gd name="T72" fmla="*/ 116 w 799"/>
                <a:gd name="T73" fmla="*/ 4 h 1161"/>
                <a:gd name="T74" fmla="*/ 124 w 799"/>
                <a:gd name="T75" fmla="*/ 16 h 1161"/>
                <a:gd name="T76" fmla="*/ 128 w 799"/>
                <a:gd name="T77" fmla="*/ 21 h 1161"/>
                <a:gd name="T78" fmla="*/ 131 w 799"/>
                <a:gd name="T79" fmla="*/ 26 h 1161"/>
                <a:gd name="T80" fmla="*/ 132 w 799"/>
                <a:gd name="T81" fmla="*/ 28 h 1161"/>
                <a:gd name="T82" fmla="*/ 133 w 799"/>
                <a:gd name="T83" fmla="*/ 34 h 1161"/>
                <a:gd name="T84" fmla="*/ 135 w 799"/>
                <a:gd name="T85" fmla="*/ 40 h 1161"/>
                <a:gd name="T86" fmla="*/ 147 w 799"/>
                <a:gd name="T87" fmla="*/ 52 h 1161"/>
                <a:gd name="T88" fmla="*/ 166 w 799"/>
                <a:gd name="T89" fmla="*/ 58 h 1161"/>
                <a:gd name="T90" fmla="*/ 174 w 799"/>
                <a:gd name="T91" fmla="*/ 77 h 1161"/>
                <a:gd name="T92" fmla="*/ 194 w 799"/>
                <a:gd name="T93" fmla="*/ 97 h 1161"/>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799"/>
                <a:gd name="T142" fmla="*/ 0 h 1161"/>
                <a:gd name="T143" fmla="*/ 799 w 799"/>
                <a:gd name="T144" fmla="*/ 1161 h 1161"/>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799" h="1161">
                  <a:moveTo>
                    <a:pt x="799" y="413"/>
                  </a:moveTo>
                  <a:lnTo>
                    <a:pt x="795" y="415"/>
                  </a:lnTo>
                  <a:lnTo>
                    <a:pt x="785" y="423"/>
                  </a:lnTo>
                  <a:lnTo>
                    <a:pt x="773" y="433"/>
                  </a:lnTo>
                  <a:lnTo>
                    <a:pt x="759" y="444"/>
                  </a:lnTo>
                  <a:lnTo>
                    <a:pt x="748" y="458"/>
                  </a:lnTo>
                  <a:lnTo>
                    <a:pt x="740" y="468"/>
                  </a:lnTo>
                  <a:lnTo>
                    <a:pt x="738" y="484"/>
                  </a:lnTo>
                  <a:lnTo>
                    <a:pt x="738" y="499"/>
                  </a:lnTo>
                  <a:lnTo>
                    <a:pt x="738" y="517"/>
                  </a:lnTo>
                  <a:lnTo>
                    <a:pt x="734" y="535"/>
                  </a:lnTo>
                  <a:lnTo>
                    <a:pt x="726" y="549"/>
                  </a:lnTo>
                  <a:lnTo>
                    <a:pt x="706" y="560"/>
                  </a:lnTo>
                  <a:lnTo>
                    <a:pt x="683" y="570"/>
                  </a:lnTo>
                  <a:lnTo>
                    <a:pt x="661" y="578"/>
                  </a:lnTo>
                  <a:lnTo>
                    <a:pt x="645" y="584"/>
                  </a:lnTo>
                  <a:lnTo>
                    <a:pt x="635" y="588"/>
                  </a:lnTo>
                  <a:lnTo>
                    <a:pt x="622" y="586"/>
                  </a:lnTo>
                  <a:lnTo>
                    <a:pt x="608" y="584"/>
                  </a:lnTo>
                  <a:lnTo>
                    <a:pt x="594" y="580"/>
                  </a:lnTo>
                  <a:lnTo>
                    <a:pt x="584" y="576"/>
                  </a:lnTo>
                  <a:lnTo>
                    <a:pt x="580" y="576"/>
                  </a:lnTo>
                  <a:lnTo>
                    <a:pt x="561" y="618"/>
                  </a:lnTo>
                  <a:lnTo>
                    <a:pt x="557" y="679"/>
                  </a:lnTo>
                  <a:lnTo>
                    <a:pt x="568" y="718"/>
                  </a:lnTo>
                  <a:lnTo>
                    <a:pt x="580" y="738"/>
                  </a:lnTo>
                  <a:lnTo>
                    <a:pt x="523" y="822"/>
                  </a:lnTo>
                  <a:lnTo>
                    <a:pt x="458" y="826"/>
                  </a:lnTo>
                  <a:lnTo>
                    <a:pt x="425" y="881"/>
                  </a:lnTo>
                  <a:lnTo>
                    <a:pt x="368" y="919"/>
                  </a:lnTo>
                  <a:lnTo>
                    <a:pt x="344" y="1003"/>
                  </a:lnTo>
                  <a:lnTo>
                    <a:pt x="289" y="1051"/>
                  </a:lnTo>
                  <a:lnTo>
                    <a:pt x="285" y="1088"/>
                  </a:lnTo>
                  <a:lnTo>
                    <a:pt x="316" y="1133"/>
                  </a:lnTo>
                  <a:lnTo>
                    <a:pt x="318" y="1147"/>
                  </a:lnTo>
                  <a:lnTo>
                    <a:pt x="244" y="1161"/>
                  </a:lnTo>
                  <a:lnTo>
                    <a:pt x="139" y="1145"/>
                  </a:lnTo>
                  <a:lnTo>
                    <a:pt x="80" y="1137"/>
                  </a:lnTo>
                  <a:lnTo>
                    <a:pt x="41" y="1100"/>
                  </a:lnTo>
                  <a:lnTo>
                    <a:pt x="45" y="1060"/>
                  </a:lnTo>
                  <a:lnTo>
                    <a:pt x="72" y="1025"/>
                  </a:lnTo>
                  <a:lnTo>
                    <a:pt x="66" y="990"/>
                  </a:lnTo>
                  <a:lnTo>
                    <a:pt x="96" y="929"/>
                  </a:lnTo>
                  <a:lnTo>
                    <a:pt x="82" y="858"/>
                  </a:lnTo>
                  <a:lnTo>
                    <a:pt x="7" y="820"/>
                  </a:lnTo>
                  <a:lnTo>
                    <a:pt x="9" y="749"/>
                  </a:lnTo>
                  <a:lnTo>
                    <a:pt x="41" y="718"/>
                  </a:lnTo>
                  <a:lnTo>
                    <a:pt x="47" y="677"/>
                  </a:lnTo>
                  <a:lnTo>
                    <a:pt x="88" y="665"/>
                  </a:lnTo>
                  <a:lnTo>
                    <a:pt x="114" y="594"/>
                  </a:lnTo>
                  <a:lnTo>
                    <a:pt x="88" y="547"/>
                  </a:lnTo>
                  <a:lnTo>
                    <a:pt x="49" y="529"/>
                  </a:lnTo>
                  <a:lnTo>
                    <a:pt x="53" y="486"/>
                  </a:lnTo>
                  <a:lnTo>
                    <a:pt x="96" y="466"/>
                  </a:lnTo>
                  <a:lnTo>
                    <a:pt x="63" y="419"/>
                  </a:lnTo>
                  <a:lnTo>
                    <a:pt x="0" y="338"/>
                  </a:lnTo>
                  <a:lnTo>
                    <a:pt x="15" y="314"/>
                  </a:lnTo>
                  <a:lnTo>
                    <a:pt x="3" y="273"/>
                  </a:lnTo>
                  <a:lnTo>
                    <a:pt x="35" y="234"/>
                  </a:lnTo>
                  <a:lnTo>
                    <a:pt x="41" y="181"/>
                  </a:lnTo>
                  <a:lnTo>
                    <a:pt x="66" y="143"/>
                  </a:lnTo>
                  <a:lnTo>
                    <a:pt x="114" y="147"/>
                  </a:lnTo>
                  <a:lnTo>
                    <a:pt x="131" y="224"/>
                  </a:lnTo>
                  <a:lnTo>
                    <a:pt x="179" y="220"/>
                  </a:lnTo>
                  <a:lnTo>
                    <a:pt x="230" y="165"/>
                  </a:lnTo>
                  <a:lnTo>
                    <a:pt x="269" y="167"/>
                  </a:lnTo>
                  <a:lnTo>
                    <a:pt x="297" y="131"/>
                  </a:lnTo>
                  <a:lnTo>
                    <a:pt x="324" y="141"/>
                  </a:lnTo>
                  <a:lnTo>
                    <a:pt x="362" y="127"/>
                  </a:lnTo>
                  <a:lnTo>
                    <a:pt x="352" y="59"/>
                  </a:lnTo>
                  <a:lnTo>
                    <a:pt x="387" y="33"/>
                  </a:lnTo>
                  <a:lnTo>
                    <a:pt x="419" y="33"/>
                  </a:lnTo>
                  <a:lnTo>
                    <a:pt x="439" y="0"/>
                  </a:lnTo>
                  <a:lnTo>
                    <a:pt x="464" y="17"/>
                  </a:lnTo>
                  <a:lnTo>
                    <a:pt x="492" y="64"/>
                  </a:lnTo>
                  <a:lnTo>
                    <a:pt x="496" y="66"/>
                  </a:lnTo>
                  <a:lnTo>
                    <a:pt x="502" y="74"/>
                  </a:lnTo>
                  <a:lnTo>
                    <a:pt x="509" y="84"/>
                  </a:lnTo>
                  <a:lnTo>
                    <a:pt x="517" y="94"/>
                  </a:lnTo>
                  <a:lnTo>
                    <a:pt x="523" y="104"/>
                  </a:lnTo>
                  <a:lnTo>
                    <a:pt x="525" y="108"/>
                  </a:lnTo>
                  <a:lnTo>
                    <a:pt x="525" y="114"/>
                  </a:lnTo>
                  <a:lnTo>
                    <a:pt x="527" y="124"/>
                  </a:lnTo>
                  <a:lnTo>
                    <a:pt x="531" y="137"/>
                  </a:lnTo>
                  <a:lnTo>
                    <a:pt x="535" y="151"/>
                  </a:lnTo>
                  <a:lnTo>
                    <a:pt x="539" y="161"/>
                  </a:lnTo>
                  <a:lnTo>
                    <a:pt x="539" y="165"/>
                  </a:lnTo>
                  <a:lnTo>
                    <a:pt x="586" y="208"/>
                  </a:lnTo>
                  <a:lnTo>
                    <a:pt x="653" y="206"/>
                  </a:lnTo>
                  <a:lnTo>
                    <a:pt x="661" y="232"/>
                  </a:lnTo>
                  <a:lnTo>
                    <a:pt x="641" y="291"/>
                  </a:lnTo>
                  <a:lnTo>
                    <a:pt x="696" y="309"/>
                  </a:lnTo>
                  <a:lnTo>
                    <a:pt x="744" y="342"/>
                  </a:lnTo>
                  <a:lnTo>
                    <a:pt x="775" y="389"/>
                  </a:lnTo>
                  <a:lnTo>
                    <a:pt x="799" y="413"/>
                  </a:lnTo>
                </a:path>
              </a:pathLst>
            </a:custGeom>
            <a:grpFill/>
            <a:ln w="6350">
              <a:solidFill>
                <a:schemeClr val="bg1"/>
              </a:solidFill>
              <a:prstDash val="solid"/>
              <a:round/>
            </a:ln>
          </p:spPr>
          <p:txBody>
            <a:bodyPr/>
            <a:lstStyle/>
            <a:p>
              <a:endParaRPr lang="zh-CN" altLang="en-US"/>
            </a:p>
          </p:txBody>
        </p:sp>
        <p:sp>
          <p:nvSpPr>
            <p:cNvPr id="52" name="Freeform 95"/>
            <p:cNvSpPr/>
            <p:nvPr/>
          </p:nvSpPr>
          <p:spPr bwMode="gray">
            <a:xfrm>
              <a:off x="3440" y="1985"/>
              <a:ext cx="121" cy="140"/>
            </a:xfrm>
            <a:custGeom>
              <a:avLst/>
              <a:gdLst>
                <a:gd name="T0" fmla="*/ 44 w 242"/>
                <a:gd name="T1" fmla="*/ 62 h 279"/>
                <a:gd name="T2" fmla="*/ 35 w 242"/>
                <a:gd name="T3" fmla="*/ 63 h 279"/>
                <a:gd name="T4" fmla="*/ 29 w 242"/>
                <a:gd name="T5" fmla="*/ 70 h 279"/>
                <a:gd name="T6" fmla="*/ 11 w 242"/>
                <a:gd name="T7" fmla="*/ 69 h 279"/>
                <a:gd name="T8" fmla="*/ 1 w 242"/>
                <a:gd name="T9" fmla="*/ 63 h 279"/>
                <a:gd name="T10" fmla="*/ 0 w 242"/>
                <a:gd name="T11" fmla="*/ 45 h 279"/>
                <a:gd name="T12" fmla="*/ 6 w 242"/>
                <a:gd name="T13" fmla="*/ 40 h 279"/>
                <a:gd name="T14" fmla="*/ 11 w 242"/>
                <a:gd name="T15" fmla="*/ 30 h 279"/>
                <a:gd name="T16" fmla="*/ 5 w 242"/>
                <a:gd name="T17" fmla="*/ 27 h 279"/>
                <a:gd name="T18" fmla="*/ 7 w 242"/>
                <a:gd name="T19" fmla="*/ 22 h 279"/>
                <a:gd name="T20" fmla="*/ 14 w 242"/>
                <a:gd name="T21" fmla="*/ 20 h 279"/>
                <a:gd name="T22" fmla="*/ 21 w 242"/>
                <a:gd name="T23" fmla="*/ 10 h 279"/>
                <a:gd name="T24" fmla="*/ 27 w 242"/>
                <a:gd name="T25" fmla="*/ 3 h 279"/>
                <a:gd name="T26" fmla="*/ 33 w 242"/>
                <a:gd name="T27" fmla="*/ 0 h 279"/>
                <a:gd name="T28" fmla="*/ 44 w 242"/>
                <a:gd name="T29" fmla="*/ 13 h 279"/>
                <a:gd name="T30" fmla="*/ 54 w 242"/>
                <a:gd name="T31" fmla="*/ 13 h 279"/>
                <a:gd name="T32" fmla="*/ 58 w 242"/>
                <a:gd name="T33" fmla="*/ 25 h 279"/>
                <a:gd name="T34" fmla="*/ 61 w 242"/>
                <a:gd name="T35" fmla="*/ 35 h 279"/>
                <a:gd name="T36" fmla="*/ 54 w 242"/>
                <a:gd name="T37" fmla="*/ 41 h 279"/>
                <a:gd name="T38" fmla="*/ 54 w 242"/>
                <a:gd name="T39" fmla="*/ 54 h 279"/>
                <a:gd name="T40" fmla="*/ 44 w 242"/>
                <a:gd name="T41" fmla="*/ 62 h 279"/>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42"/>
                <a:gd name="T64" fmla="*/ 0 h 279"/>
                <a:gd name="T65" fmla="*/ 242 w 242"/>
                <a:gd name="T66" fmla="*/ 279 h 279"/>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42" h="279">
                  <a:moveTo>
                    <a:pt x="173" y="248"/>
                  </a:moveTo>
                  <a:lnTo>
                    <a:pt x="140" y="250"/>
                  </a:lnTo>
                  <a:lnTo>
                    <a:pt x="116" y="279"/>
                  </a:lnTo>
                  <a:lnTo>
                    <a:pt x="41" y="273"/>
                  </a:lnTo>
                  <a:lnTo>
                    <a:pt x="2" y="250"/>
                  </a:lnTo>
                  <a:lnTo>
                    <a:pt x="0" y="179"/>
                  </a:lnTo>
                  <a:lnTo>
                    <a:pt x="21" y="159"/>
                  </a:lnTo>
                  <a:lnTo>
                    <a:pt x="41" y="118"/>
                  </a:lnTo>
                  <a:lnTo>
                    <a:pt x="17" y="106"/>
                  </a:lnTo>
                  <a:lnTo>
                    <a:pt x="25" y="86"/>
                  </a:lnTo>
                  <a:lnTo>
                    <a:pt x="53" y="80"/>
                  </a:lnTo>
                  <a:lnTo>
                    <a:pt x="82" y="39"/>
                  </a:lnTo>
                  <a:lnTo>
                    <a:pt x="106" y="12"/>
                  </a:lnTo>
                  <a:lnTo>
                    <a:pt x="132" y="0"/>
                  </a:lnTo>
                  <a:lnTo>
                    <a:pt x="175" y="49"/>
                  </a:lnTo>
                  <a:lnTo>
                    <a:pt x="216" y="49"/>
                  </a:lnTo>
                  <a:lnTo>
                    <a:pt x="230" y="100"/>
                  </a:lnTo>
                  <a:lnTo>
                    <a:pt x="242" y="139"/>
                  </a:lnTo>
                  <a:lnTo>
                    <a:pt x="216" y="163"/>
                  </a:lnTo>
                  <a:lnTo>
                    <a:pt x="214" y="214"/>
                  </a:lnTo>
                  <a:lnTo>
                    <a:pt x="173" y="248"/>
                  </a:lnTo>
                  <a:close/>
                </a:path>
              </a:pathLst>
            </a:custGeom>
            <a:grpFill/>
            <a:ln w="0">
              <a:solidFill>
                <a:schemeClr val="bg1"/>
              </a:solidFill>
              <a:prstDash val="solid"/>
              <a:round/>
            </a:ln>
          </p:spPr>
          <p:txBody>
            <a:bodyPr/>
            <a:lstStyle/>
            <a:p>
              <a:endParaRPr lang="zh-CN" altLang="en-US"/>
            </a:p>
          </p:txBody>
        </p:sp>
        <p:sp>
          <p:nvSpPr>
            <p:cNvPr id="53" name="Freeform 96"/>
            <p:cNvSpPr/>
            <p:nvPr/>
          </p:nvSpPr>
          <p:spPr bwMode="gray">
            <a:xfrm>
              <a:off x="3440" y="1985"/>
              <a:ext cx="121" cy="140"/>
            </a:xfrm>
            <a:custGeom>
              <a:avLst/>
              <a:gdLst>
                <a:gd name="T0" fmla="*/ 44 w 242"/>
                <a:gd name="T1" fmla="*/ 62 h 279"/>
                <a:gd name="T2" fmla="*/ 35 w 242"/>
                <a:gd name="T3" fmla="*/ 63 h 279"/>
                <a:gd name="T4" fmla="*/ 29 w 242"/>
                <a:gd name="T5" fmla="*/ 70 h 279"/>
                <a:gd name="T6" fmla="*/ 11 w 242"/>
                <a:gd name="T7" fmla="*/ 69 h 279"/>
                <a:gd name="T8" fmla="*/ 1 w 242"/>
                <a:gd name="T9" fmla="*/ 63 h 279"/>
                <a:gd name="T10" fmla="*/ 0 w 242"/>
                <a:gd name="T11" fmla="*/ 45 h 279"/>
                <a:gd name="T12" fmla="*/ 6 w 242"/>
                <a:gd name="T13" fmla="*/ 40 h 279"/>
                <a:gd name="T14" fmla="*/ 11 w 242"/>
                <a:gd name="T15" fmla="*/ 30 h 279"/>
                <a:gd name="T16" fmla="*/ 5 w 242"/>
                <a:gd name="T17" fmla="*/ 27 h 279"/>
                <a:gd name="T18" fmla="*/ 7 w 242"/>
                <a:gd name="T19" fmla="*/ 22 h 279"/>
                <a:gd name="T20" fmla="*/ 14 w 242"/>
                <a:gd name="T21" fmla="*/ 20 h 279"/>
                <a:gd name="T22" fmla="*/ 21 w 242"/>
                <a:gd name="T23" fmla="*/ 10 h 279"/>
                <a:gd name="T24" fmla="*/ 27 w 242"/>
                <a:gd name="T25" fmla="*/ 3 h 279"/>
                <a:gd name="T26" fmla="*/ 33 w 242"/>
                <a:gd name="T27" fmla="*/ 0 h 279"/>
                <a:gd name="T28" fmla="*/ 44 w 242"/>
                <a:gd name="T29" fmla="*/ 13 h 279"/>
                <a:gd name="T30" fmla="*/ 54 w 242"/>
                <a:gd name="T31" fmla="*/ 13 h 279"/>
                <a:gd name="T32" fmla="*/ 58 w 242"/>
                <a:gd name="T33" fmla="*/ 25 h 279"/>
                <a:gd name="T34" fmla="*/ 61 w 242"/>
                <a:gd name="T35" fmla="*/ 35 h 279"/>
                <a:gd name="T36" fmla="*/ 54 w 242"/>
                <a:gd name="T37" fmla="*/ 41 h 279"/>
                <a:gd name="T38" fmla="*/ 54 w 242"/>
                <a:gd name="T39" fmla="*/ 54 h 279"/>
                <a:gd name="T40" fmla="*/ 44 w 242"/>
                <a:gd name="T41" fmla="*/ 62 h 279"/>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42"/>
                <a:gd name="T64" fmla="*/ 0 h 279"/>
                <a:gd name="T65" fmla="*/ 242 w 242"/>
                <a:gd name="T66" fmla="*/ 279 h 279"/>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42" h="279">
                  <a:moveTo>
                    <a:pt x="173" y="248"/>
                  </a:moveTo>
                  <a:lnTo>
                    <a:pt x="140" y="250"/>
                  </a:lnTo>
                  <a:lnTo>
                    <a:pt x="116" y="279"/>
                  </a:lnTo>
                  <a:lnTo>
                    <a:pt x="41" y="273"/>
                  </a:lnTo>
                  <a:lnTo>
                    <a:pt x="2" y="250"/>
                  </a:lnTo>
                  <a:lnTo>
                    <a:pt x="0" y="179"/>
                  </a:lnTo>
                  <a:lnTo>
                    <a:pt x="21" y="159"/>
                  </a:lnTo>
                  <a:lnTo>
                    <a:pt x="41" y="118"/>
                  </a:lnTo>
                  <a:lnTo>
                    <a:pt x="17" y="106"/>
                  </a:lnTo>
                  <a:lnTo>
                    <a:pt x="25" y="86"/>
                  </a:lnTo>
                  <a:lnTo>
                    <a:pt x="53" y="80"/>
                  </a:lnTo>
                  <a:lnTo>
                    <a:pt x="82" y="39"/>
                  </a:lnTo>
                  <a:lnTo>
                    <a:pt x="106" y="12"/>
                  </a:lnTo>
                  <a:lnTo>
                    <a:pt x="132" y="0"/>
                  </a:lnTo>
                  <a:lnTo>
                    <a:pt x="175" y="49"/>
                  </a:lnTo>
                  <a:lnTo>
                    <a:pt x="216" y="49"/>
                  </a:lnTo>
                  <a:lnTo>
                    <a:pt x="230" y="100"/>
                  </a:lnTo>
                  <a:lnTo>
                    <a:pt x="242" y="139"/>
                  </a:lnTo>
                  <a:lnTo>
                    <a:pt x="216" y="163"/>
                  </a:lnTo>
                  <a:lnTo>
                    <a:pt x="214" y="214"/>
                  </a:lnTo>
                  <a:lnTo>
                    <a:pt x="173" y="248"/>
                  </a:lnTo>
                </a:path>
              </a:pathLst>
            </a:custGeom>
            <a:grpFill/>
            <a:ln w="6350">
              <a:solidFill>
                <a:schemeClr val="bg1"/>
              </a:solidFill>
              <a:prstDash val="solid"/>
              <a:round/>
            </a:ln>
          </p:spPr>
          <p:txBody>
            <a:bodyPr/>
            <a:lstStyle/>
            <a:p>
              <a:endParaRPr lang="zh-CN" altLang="en-US"/>
            </a:p>
          </p:txBody>
        </p:sp>
        <p:sp>
          <p:nvSpPr>
            <p:cNvPr id="54" name="Freeform 97"/>
            <p:cNvSpPr/>
            <p:nvPr/>
          </p:nvSpPr>
          <p:spPr bwMode="gray">
            <a:xfrm>
              <a:off x="3527" y="2070"/>
              <a:ext cx="86" cy="115"/>
            </a:xfrm>
            <a:custGeom>
              <a:avLst/>
              <a:gdLst>
                <a:gd name="T0" fmla="*/ 2 w 171"/>
                <a:gd name="T1" fmla="*/ 36 h 230"/>
                <a:gd name="T2" fmla="*/ 1 w 171"/>
                <a:gd name="T3" fmla="*/ 47 h 230"/>
                <a:gd name="T4" fmla="*/ 8 w 171"/>
                <a:gd name="T5" fmla="*/ 56 h 230"/>
                <a:gd name="T6" fmla="*/ 24 w 171"/>
                <a:gd name="T7" fmla="*/ 58 h 230"/>
                <a:gd name="T8" fmla="*/ 37 w 171"/>
                <a:gd name="T9" fmla="*/ 54 h 230"/>
                <a:gd name="T10" fmla="*/ 38 w 171"/>
                <a:gd name="T11" fmla="*/ 39 h 230"/>
                <a:gd name="T12" fmla="*/ 43 w 171"/>
                <a:gd name="T13" fmla="*/ 27 h 230"/>
                <a:gd name="T14" fmla="*/ 41 w 171"/>
                <a:gd name="T15" fmla="*/ 20 h 230"/>
                <a:gd name="T16" fmla="*/ 35 w 171"/>
                <a:gd name="T17" fmla="*/ 15 h 230"/>
                <a:gd name="T18" fmla="*/ 25 w 171"/>
                <a:gd name="T19" fmla="*/ 9 h 230"/>
                <a:gd name="T20" fmla="*/ 25 w 171"/>
                <a:gd name="T21" fmla="*/ 1 h 230"/>
                <a:gd name="T22" fmla="*/ 12 w 171"/>
                <a:gd name="T23" fmla="*/ 0 h 230"/>
                <a:gd name="T24" fmla="*/ 11 w 171"/>
                <a:gd name="T25" fmla="*/ 12 h 230"/>
                <a:gd name="T26" fmla="*/ 0 w 171"/>
                <a:gd name="T27" fmla="*/ 20 h 230"/>
                <a:gd name="T28" fmla="*/ 2 w 171"/>
                <a:gd name="T29" fmla="*/ 36 h 23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71"/>
                <a:gd name="T46" fmla="*/ 0 h 230"/>
                <a:gd name="T47" fmla="*/ 171 w 171"/>
                <a:gd name="T48" fmla="*/ 230 h 23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71" h="230">
                  <a:moveTo>
                    <a:pt x="8" y="144"/>
                  </a:moveTo>
                  <a:lnTo>
                    <a:pt x="4" y="185"/>
                  </a:lnTo>
                  <a:lnTo>
                    <a:pt x="31" y="224"/>
                  </a:lnTo>
                  <a:lnTo>
                    <a:pt x="96" y="230"/>
                  </a:lnTo>
                  <a:lnTo>
                    <a:pt x="148" y="215"/>
                  </a:lnTo>
                  <a:lnTo>
                    <a:pt x="152" y="154"/>
                  </a:lnTo>
                  <a:lnTo>
                    <a:pt x="171" y="108"/>
                  </a:lnTo>
                  <a:lnTo>
                    <a:pt x="163" y="79"/>
                  </a:lnTo>
                  <a:lnTo>
                    <a:pt x="138" y="59"/>
                  </a:lnTo>
                  <a:lnTo>
                    <a:pt x="98" y="35"/>
                  </a:lnTo>
                  <a:lnTo>
                    <a:pt x="98" y="4"/>
                  </a:lnTo>
                  <a:lnTo>
                    <a:pt x="45" y="0"/>
                  </a:lnTo>
                  <a:lnTo>
                    <a:pt x="41" y="45"/>
                  </a:lnTo>
                  <a:lnTo>
                    <a:pt x="0" y="79"/>
                  </a:lnTo>
                  <a:lnTo>
                    <a:pt x="8" y="144"/>
                  </a:lnTo>
                  <a:close/>
                </a:path>
              </a:pathLst>
            </a:custGeom>
            <a:grpFill/>
            <a:ln w="0">
              <a:solidFill>
                <a:schemeClr val="bg1"/>
              </a:solidFill>
              <a:prstDash val="solid"/>
              <a:round/>
            </a:ln>
          </p:spPr>
          <p:txBody>
            <a:bodyPr/>
            <a:lstStyle/>
            <a:p>
              <a:endParaRPr lang="zh-CN" altLang="en-US"/>
            </a:p>
          </p:txBody>
        </p:sp>
        <p:sp>
          <p:nvSpPr>
            <p:cNvPr id="55" name="Freeform 98"/>
            <p:cNvSpPr/>
            <p:nvPr/>
          </p:nvSpPr>
          <p:spPr bwMode="gray">
            <a:xfrm>
              <a:off x="3527" y="2070"/>
              <a:ext cx="86" cy="115"/>
            </a:xfrm>
            <a:custGeom>
              <a:avLst/>
              <a:gdLst>
                <a:gd name="T0" fmla="*/ 2 w 171"/>
                <a:gd name="T1" fmla="*/ 36 h 230"/>
                <a:gd name="T2" fmla="*/ 1 w 171"/>
                <a:gd name="T3" fmla="*/ 47 h 230"/>
                <a:gd name="T4" fmla="*/ 8 w 171"/>
                <a:gd name="T5" fmla="*/ 56 h 230"/>
                <a:gd name="T6" fmla="*/ 24 w 171"/>
                <a:gd name="T7" fmla="*/ 58 h 230"/>
                <a:gd name="T8" fmla="*/ 37 w 171"/>
                <a:gd name="T9" fmla="*/ 54 h 230"/>
                <a:gd name="T10" fmla="*/ 38 w 171"/>
                <a:gd name="T11" fmla="*/ 39 h 230"/>
                <a:gd name="T12" fmla="*/ 43 w 171"/>
                <a:gd name="T13" fmla="*/ 27 h 230"/>
                <a:gd name="T14" fmla="*/ 41 w 171"/>
                <a:gd name="T15" fmla="*/ 20 h 230"/>
                <a:gd name="T16" fmla="*/ 35 w 171"/>
                <a:gd name="T17" fmla="*/ 15 h 230"/>
                <a:gd name="T18" fmla="*/ 25 w 171"/>
                <a:gd name="T19" fmla="*/ 9 h 230"/>
                <a:gd name="T20" fmla="*/ 25 w 171"/>
                <a:gd name="T21" fmla="*/ 1 h 230"/>
                <a:gd name="T22" fmla="*/ 12 w 171"/>
                <a:gd name="T23" fmla="*/ 0 h 230"/>
                <a:gd name="T24" fmla="*/ 11 w 171"/>
                <a:gd name="T25" fmla="*/ 12 h 230"/>
                <a:gd name="T26" fmla="*/ 0 w 171"/>
                <a:gd name="T27" fmla="*/ 20 h 230"/>
                <a:gd name="T28" fmla="*/ 2 w 171"/>
                <a:gd name="T29" fmla="*/ 36 h 23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71"/>
                <a:gd name="T46" fmla="*/ 0 h 230"/>
                <a:gd name="T47" fmla="*/ 171 w 171"/>
                <a:gd name="T48" fmla="*/ 230 h 23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71" h="230">
                  <a:moveTo>
                    <a:pt x="8" y="144"/>
                  </a:moveTo>
                  <a:lnTo>
                    <a:pt x="4" y="185"/>
                  </a:lnTo>
                  <a:lnTo>
                    <a:pt x="31" y="224"/>
                  </a:lnTo>
                  <a:lnTo>
                    <a:pt x="96" y="230"/>
                  </a:lnTo>
                  <a:lnTo>
                    <a:pt x="148" y="215"/>
                  </a:lnTo>
                  <a:lnTo>
                    <a:pt x="152" y="154"/>
                  </a:lnTo>
                  <a:lnTo>
                    <a:pt x="171" y="108"/>
                  </a:lnTo>
                  <a:lnTo>
                    <a:pt x="163" y="79"/>
                  </a:lnTo>
                  <a:lnTo>
                    <a:pt x="138" y="59"/>
                  </a:lnTo>
                  <a:lnTo>
                    <a:pt x="98" y="35"/>
                  </a:lnTo>
                  <a:lnTo>
                    <a:pt x="98" y="4"/>
                  </a:lnTo>
                  <a:lnTo>
                    <a:pt x="45" y="0"/>
                  </a:lnTo>
                  <a:lnTo>
                    <a:pt x="41" y="45"/>
                  </a:lnTo>
                  <a:lnTo>
                    <a:pt x="0" y="79"/>
                  </a:lnTo>
                  <a:lnTo>
                    <a:pt x="8" y="144"/>
                  </a:lnTo>
                </a:path>
              </a:pathLst>
            </a:custGeom>
            <a:grpFill/>
            <a:ln w="6350">
              <a:solidFill>
                <a:schemeClr val="bg1"/>
              </a:solidFill>
              <a:prstDash val="solid"/>
              <a:round/>
            </a:ln>
          </p:spPr>
          <p:txBody>
            <a:bodyPr/>
            <a:lstStyle/>
            <a:p>
              <a:endParaRPr lang="zh-CN" altLang="en-US"/>
            </a:p>
          </p:txBody>
        </p:sp>
        <p:sp>
          <p:nvSpPr>
            <p:cNvPr id="56" name="Freeform 99"/>
            <p:cNvSpPr/>
            <p:nvPr/>
          </p:nvSpPr>
          <p:spPr bwMode="gray">
            <a:xfrm>
              <a:off x="3643" y="1699"/>
              <a:ext cx="430" cy="429"/>
            </a:xfrm>
            <a:custGeom>
              <a:avLst/>
              <a:gdLst>
                <a:gd name="T0" fmla="*/ 182 w 860"/>
                <a:gd name="T1" fmla="*/ 145 h 858"/>
                <a:gd name="T2" fmla="*/ 179 w 860"/>
                <a:gd name="T3" fmla="*/ 149 h 858"/>
                <a:gd name="T4" fmla="*/ 174 w 860"/>
                <a:gd name="T5" fmla="*/ 152 h 858"/>
                <a:gd name="T6" fmla="*/ 166 w 860"/>
                <a:gd name="T7" fmla="*/ 154 h 858"/>
                <a:gd name="T8" fmla="*/ 156 w 860"/>
                <a:gd name="T9" fmla="*/ 157 h 858"/>
                <a:gd name="T10" fmla="*/ 149 w 860"/>
                <a:gd name="T11" fmla="*/ 163 h 858"/>
                <a:gd name="T12" fmla="*/ 140 w 860"/>
                <a:gd name="T13" fmla="*/ 170 h 858"/>
                <a:gd name="T14" fmla="*/ 133 w 860"/>
                <a:gd name="T15" fmla="*/ 176 h 858"/>
                <a:gd name="T16" fmla="*/ 129 w 860"/>
                <a:gd name="T17" fmla="*/ 180 h 858"/>
                <a:gd name="T18" fmla="*/ 123 w 860"/>
                <a:gd name="T19" fmla="*/ 186 h 858"/>
                <a:gd name="T20" fmla="*/ 119 w 860"/>
                <a:gd name="T21" fmla="*/ 194 h 858"/>
                <a:gd name="T22" fmla="*/ 113 w 860"/>
                <a:gd name="T23" fmla="*/ 201 h 858"/>
                <a:gd name="T24" fmla="*/ 107 w 860"/>
                <a:gd name="T25" fmla="*/ 204 h 858"/>
                <a:gd name="T26" fmla="*/ 103 w 860"/>
                <a:gd name="T27" fmla="*/ 208 h 858"/>
                <a:gd name="T28" fmla="*/ 95 w 860"/>
                <a:gd name="T29" fmla="*/ 213 h 858"/>
                <a:gd name="T30" fmla="*/ 89 w 860"/>
                <a:gd name="T31" fmla="*/ 215 h 858"/>
                <a:gd name="T32" fmla="*/ 88 w 860"/>
                <a:gd name="T33" fmla="*/ 210 h 858"/>
                <a:gd name="T34" fmla="*/ 92 w 860"/>
                <a:gd name="T35" fmla="*/ 204 h 858"/>
                <a:gd name="T36" fmla="*/ 98 w 860"/>
                <a:gd name="T37" fmla="*/ 198 h 858"/>
                <a:gd name="T38" fmla="*/ 103 w 860"/>
                <a:gd name="T39" fmla="*/ 191 h 858"/>
                <a:gd name="T40" fmla="*/ 101 w 860"/>
                <a:gd name="T41" fmla="*/ 187 h 858"/>
                <a:gd name="T42" fmla="*/ 95 w 860"/>
                <a:gd name="T43" fmla="*/ 184 h 858"/>
                <a:gd name="T44" fmla="*/ 91 w 860"/>
                <a:gd name="T45" fmla="*/ 179 h 858"/>
                <a:gd name="T46" fmla="*/ 93 w 860"/>
                <a:gd name="T47" fmla="*/ 170 h 858"/>
                <a:gd name="T48" fmla="*/ 100 w 860"/>
                <a:gd name="T49" fmla="*/ 159 h 858"/>
                <a:gd name="T50" fmla="*/ 107 w 860"/>
                <a:gd name="T51" fmla="*/ 148 h 858"/>
                <a:gd name="T52" fmla="*/ 110 w 860"/>
                <a:gd name="T53" fmla="*/ 140 h 858"/>
                <a:gd name="T54" fmla="*/ 110 w 860"/>
                <a:gd name="T55" fmla="*/ 135 h 858"/>
                <a:gd name="T56" fmla="*/ 105 w 860"/>
                <a:gd name="T57" fmla="*/ 129 h 858"/>
                <a:gd name="T58" fmla="*/ 99 w 860"/>
                <a:gd name="T59" fmla="*/ 123 h 858"/>
                <a:gd name="T60" fmla="*/ 94 w 860"/>
                <a:gd name="T61" fmla="*/ 122 h 858"/>
                <a:gd name="T62" fmla="*/ 87 w 860"/>
                <a:gd name="T63" fmla="*/ 123 h 858"/>
                <a:gd name="T64" fmla="*/ 78 w 860"/>
                <a:gd name="T65" fmla="*/ 123 h 858"/>
                <a:gd name="T66" fmla="*/ 74 w 860"/>
                <a:gd name="T67" fmla="*/ 124 h 858"/>
                <a:gd name="T68" fmla="*/ 70 w 860"/>
                <a:gd name="T69" fmla="*/ 134 h 858"/>
                <a:gd name="T70" fmla="*/ 66 w 860"/>
                <a:gd name="T71" fmla="*/ 145 h 858"/>
                <a:gd name="T72" fmla="*/ 60 w 860"/>
                <a:gd name="T73" fmla="*/ 152 h 858"/>
                <a:gd name="T74" fmla="*/ 53 w 860"/>
                <a:gd name="T75" fmla="*/ 163 h 858"/>
                <a:gd name="T76" fmla="*/ 46 w 860"/>
                <a:gd name="T77" fmla="*/ 169 h 858"/>
                <a:gd name="T78" fmla="*/ 41 w 860"/>
                <a:gd name="T79" fmla="*/ 172 h 858"/>
                <a:gd name="T80" fmla="*/ 34 w 860"/>
                <a:gd name="T81" fmla="*/ 167 h 858"/>
                <a:gd name="T82" fmla="*/ 14 w 860"/>
                <a:gd name="T83" fmla="*/ 147 h 858"/>
                <a:gd name="T84" fmla="*/ 5 w 860"/>
                <a:gd name="T85" fmla="*/ 127 h 858"/>
                <a:gd name="T86" fmla="*/ 7 w 860"/>
                <a:gd name="T87" fmla="*/ 101 h 858"/>
                <a:gd name="T88" fmla="*/ 3 w 860"/>
                <a:gd name="T89" fmla="*/ 79 h 858"/>
                <a:gd name="T90" fmla="*/ 21 w 860"/>
                <a:gd name="T91" fmla="*/ 80 h 858"/>
                <a:gd name="T92" fmla="*/ 43 w 860"/>
                <a:gd name="T93" fmla="*/ 78 h 858"/>
                <a:gd name="T94" fmla="*/ 69 w 860"/>
                <a:gd name="T95" fmla="*/ 53 h 858"/>
                <a:gd name="T96" fmla="*/ 94 w 860"/>
                <a:gd name="T97" fmla="*/ 44 h 858"/>
                <a:gd name="T98" fmla="*/ 108 w 860"/>
                <a:gd name="T99" fmla="*/ 37 h 858"/>
                <a:gd name="T100" fmla="*/ 131 w 860"/>
                <a:gd name="T101" fmla="*/ 12 h 858"/>
                <a:gd name="T102" fmla="*/ 149 w 860"/>
                <a:gd name="T103" fmla="*/ 6 h 858"/>
                <a:gd name="T104" fmla="*/ 182 w 860"/>
                <a:gd name="T105" fmla="*/ 30 h 858"/>
                <a:gd name="T106" fmla="*/ 194 w 860"/>
                <a:gd name="T107" fmla="*/ 60 h 858"/>
                <a:gd name="T108" fmla="*/ 215 w 860"/>
                <a:gd name="T109" fmla="*/ 101 h 858"/>
                <a:gd name="T110" fmla="*/ 183 w 860"/>
                <a:gd name="T111" fmla="*/ 134 h 85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860"/>
                <a:gd name="T169" fmla="*/ 0 h 858"/>
                <a:gd name="T170" fmla="*/ 860 w 860"/>
                <a:gd name="T171" fmla="*/ 858 h 858"/>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860" h="858">
                  <a:moveTo>
                    <a:pt x="725" y="575"/>
                  </a:moveTo>
                  <a:lnTo>
                    <a:pt x="725" y="579"/>
                  </a:lnTo>
                  <a:lnTo>
                    <a:pt x="719" y="585"/>
                  </a:lnTo>
                  <a:lnTo>
                    <a:pt x="713" y="594"/>
                  </a:lnTo>
                  <a:lnTo>
                    <a:pt x="705" y="604"/>
                  </a:lnTo>
                  <a:lnTo>
                    <a:pt x="695" y="608"/>
                  </a:lnTo>
                  <a:lnTo>
                    <a:pt x="681" y="610"/>
                  </a:lnTo>
                  <a:lnTo>
                    <a:pt x="664" y="614"/>
                  </a:lnTo>
                  <a:lnTo>
                    <a:pt x="642" y="618"/>
                  </a:lnTo>
                  <a:lnTo>
                    <a:pt x="622" y="626"/>
                  </a:lnTo>
                  <a:lnTo>
                    <a:pt x="607" y="638"/>
                  </a:lnTo>
                  <a:lnTo>
                    <a:pt x="593" y="651"/>
                  </a:lnTo>
                  <a:lnTo>
                    <a:pt x="577" y="665"/>
                  </a:lnTo>
                  <a:lnTo>
                    <a:pt x="559" y="679"/>
                  </a:lnTo>
                  <a:lnTo>
                    <a:pt x="544" y="693"/>
                  </a:lnTo>
                  <a:lnTo>
                    <a:pt x="530" y="703"/>
                  </a:lnTo>
                  <a:lnTo>
                    <a:pt x="522" y="711"/>
                  </a:lnTo>
                  <a:lnTo>
                    <a:pt x="514" y="718"/>
                  </a:lnTo>
                  <a:lnTo>
                    <a:pt x="502" y="730"/>
                  </a:lnTo>
                  <a:lnTo>
                    <a:pt x="492" y="744"/>
                  </a:lnTo>
                  <a:lnTo>
                    <a:pt x="481" y="760"/>
                  </a:lnTo>
                  <a:lnTo>
                    <a:pt x="475" y="774"/>
                  </a:lnTo>
                  <a:lnTo>
                    <a:pt x="465" y="789"/>
                  </a:lnTo>
                  <a:lnTo>
                    <a:pt x="451" y="801"/>
                  </a:lnTo>
                  <a:lnTo>
                    <a:pt x="437" y="809"/>
                  </a:lnTo>
                  <a:lnTo>
                    <a:pt x="427" y="815"/>
                  </a:lnTo>
                  <a:lnTo>
                    <a:pt x="422" y="823"/>
                  </a:lnTo>
                  <a:lnTo>
                    <a:pt x="410" y="831"/>
                  </a:lnTo>
                  <a:lnTo>
                    <a:pt x="394" y="840"/>
                  </a:lnTo>
                  <a:lnTo>
                    <a:pt x="380" y="850"/>
                  </a:lnTo>
                  <a:lnTo>
                    <a:pt x="364" y="856"/>
                  </a:lnTo>
                  <a:lnTo>
                    <a:pt x="355" y="858"/>
                  </a:lnTo>
                  <a:lnTo>
                    <a:pt x="349" y="854"/>
                  </a:lnTo>
                  <a:lnTo>
                    <a:pt x="349" y="838"/>
                  </a:lnTo>
                  <a:lnTo>
                    <a:pt x="355" y="827"/>
                  </a:lnTo>
                  <a:lnTo>
                    <a:pt x="366" y="815"/>
                  </a:lnTo>
                  <a:lnTo>
                    <a:pt x="380" y="801"/>
                  </a:lnTo>
                  <a:lnTo>
                    <a:pt x="392" y="789"/>
                  </a:lnTo>
                  <a:lnTo>
                    <a:pt x="404" y="775"/>
                  </a:lnTo>
                  <a:lnTo>
                    <a:pt x="410" y="764"/>
                  </a:lnTo>
                  <a:lnTo>
                    <a:pt x="410" y="754"/>
                  </a:lnTo>
                  <a:lnTo>
                    <a:pt x="404" y="748"/>
                  </a:lnTo>
                  <a:lnTo>
                    <a:pt x="392" y="742"/>
                  </a:lnTo>
                  <a:lnTo>
                    <a:pt x="380" y="734"/>
                  </a:lnTo>
                  <a:lnTo>
                    <a:pt x="370" y="726"/>
                  </a:lnTo>
                  <a:lnTo>
                    <a:pt x="364" y="716"/>
                  </a:lnTo>
                  <a:lnTo>
                    <a:pt x="364" y="699"/>
                  </a:lnTo>
                  <a:lnTo>
                    <a:pt x="372" y="679"/>
                  </a:lnTo>
                  <a:lnTo>
                    <a:pt x="382" y="661"/>
                  </a:lnTo>
                  <a:lnTo>
                    <a:pt x="400" y="636"/>
                  </a:lnTo>
                  <a:lnTo>
                    <a:pt x="418" y="608"/>
                  </a:lnTo>
                  <a:lnTo>
                    <a:pt x="425" y="592"/>
                  </a:lnTo>
                  <a:lnTo>
                    <a:pt x="433" y="575"/>
                  </a:lnTo>
                  <a:lnTo>
                    <a:pt x="441" y="559"/>
                  </a:lnTo>
                  <a:lnTo>
                    <a:pt x="443" y="547"/>
                  </a:lnTo>
                  <a:lnTo>
                    <a:pt x="439" y="537"/>
                  </a:lnTo>
                  <a:lnTo>
                    <a:pt x="429" y="526"/>
                  </a:lnTo>
                  <a:lnTo>
                    <a:pt x="418" y="514"/>
                  </a:lnTo>
                  <a:lnTo>
                    <a:pt x="404" y="502"/>
                  </a:lnTo>
                  <a:lnTo>
                    <a:pt x="394" y="494"/>
                  </a:lnTo>
                  <a:lnTo>
                    <a:pt x="384" y="490"/>
                  </a:lnTo>
                  <a:lnTo>
                    <a:pt x="374" y="490"/>
                  </a:lnTo>
                  <a:lnTo>
                    <a:pt x="362" y="492"/>
                  </a:lnTo>
                  <a:lnTo>
                    <a:pt x="345" y="494"/>
                  </a:lnTo>
                  <a:lnTo>
                    <a:pt x="325" y="494"/>
                  </a:lnTo>
                  <a:lnTo>
                    <a:pt x="311" y="492"/>
                  </a:lnTo>
                  <a:lnTo>
                    <a:pt x="301" y="492"/>
                  </a:lnTo>
                  <a:lnTo>
                    <a:pt x="294" y="498"/>
                  </a:lnTo>
                  <a:lnTo>
                    <a:pt x="286" y="512"/>
                  </a:lnTo>
                  <a:lnTo>
                    <a:pt x="280" y="533"/>
                  </a:lnTo>
                  <a:lnTo>
                    <a:pt x="272" y="557"/>
                  </a:lnTo>
                  <a:lnTo>
                    <a:pt x="264" y="577"/>
                  </a:lnTo>
                  <a:lnTo>
                    <a:pt x="254" y="592"/>
                  </a:lnTo>
                  <a:lnTo>
                    <a:pt x="242" y="608"/>
                  </a:lnTo>
                  <a:lnTo>
                    <a:pt x="227" y="630"/>
                  </a:lnTo>
                  <a:lnTo>
                    <a:pt x="211" y="650"/>
                  </a:lnTo>
                  <a:lnTo>
                    <a:pt x="197" y="663"/>
                  </a:lnTo>
                  <a:lnTo>
                    <a:pt x="183" y="673"/>
                  </a:lnTo>
                  <a:lnTo>
                    <a:pt x="172" y="681"/>
                  </a:lnTo>
                  <a:lnTo>
                    <a:pt x="162" y="687"/>
                  </a:lnTo>
                  <a:lnTo>
                    <a:pt x="158" y="691"/>
                  </a:lnTo>
                  <a:lnTo>
                    <a:pt x="134" y="667"/>
                  </a:lnTo>
                  <a:lnTo>
                    <a:pt x="103" y="620"/>
                  </a:lnTo>
                  <a:lnTo>
                    <a:pt x="55" y="587"/>
                  </a:lnTo>
                  <a:lnTo>
                    <a:pt x="0" y="569"/>
                  </a:lnTo>
                  <a:lnTo>
                    <a:pt x="20" y="510"/>
                  </a:lnTo>
                  <a:lnTo>
                    <a:pt x="53" y="457"/>
                  </a:lnTo>
                  <a:lnTo>
                    <a:pt x="30" y="402"/>
                  </a:lnTo>
                  <a:lnTo>
                    <a:pt x="30" y="337"/>
                  </a:lnTo>
                  <a:lnTo>
                    <a:pt x="10" y="315"/>
                  </a:lnTo>
                  <a:lnTo>
                    <a:pt x="40" y="285"/>
                  </a:lnTo>
                  <a:lnTo>
                    <a:pt x="81" y="317"/>
                  </a:lnTo>
                  <a:lnTo>
                    <a:pt x="126" y="382"/>
                  </a:lnTo>
                  <a:lnTo>
                    <a:pt x="170" y="311"/>
                  </a:lnTo>
                  <a:lnTo>
                    <a:pt x="215" y="274"/>
                  </a:lnTo>
                  <a:lnTo>
                    <a:pt x="274" y="209"/>
                  </a:lnTo>
                  <a:lnTo>
                    <a:pt x="349" y="189"/>
                  </a:lnTo>
                  <a:lnTo>
                    <a:pt x="376" y="173"/>
                  </a:lnTo>
                  <a:lnTo>
                    <a:pt x="380" y="134"/>
                  </a:lnTo>
                  <a:lnTo>
                    <a:pt x="431" y="146"/>
                  </a:lnTo>
                  <a:lnTo>
                    <a:pt x="475" y="108"/>
                  </a:lnTo>
                  <a:lnTo>
                    <a:pt x="524" y="47"/>
                  </a:lnTo>
                  <a:lnTo>
                    <a:pt x="524" y="0"/>
                  </a:lnTo>
                  <a:lnTo>
                    <a:pt x="595" y="22"/>
                  </a:lnTo>
                  <a:lnTo>
                    <a:pt x="679" y="45"/>
                  </a:lnTo>
                  <a:lnTo>
                    <a:pt x="725" y="120"/>
                  </a:lnTo>
                  <a:lnTo>
                    <a:pt x="784" y="187"/>
                  </a:lnTo>
                  <a:lnTo>
                    <a:pt x="774" y="240"/>
                  </a:lnTo>
                  <a:lnTo>
                    <a:pt x="860" y="317"/>
                  </a:lnTo>
                  <a:lnTo>
                    <a:pt x="860" y="402"/>
                  </a:lnTo>
                  <a:lnTo>
                    <a:pt x="815" y="425"/>
                  </a:lnTo>
                  <a:lnTo>
                    <a:pt x="731" y="533"/>
                  </a:lnTo>
                  <a:lnTo>
                    <a:pt x="725" y="575"/>
                  </a:lnTo>
                  <a:close/>
                </a:path>
              </a:pathLst>
            </a:custGeom>
            <a:grpFill/>
            <a:ln w="0">
              <a:solidFill>
                <a:schemeClr val="bg1"/>
              </a:solidFill>
              <a:prstDash val="solid"/>
              <a:round/>
            </a:ln>
          </p:spPr>
          <p:txBody>
            <a:bodyPr/>
            <a:lstStyle/>
            <a:p>
              <a:endParaRPr lang="zh-CN" altLang="en-US"/>
            </a:p>
          </p:txBody>
        </p:sp>
        <p:sp>
          <p:nvSpPr>
            <p:cNvPr id="57" name="Freeform 100"/>
            <p:cNvSpPr/>
            <p:nvPr/>
          </p:nvSpPr>
          <p:spPr bwMode="gray">
            <a:xfrm>
              <a:off x="3643" y="1699"/>
              <a:ext cx="430" cy="429"/>
            </a:xfrm>
            <a:custGeom>
              <a:avLst/>
              <a:gdLst>
                <a:gd name="T0" fmla="*/ 182 w 860"/>
                <a:gd name="T1" fmla="*/ 145 h 858"/>
                <a:gd name="T2" fmla="*/ 179 w 860"/>
                <a:gd name="T3" fmla="*/ 149 h 858"/>
                <a:gd name="T4" fmla="*/ 174 w 860"/>
                <a:gd name="T5" fmla="*/ 152 h 858"/>
                <a:gd name="T6" fmla="*/ 166 w 860"/>
                <a:gd name="T7" fmla="*/ 154 h 858"/>
                <a:gd name="T8" fmla="*/ 156 w 860"/>
                <a:gd name="T9" fmla="*/ 157 h 858"/>
                <a:gd name="T10" fmla="*/ 149 w 860"/>
                <a:gd name="T11" fmla="*/ 163 h 858"/>
                <a:gd name="T12" fmla="*/ 140 w 860"/>
                <a:gd name="T13" fmla="*/ 170 h 858"/>
                <a:gd name="T14" fmla="*/ 133 w 860"/>
                <a:gd name="T15" fmla="*/ 176 h 858"/>
                <a:gd name="T16" fmla="*/ 129 w 860"/>
                <a:gd name="T17" fmla="*/ 180 h 858"/>
                <a:gd name="T18" fmla="*/ 123 w 860"/>
                <a:gd name="T19" fmla="*/ 186 h 858"/>
                <a:gd name="T20" fmla="*/ 119 w 860"/>
                <a:gd name="T21" fmla="*/ 194 h 858"/>
                <a:gd name="T22" fmla="*/ 113 w 860"/>
                <a:gd name="T23" fmla="*/ 201 h 858"/>
                <a:gd name="T24" fmla="*/ 107 w 860"/>
                <a:gd name="T25" fmla="*/ 204 h 858"/>
                <a:gd name="T26" fmla="*/ 103 w 860"/>
                <a:gd name="T27" fmla="*/ 208 h 858"/>
                <a:gd name="T28" fmla="*/ 95 w 860"/>
                <a:gd name="T29" fmla="*/ 213 h 858"/>
                <a:gd name="T30" fmla="*/ 89 w 860"/>
                <a:gd name="T31" fmla="*/ 215 h 858"/>
                <a:gd name="T32" fmla="*/ 88 w 860"/>
                <a:gd name="T33" fmla="*/ 210 h 858"/>
                <a:gd name="T34" fmla="*/ 92 w 860"/>
                <a:gd name="T35" fmla="*/ 204 h 858"/>
                <a:gd name="T36" fmla="*/ 98 w 860"/>
                <a:gd name="T37" fmla="*/ 198 h 858"/>
                <a:gd name="T38" fmla="*/ 103 w 860"/>
                <a:gd name="T39" fmla="*/ 191 h 858"/>
                <a:gd name="T40" fmla="*/ 101 w 860"/>
                <a:gd name="T41" fmla="*/ 187 h 858"/>
                <a:gd name="T42" fmla="*/ 95 w 860"/>
                <a:gd name="T43" fmla="*/ 184 h 858"/>
                <a:gd name="T44" fmla="*/ 91 w 860"/>
                <a:gd name="T45" fmla="*/ 179 h 858"/>
                <a:gd name="T46" fmla="*/ 93 w 860"/>
                <a:gd name="T47" fmla="*/ 170 h 858"/>
                <a:gd name="T48" fmla="*/ 100 w 860"/>
                <a:gd name="T49" fmla="*/ 159 h 858"/>
                <a:gd name="T50" fmla="*/ 107 w 860"/>
                <a:gd name="T51" fmla="*/ 148 h 858"/>
                <a:gd name="T52" fmla="*/ 110 w 860"/>
                <a:gd name="T53" fmla="*/ 140 h 858"/>
                <a:gd name="T54" fmla="*/ 110 w 860"/>
                <a:gd name="T55" fmla="*/ 135 h 858"/>
                <a:gd name="T56" fmla="*/ 105 w 860"/>
                <a:gd name="T57" fmla="*/ 129 h 858"/>
                <a:gd name="T58" fmla="*/ 99 w 860"/>
                <a:gd name="T59" fmla="*/ 123 h 858"/>
                <a:gd name="T60" fmla="*/ 94 w 860"/>
                <a:gd name="T61" fmla="*/ 122 h 858"/>
                <a:gd name="T62" fmla="*/ 87 w 860"/>
                <a:gd name="T63" fmla="*/ 123 h 858"/>
                <a:gd name="T64" fmla="*/ 78 w 860"/>
                <a:gd name="T65" fmla="*/ 123 h 858"/>
                <a:gd name="T66" fmla="*/ 74 w 860"/>
                <a:gd name="T67" fmla="*/ 124 h 858"/>
                <a:gd name="T68" fmla="*/ 70 w 860"/>
                <a:gd name="T69" fmla="*/ 134 h 858"/>
                <a:gd name="T70" fmla="*/ 66 w 860"/>
                <a:gd name="T71" fmla="*/ 145 h 858"/>
                <a:gd name="T72" fmla="*/ 60 w 860"/>
                <a:gd name="T73" fmla="*/ 152 h 858"/>
                <a:gd name="T74" fmla="*/ 53 w 860"/>
                <a:gd name="T75" fmla="*/ 163 h 858"/>
                <a:gd name="T76" fmla="*/ 46 w 860"/>
                <a:gd name="T77" fmla="*/ 169 h 858"/>
                <a:gd name="T78" fmla="*/ 41 w 860"/>
                <a:gd name="T79" fmla="*/ 172 h 858"/>
                <a:gd name="T80" fmla="*/ 34 w 860"/>
                <a:gd name="T81" fmla="*/ 167 h 858"/>
                <a:gd name="T82" fmla="*/ 14 w 860"/>
                <a:gd name="T83" fmla="*/ 147 h 858"/>
                <a:gd name="T84" fmla="*/ 5 w 860"/>
                <a:gd name="T85" fmla="*/ 127 h 858"/>
                <a:gd name="T86" fmla="*/ 7 w 860"/>
                <a:gd name="T87" fmla="*/ 101 h 858"/>
                <a:gd name="T88" fmla="*/ 3 w 860"/>
                <a:gd name="T89" fmla="*/ 79 h 858"/>
                <a:gd name="T90" fmla="*/ 21 w 860"/>
                <a:gd name="T91" fmla="*/ 80 h 858"/>
                <a:gd name="T92" fmla="*/ 43 w 860"/>
                <a:gd name="T93" fmla="*/ 78 h 858"/>
                <a:gd name="T94" fmla="*/ 69 w 860"/>
                <a:gd name="T95" fmla="*/ 53 h 858"/>
                <a:gd name="T96" fmla="*/ 94 w 860"/>
                <a:gd name="T97" fmla="*/ 44 h 858"/>
                <a:gd name="T98" fmla="*/ 108 w 860"/>
                <a:gd name="T99" fmla="*/ 37 h 858"/>
                <a:gd name="T100" fmla="*/ 131 w 860"/>
                <a:gd name="T101" fmla="*/ 12 h 858"/>
                <a:gd name="T102" fmla="*/ 149 w 860"/>
                <a:gd name="T103" fmla="*/ 6 h 858"/>
                <a:gd name="T104" fmla="*/ 182 w 860"/>
                <a:gd name="T105" fmla="*/ 30 h 858"/>
                <a:gd name="T106" fmla="*/ 194 w 860"/>
                <a:gd name="T107" fmla="*/ 60 h 858"/>
                <a:gd name="T108" fmla="*/ 215 w 860"/>
                <a:gd name="T109" fmla="*/ 101 h 858"/>
                <a:gd name="T110" fmla="*/ 183 w 860"/>
                <a:gd name="T111" fmla="*/ 134 h 85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860"/>
                <a:gd name="T169" fmla="*/ 0 h 858"/>
                <a:gd name="T170" fmla="*/ 860 w 860"/>
                <a:gd name="T171" fmla="*/ 858 h 858"/>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860" h="858">
                  <a:moveTo>
                    <a:pt x="725" y="575"/>
                  </a:moveTo>
                  <a:lnTo>
                    <a:pt x="725" y="579"/>
                  </a:lnTo>
                  <a:lnTo>
                    <a:pt x="719" y="585"/>
                  </a:lnTo>
                  <a:lnTo>
                    <a:pt x="713" y="594"/>
                  </a:lnTo>
                  <a:lnTo>
                    <a:pt x="705" y="604"/>
                  </a:lnTo>
                  <a:lnTo>
                    <a:pt x="695" y="608"/>
                  </a:lnTo>
                  <a:lnTo>
                    <a:pt x="681" y="610"/>
                  </a:lnTo>
                  <a:lnTo>
                    <a:pt x="664" y="614"/>
                  </a:lnTo>
                  <a:lnTo>
                    <a:pt x="642" y="618"/>
                  </a:lnTo>
                  <a:lnTo>
                    <a:pt x="622" y="626"/>
                  </a:lnTo>
                  <a:lnTo>
                    <a:pt x="607" y="638"/>
                  </a:lnTo>
                  <a:lnTo>
                    <a:pt x="593" y="651"/>
                  </a:lnTo>
                  <a:lnTo>
                    <a:pt x="577" y="665"/>
                  </a:lnTo>
                  <a:lnTo>
                    <a:pt x="559" y="679"/>
                  </a:lnTo>
                  <a:lnTo>
                    <a:pt x="544" y="693"/>
                  </a:lnTo>
                  <a:lnTo>
                    <a:pt x="530" y="703"/>
                  </a:lnTo>
                  <a:lnTo>
                    <a:pt x="522" y="711"/>
                  </a:lnTo>
                  <a:lnTo>
                    <a:pt x="514" y="718"/>
                  </a:lnTo>
                  <a:lnTo>
                    <a:pt x="502" y="730"/>
                  </a:lnTo>
                  <a:lnTo>
                    <a:pt x="492" y="744"/>
                  </a:lnTo>
                  <a:lnTo>
                    <a:pt x="481" y="760"/>
                  </a:lnTo>
                  <a:lnTo>
                    <a:pt x="475" y="774"/>
                  </a:lnTo>
                  <a:lnTo>
                    <a:pt x="465" y="789"/>
                  </a:lnTo>
                  <a:lnTo>
                    <a:pt x="451" y="801"/>
                  </a:lnTo>
                  <a:lnTo>
                    <a:pt x="437" y="809"/>
                  </a:lnTo>
                  <a:lnTo>
                    <a:pt x="427" y="815"/>
                  </a:lnTo>
                  <a:lnTo>
                    <a:pt x="422" y="823"/>
                  </a:lnTo>
                  <a:lnTo>
                    <a:pt x="410" y="831"/>
                  </a:lnTo>
                  <a:lnTo>
                    <a:pt x="394" y="840"/>
                  </a:lnTo>
                  <a:lnTo>
                    <a:pt x="380" y="850"/>
                  </a:lnTo>
                  <a:lnTo>
                    <a:pt x="364" y="856"/>
                  </a:lnTo>
                  <a:lnTo>
                    <a:pt x="355" y="858"/>
                  </a:lnTo>
                  <a:lnTo>
                    <a:pt x="349" y="854"/>
                  </a:lnTo>
                  <a:lnTo>
                    <a:pt x="349" y="838"/>
                  </a:lnTo>
                  <a:lnTo>
                    <a:pt x="355" y="827"/>
                  </a:lnTo>
                  <a:lnTo>
                    <a:pt x="366" y="815"/>
                  </a:lnTo>
                  <a:lnTo>
                    <a:pt x="380" y="801"/>
                  </a:lnTo>
                  <a:lnTo>
                    <a:pt x="392" y="789"/>
                  </a:lnTo>
                  <a:lnTo>
                    <a:pt x="404" y="775"/>
                  </a:lnTo>
                  <a:lnTo>
                    <a:pt x="410" y="764"/>
                  </a:lnTo>
                  <a:lnTo>
                    <a:pt x="410" y="754"/>
                  </a:lnTo>
                  <a:lnTo>
                    <a:pt x="404" y="748"/>
                  </a:lnTo>
                  <a:lnTo>
                    <a:pt x="392" y="742"/>
                  </a:lnTo>
                  <a:lnTo>
                    <a:pt x="380" y="734"/>
                  </a:lnTo>
                  <a:lnTo>
                    <a:pt x="370" y="726"/>
                  </a:lnTo>
                  <a:lnTo>
                    <a:pt x="364" y="716"/>
                  </a:lnTo>
                  <a:lnTo>
                    <a:pt x="364" y="699"/>
                  </a:lnTo>
                  <a:lnTo>
                    <a:pt x="372" y="679"/>
                  </a:lnTo>
                  <a:lnTo>
                    <a:pt x="382" y="661"/>
                  </a:lnTo>
                  <a:lnTo>
                    <a:pt x="400" y="636"/>
                  </a:lnTo>
                  <a:lnTo>
                    <a:pt x="418" y="608"/>
                  </a:lnTo>
                  <a:lnTo>
                    <a:pt x="425" y="592"/>
                  </a:lnTo>
                  <a:lnTo>
                    <a:pt x="433" y="575"/>
                  </a:lnTo>
                  <a:lnTo>
                    <a:pt x="441" y="559"/>
                  </a:lnTo>
                  <a:lnTo>
                    <a:pt x="443" y="547"/>
                  </a:lnTo>
                  <a:lnTo>
                    <a:pt x="439" y="537"/>
                  </a:lnTo>
                  <a:lnTo>
                    <a:pt x="429" y="526"/>
                  </a:lnTo>
                  <a:lnTo>
                    <a:pt x="418" y="514"/>
                  </a:lnTo>
                  <a:lnTo>
                    <a:pt x="404" y="502"/>
                  </a:lnTo>
                  <a:lnTo>
                    <a:pt x="394" y="494"/>
                  </a:lnTo>
                  <a:lnTo>
                    <a:pt x="384" y="490"/>
                  </a:lnTo>
                  <a:lnTo>
                    <a:pt x="374" y="490"/>
                  </a:lnTo>
                  <a:lnTo>
                    <a:pt x="362" y="492"/>
                  </a:lnTo>
                  <a:lnTo>
                    <a:pt x="345" y="494"/>
                  </a:lnTo>
                  <a:lnTo>
                    <a:pt x="325" y="494"/>
                  </a:lnTo>
                  <a:lnTo>
                    <a:pt x="311" y="492"/>
                  </a:lnTo>
                  <a:lnTo>
                    <a:pt x="301" y="492"/>
                  </a:lnTo>
                  <a:lnTo>
                    <a:pt x="294" y="498"/>
                  </a:lnTo>
                  <a:lnTo>
                    <a:pt x="286" y="512"/>
                  </a:lnTo>
                  <a:lnTo>
                    <a:pt x="280" y="533"/>
                  </a:lnTo>
                  <a:lnTo>
                    <a:pt x="272" y="557"/>
                  </a:lnTo>
                  <a:lnTo>
                    <a:pt x="264" y="577"/>
                  </a:lnTo>
                  <a:lnTo>
                    <a:pt x="254" y="592"/>
                  </a:lnTo>
                  <a:lnTo>
                    <a:pt x="242" y="608"/>
                  </a:lnTo>
                  <a:lnTo>
                    <a:pt x="227" y="630"/>
                  </a:lnTo>
                  <a:lnTo>
                    <a:pt x="211" y="650"/>
                  </a:lnTo>
                  <a:lnTo>
                    <a:pt x="197" y="663"/>
                  </a:lnTo>
                  <a:lnTo>
                    <a:pt x="183" y="673"/>
                  </a:lnTo>
                  <a:lnTo>
                    <a:pt x="172" y="681"/>
                  </a:lnTo>
                  <a:lnTo>
                    <a:pt x="162" y="687"/>
                  </a:lnTo>
                  <a:lnTo>
                    <a:pt x="158" y="691"/>
                  </a:lnTo>
                  <a:lnTo>
                    <a:pt x="134" y="667"/>
                  </a:lnTo>
                  <a:lnTo>
                    <a:pt x="103" y="620"/>
                  </a:lnTo>
                  <a:lnTo>
                    <a:pt x="55" y="587"/>
                  </a:lnTo>
                  <a:lnTo>
                    <a:pt x="0" y="569"/>
                  </a:lnTo>
                  <a:lnTo>
                    <a:pt x="20" y="510"/>
                  </a:lnTo>
                  <a:lnTo>
                    <a:pt x="53" y="457"/>
                  </a:lnTo>
                  <a:lnTo>
                    <a:pt x="30" y="402"/>
                  </a:lnTo>
                  <a:lnTo>
                    <a:pt x="30" y="337"/>
                  </a:lnTo>
                  <a:lnTo>
                    <a:pt x="10" y="315"/>
                  </a:lnTo>
                  <a:lnTo>
                    <a:pt x="40" y="285"/>
                  </a:lnTo>
                  <a:lnTo>
                    <a:pt x="81" y="317"/>
                  </a:lnTo>
                  <a:lnTo>
                    <a:pt x="126" y="382"/>
                  </a:lnTo>
                  <a:lnTo>
                    <a:pt x="170" y="311"/>
                  </a:lnTo>
                  <a:lnTo>
                    <a:pt x="215" y="274"/>
                  </a:lnTo>
                  <a:lnTo>
                    <a:pt x="274" y="209"/>
                  </a:lnTo>
                  <a:lnTo>
                    <a:pt x="349" y="189"/>
                  </a:lnTo>
                  <a:lnTo>
                    <a:pt x="376" y="173"/>
                  </a:lnTo>
                  <a:lnTo>
                    <a:pt x="380" y="134"/>
                  </a:lnTo>
                  <a:lnTo>
                    <a:pt x="431" y="146"/>
                  </a:lnTo>
                  <a:lnTo>
                    <a:pt x="475" y="108"/>
                  </a:lnTo>
                  <a:lnTo>
                    <a:pt x="524" y="47"/>
                  </a:lnTo>
                  <a:lnTo>
                    <a:pt x="524" y="0"/>
                  </a:lnTo>
                  <a:lnTo>
                    <a:pt x="595" y="22"/>
                  </a:lnTo>
                  <a:lnTo>
                    <a:pt x="679" y="45"/>
                  </a:lnTo>
                  <a:lnTo>
                    <a:pt x="725" y="120"/>
                  </a:lnTo>
                  <a:lnTo>
                    <a:pt x="784" y="187"/>
                  </a:lnTo>
                  <a:lnTo>
                    <a:pt x="774" y="240"/>
                  </a:lnTo>
                  <a:lnTo>
                    <a:pt x="860" y="317"/>
                  </a:lnTo>
                  <a:lnTo>
                    <a:pt x="860" y="402"/>
                  </a:lnTo>
                  <a:lnTo>
                    <a:pt x="815" y="425"/>
                  </a:lnTo>
                  <a:lnTo>
                    <a:pt x="731" y="533"/>
                  </a:lnTo>
                  <a:lnTo>
                    <a:pt x="725" y="575"/>
                  </a:lnTo>
                </a:path>
              </a:pathLst>
            </a:custGeom>
            <a:grpFill/>
            <a:ln w="6350">
              <a:solidFill>
                <a:schemeClr val="bg1"/>
              </a:solidFill>
              <a:prstDash val="solid"/>
              <a:round/>
            </a:ln>
          </p:spPr>
          <p:txBody>
            <a:bodyPr/>
            <a:lstStyle/>
            <a:p>
              <a:endParaRPr lang="zh-CN" altLang="en-US"/>
            </a:p>
          </p:txBody>
        </p:sp>
        <p:sp>
          <p:nvSpPr>
            <p:cNvPr id="58" name="Freeform 101"/>
            <p:cNvSpPr/>
            <p:nvPr/>
          </p:nvSpPr>
          <p:spPr bwMode="gray">
            <a:xfrm>
              <a:off x="3738" y="1458"/>
              <a:ext cx="630" cy="431"/>
            </a:xfrm>
            <a:custGeom>
              <a:avLst/>
              <a:gdLst>
                <a:gd name="T0" fmla="*/ 315 w 1260"/>
                <a:gd name="T1" fmla="*/ 87 h 862"/>
                <a:gd name="T2" fmla="*/ 309 w 1260"/>
                <a:gd name="T3" fmla="*/ 91 h 862"/>
                <a:gd name="T4" fmla="*/ 299 w 1260"/>
                <a:gd name="T5" fmla="*/ 98 h 862"/>
                <a:gd name="T6" fmla="*/ 293 w 1260"/>
                <a:gd name="T7" fmla="*/ 101 h 862"/>
                <a:gd name="T8" fmla="*/ 287 w 1260"/>
                <a:gd name="T9" fmla="*/ 98 h 862"/>
                <a:gd name="T10" fmla="*/ 279 w 1260"/>
                <a:gd name="T11" fmla="*/ 94 h 862"/>
                <a:gd name="T12" fmla="*/ 277 w 1260"/>
                <a:gd name="T13" fmla="*/ 106 h 862"/>
                <a:gd name="T14" fmla="*/ 274 w 1260"/>
                <a:gd name="T15" fmla="*/ 119 h 862"/>
                <a:gd name="T16" fmla="*/ 265 w 1260"/>
                <a:gd name="T17" fmla="*/ 127 h 862"/>
                <a:gd name="T18" fmla="*/ 263 w 1260"/>
                <a:gd name="T19" fmla="*/ 136 h 862"/>
                <a:gd name="T20" fmla="*/ 254 w 1260"/>
                <a:gd name="T21" fmla="*/ 143 h 862"/>
                <a:gd name="T22" fmla="*/ 241 w 1260"/>
                <a:gd name="T23" fmla="*/ 147 h 862"/>
                <a:gd name="T24" fmla="*/ 233 w 1260"/>
                <a:gd name="T25" fmla="*/ 149 h 862"/>
                <a:gd name="T26" fmla="*/ 236 w 1260"/>
                <a:gd name="T27" fmla="*/ 157 h 862"/>
                <a:gd name="T28" fmla="*/ 244 w 1260"/>
                <a:gd name="T29" fmla="*/ 167 h 862"/>
                <a:gd name="T30" fmla="*/ 241 w 1260"/>
                <a:gd name="T31" fmla="*/ 175 h 862"/>
                <a:gd name="T32" fmla="*/ 226 w 1260"/>
                <a:gd name="T33" fmla="*/ 177 h 862"/>
                <a:gd name="T34" fmla="*/ 216 w 1260"/>
                <a:gd name="T35" fmla="*/ 177 h 862"/>
                <a:gd name="T36" fmla="*/ 207 w 1260"/>
                <a:gd name="T37" fmla="*/ 177 h 862"/>
                <a:gd name="T38" fmla="*/ 202 w 1260"/>
                <a:gd name="T39" fmla="*/ 172 h 862"/>
                <a:gd name="T40" fmla="*/ 196 w 1260"/>
                <a:gd name="T41" fmla="*/ 170 h 862"/>
                <a:gd name="T42" fmla="*/ 191 w 1260"/>
                <a:gd name="T43" fmla="*/ 183 h 862"/>
                <a:gd name="T44" fmla="*/ 185 w 1260"/>
                <a:gd name="T45" fmla="*/ 199 h 862"/>
                <a:gd name="T46" fmla="*/ 178 w 1260"/>
                <a:gd name="T47" fmla="*/ 213 h 862"/>
                <a:gd name="T48" fmla="*/ 169 w 1260"/>
                <a:gd name="T49" fmla="*/ 216 h 862"/>
                <a:gd name="T50" fmla="*/ 147 w 1260"/>
                <a:gd name="T51" fmla="*/ 181 h 862"/>
                <a:gd name="T52" fmla="*/ 122 w 1260"/>
                <a:gd name="T53" fmla="*/ 132 h 862"/>
                <a:gd name="T54" fmla="*/ 66 w 1260"/>
                <a:gd name="T55" fmla="*/ 99 h 862"/>
                <a:gd name="T56" fmla="*/ 28 w 1260"/>
                <a:gd name="T57" fmla="*/ 96 h 862"/>
                <a:gd name="T58" fmla="*/ 21 w 1260"/>
                <a:gd name="T59" fmla="*/ 55 h 862"/>
                <a:gd name="T60" fmla="*/ 6 w 1260"/>
                <a:gd name="T61" fmla="*/ 26 h 862"/>
                <a:gd name="T62" fmla="*/ 33 w 1260"/>
                <a:gd name="T63" fmla="*/ 29 h 862"/>
                <a:gd name="T64" fmla="*/ 64 w 1260"/>
                <a:gd name="T65" fmla="*/ 0 h 862"/>
                <a:gd name="T66" fmla="*/ 101 w 1260"/>
                <a:gd name="T67" fmla="*/ 27 h 862"/>
                <a:gd name="T68" fmla="*/ 133 w 1260"/>
                <a:gd name="T69" fmla="*/ 34 h 862"/>
                <a:gd name="T70" fmla="*/ 172 w 1260"/>
                <a:gd name="T71" fmla="*/ 48 h 862"/>
                <a:gd name="T72" fmla="*/ 206 w 1260"/>
                <a:gd name="T73" fmla="*/ 62 h 862"/>
                <a:gd name="T74" fmla="*/ 214 w 1260"/>
                <a:gd name="T75" fmla="*/ 42 h 862"/>
                <a:gd name="T76" fmla="*/ 217 w 1260"/>
                <a:gd name="T77" fmla="*/ 53 h 862"/>
                <a:gd name="T78" fmla="*/ 219 w 1260"/>
                <a:gd name="T79" fmla="*/ 58 h 862"/>
                <a:gd name="T80" fmla="*/ 227 w 1260"/>
                <a:gd name="T81" fmla="*/ 65 h 862"/>
                <a:gd name="T82" fmla="*/ 243 w 1260"/>
                <a:gd name="T83" fmla="*/ 80 h 862"/>
                <a:gd name="T84" fmla="*/ 265 w 1260"/>
                <a:gd name="T85" fmla="*/ 51 h 862"/>
                <a:gd name="T86" fmla="*/ 312 w 1260"/>
                <a:gd name="T87" fmla="*/ 62 h 86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260"/>
                <a:gd name="T133" fmla="*/ 0 h 862"/>
                <a:gd name="T134" fmla="*/ 1260 w 1260"/>
                <a:gd name="T135" fmla="*/ 862 h 862"/>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260" h="862">
                  <a:moveTo>
                    <a:pt x="1246" y="248"/>
                  </a:moveTo>
                  <a:lnTo>
                    <a:pt x="1260" y="267"/>
                  </a:lnTo>
                  <a:lnTo>
                    <a:pt x="1258" y="348"/>
                  </a:lnTo>
                  <a:lnTo>
                    <a:pt x="1254" y="350"/>
                  </a:lnTo>
                  <a:lnTo>
                    <a:pt x="1246" y="356"/>
                  </a:lnTo>
                  <a:lnTo>
                    <a:pt x="1233" y="364"/>
                  </a:lnTo>
                  <a:lnTo>
                    <a:pt x="1219" y="374"/>
                  </a:lnTo>
                  <a:lnTo>
                    <a:pt x="1205" y="382"/>
                  </a:lnTo>
                  <a:lnTo>
                    <a:pt x="1195" y="390"/>
                  </a:lnTo>
                  <a:lnTo>
                    <a:pt x="1187" y="395"/>
                  </a:lnTo>
                  <a:lnTo>
                    <a:pt x="1179" y="399"/>
                  </a:lnTo>
                  <a:lnTo>
                    <a:pt x="1170" y="401"/>
                  </a:lnTo>
                  <a:lnTo>
                    <a:pt x="1160" y="401"/>
                  </a:lnTo>
                  <a:lnTo>
                    <a:pt x="1154" y="395"/>
                  </a:lnTo>
                  <a:lnTo>
                    <a:pt x="1146" y="390"/>
                  </a:lnTo>
                  <a:lnTo>
                    <a:pt x="1136" y="380"/>
                  </a:lnTo>
                  <a:lnTo>
                    <a:pt x="1124" y="376"/>
                  </a:lnTo>
                  <a:lnTo>
                    <a:pt x="1114" y="376"/>
                  </a:lnTo>
                  <a:lnTo>
                    <a:pt x="1110" y="384"/>
                  </a:lnTo>
                  <a:lnTo>
                    <a:pt x="1107" y="401"/>
                  </a:lnTo>
                  <a:lnTo>
                    <a:pt x="1105" y="423"/>
                  </a:lnTo>
                  <a:lnTo>
                    <a:pt x="1103" y="443"/>
                  </a:lnTo>
                  <a:lnTo>
                    <a:pt x="1101" y="460"/>
                  </a:lnTo>
                  <a:lnTo>
                    <a:pt x="1095" y="476"/>
                  </a:lnTo>
                  <a:lnTo>
                    <a:pt x="1085" y="490"/>
                  </a:lnTo>
                  <a:lnTo>
                    <a:pt x="1069" y="500"/>
                  </a:lnTo>
                  <a:lnTo>
                    <a:pt x="1059" y="508"/>
                  </a:lnTo>
                  <a:lnTo>
                    <a:pt x="1055" y="519"/>
                  </a:lnTo>
                  <a:lnTo>
                    <a:pt x="1053" y="531"/>
                  </a:lnTo>
                  <a:lnTo>
                    <a:pt x="1051" y="541"/>
                  </a:lnTo>
                  <a:lnTo>
                    <a:pt x="1045" y="551"/>
                  </a:lnTo>
                  <a:lnTo>
                    <a:pt x="1032" y="559"/>
                  </a:lnTo>
                  <a:lnTo>
                    <a:pt x="1016" y="569"/>
                  </a:lnTo>
                  <a:lnTo>
                    <a:pt x="996" y="576"/>
                  </a:lnTo>
                  <a:lnTo>
                    <a:pt x="979" y="584"/>
                  </a:lnTo>
                  <a:lnTo>
                    <a:pt x="965" y="588"/>
                  </a:lnTo>
                  <a:lnTo>
                    <a:pt x="951" y="590"/>
                  </a:lnTo>
                  <a:lnTo>
                    <a:pt x="941" y="592"/>
                  </a:lnTo>
                  <a:lnTo>
                    <a:pt x="933" y="596"/>
                  </a:lnTo>
                  <a:lnTo>
                    <a:pt x="929" y="604"/>
                  </a:lnTo>
                  <a:lnTo>
                    <a:pt x="933" y="614"/>
                  </a:lnTo>
                  <a:lnTo>
                    <a:pt x="943" y="628"/>
                  </a:lnTo>
                  <a:lnTo>
                    <a:pt x="955" y="641"/>
                  </a:lnTo>
                  <a:lnTo>
                    <a:pt x="967" y="651"/>
                  </a:lnTo>
                  <a:lnTo>
                    <a:pt x="977" y="665"/>
                  </a:lnTo>
                  <a:lnTo>
                    <a:pt x="981" y="677"/>
                  </a:lnTo>
                  <a:lnTo>
                    <a:pt x="975" y="691"/>
                  </a:lnTo>
                  <a:lnTo>
                    <a:pt x="963" y="699"/>
                  </a:lnTo>
                  <a:lnTo>
                    <a:pt x="943" y="702"/>
                  </a:lnTo>
                  <a:lnTo>
                    <a:pt x="923" y="704"/>
                  </a:lnTo>
                  <a:lnTo>
                    <a:pt x="906" y="706"/>
                  </a:lnTo>
                  <a:lnTo>
                    <a:pt x="892" y="708"/>
                  </a:lnTo>
                  <a:lnTo>
                    <a:pt x="880" y="708"/>
                  </a:lnTo>
                  <a:lnTo>
                    <a:pt x="864" y="708"/>
                  </a:lnTo>
                  <a:lnTo>
                    <a:pt x="847" y="706"/>
                  </a:lnTo>
                  <a:lnTo>
                    <a:pt x="833" y="706"/>
                  </a:lnTo>
                  <a:lnTo>
                    <a:pt x="827" y="706"/>
                  </a:lnTo>
                  <a:lnTo>
                    <a:pt x="825" y="702"/>
                  </a:lnTo>
                  <a:lnTo>
                    <a:pt x="819" y="697"/>
                  </a:lnTo>
                  <a:lnTo>
                    <a:pt x="809" y="687"/>
                  </a:lnTo>
                  <a:lnTo>
                    <a:pt x="799" y="679"/>
                  </a:lnTo>
                  <a:lnTo>
                    <a:pt x="792" y="675"/>
                  </a:lnTo>
                  <a:lnTo>
                    <a:pt x="786" y="679"/>
                  </a:lnTo>
                  <a:lnTo>
                    <a:pt x="780" y="691"/>
                  </a:lnTo>
                  <a:lnTo>
                    <a:pt x="774" y="708"/>
                  </a:lnTo>
                  <a:lnTo>
                    <a:pt x="766" y="732"/>
                  </a:lnTo>
                  <a:lnTo>
                    <a:pt x="756" y="756"/>
                  </a:lnTo>
                  <a:lnTo>
                    <a:pt x="748" y="777"/>
                  </a:lnTo>
                  <a:lnTo>
                    <a:pt x="742" y="795"/>
                  </a:lnTo>
                  <a:lnTo>
                    <a:pt x="733" y="821"/>
                  </a:lnTo>
                  <a:lnTo>
                    <a:pt x="723" y="838"/>
                  </a:lnTo>
                  <a:lnTo>
                    <a:pt x="711" y="850"/>
                  </a:lnTo>
                  <a:lnTo>
                    <a:pt x="699" y="854"/>
                  </a:lnTo>
                  <a:lnTo>
                    <a:pt x="687" y="858"/>
                  </a:lnTo>
                  <a:lnTo>
                    <a:pt x="677" y="862"/>
                  </a:lnTo>
                  <a:lnTo>
                    <a:pt x="671" y="862"/>
                  </a:lnTo>
                  <a:lnTo>
                    <a:pt x="671" y="799"/>
                  </a:lnTo>
                  <a:lnTo>
                    <a:pt x="585" y="722"/>
                  </a:lnTo>
                  <a:lnTo>
                    <a:pt x="595" y="669"/>
                  </a:lnTo>
                  <a:lnTo>
                    <a:pt x="536" y="602"/>
                  </a:lnTo>
                  <a:lnTo>
                    <a:pt x="490" y="527"/>
                  </a:lnTo>
                  <a:lnTo>
                    <a:pt x="335" y="482"/>
                  </a:lnTo>
                  <a:lnTo>
                    <a:pt x="297" y="460"/>
                  </a:lnTo>
                  <a:lnTo>
                    <a:pt x="262" y="393"/>
                  </a:lnTo>
                  <a:lnTo>
                    <a:pt x="223" y="327"/>
                  </a:lnTo>
                  <a:lnTo>
                    <a:pt x="144" y="388"/>
                  </a:lnTo>
                  <a:lnTo>
                    <a:pt x="114" y="382"/>
                  </a:lnTo>
                  <a:lnTo>
                    <a:pt x="112" y="352"/>
                  </a:lnTo>
                  <a:lnTo>
                    <a:pt x="77" y="303"/>
                  </a:lnTo>
                  <a:lnTo>
                    <a:pt x="83" y="220"/>
                  </a:lnTo>
                  <a:lnTo>
                    <a:pt x="42" y="165"/>
                  </a:lnTo>
                  <a:lnTo>
                    <a:pt x="0" y="157"/>
                  </a:lnTo>
                  <a:lnTo>
                    <a:pt x="24" y="102"/>
                  </a:lnTo>
                  <a:lnTo>
                    <a:pt x="67" y="116"/>
                  </a:lnTo>
                  <a:lnTo>
                    <a:pt x="83" y="96"/>
                  </a:lnTo>
                  <a:lnTo>
                    <a:pt x="132" y="118"/>
                  </a:lnTo>
                  <a:lnTo>
                    <a:pt x="124" y="53"/>
                  </a:lnTo>
                  <a:lnTo>
                    <a:pt x="160" y="23"/>
                  </a:lnTo>
                  <a:lnTo>
                    <a:pt x="256" y="0"/>
                  </a:lnTo>
                  <a:lnTo>
                    <a:pt x="280" y="63"/>
                  </a:lnTo>
                  <a:lnTo>
                    <a:pt x="343" y="132"/>
                  </a:lnTo>
                  <a:lnTo>
                    <a:pt x="406" y="110"/>
                  </a:lnTo>
                  <a:lnTo>
                    <a:pt x="453" y="114"/>
                  </a:lnTo>
                  <a:lnTo>
                    <a:pt x="488" y="81"/>
                  </a:lnTo>
                  <a:lnTo>
                    <a:pt x="530" y="134"/>
                  </a:lnTo>
                  <a:lnTo>
                    <a:pt x="650" y="110"/>
                  </a:lnTo>
                  <a:lnTo>
                    <a:pt x="673" y="142"/>
                  </a:lnTo>
                  <a:lnTo>
                    <a:pt x="689" y="191"/>
                  </a:lnTo>
                  <a:lnTo>
                    <a:pt x="742" y="177"/>
                  </a:lnTo>
                  <a:lnTo>
                    <a:pt x="790" y="250"/>
                  </a:lnTo>
                  <a:lnTo>
                    <a:pt x="823" y="248"/>
                  </a:lnTo>
                  <a:lnTo>
                    <a:pt x="813" y="167"/>
                  </a:lnTo>
                  <a:lnTo>
                    <a:pt x="853" y="161"/>
                  </a:lnTo>
                  <a:lnTo>
                    <a:pt x="855" y="167"/>
                  </a:lnTo>
                  <a:lnTo>
                    <a:pt x="858" y="179"/>
                  </a:lnTo>
                  <a:lnTo>
                    <a:pt x="864" y="195"/>
                  </a:lnTo>
                  <a:lnTo>
                    <a:pt x="868" y="212"/>
                  </a:lnTo>
                  <a:lnTo>
                    <a:pt x="872" y="224"/>
                  </a:lnTo>
                  <a:lnTo>
                    <a:pt x="874" y="232"/>
                  </a:lnTo>
                  <a:lnTo>
                    <a:pt x="878" y="234"/>
                  </a:lnTo>
                  <a:lnTo>
                    <a:pt x="886" y="242"/>
                  </a:lnTo>
                  <a:lnTo>
                    <a:pt x="896" y="250"/>
                  </a:lnTo>
                  <a:lnTo>
                    <a:pt x="908" y="258"/>
                  </a:lnTo>
                  <a:lnTo>
                    <a:pt x="916" y="262"/>
                  </a:lnTo>
                  <a:lnTo>
                    <a:pt x="920" y="266"/>
                  </a:lnTo>
                  <a:lnTo>
                    <a:pt x="971" y="319"/>
                  </a:lnTo>
                  <a:lnTo>
                    <a:pt x="994" y="293"/>
                  </a:lnTo>
                  <a:lnTo>
                    <a:pt x="1010" y="238"/>
                  </a:lnTo>
                  <a:lnTo>
                    <a:pt x="1059" y="201"/>
                  </a:lnTo>
                  <a:lnTo>
                    <a:pt x="1126" y="226"/>
                  </a:lnTo>
                  <a:lnTo>
                    <a:pt x="1203" y="252"/>
                  </a:lnTo>
                  <a:lnTo>
                    <a:pt x="1246" y="248"/>
                  </a:lnTo>
                  <a:close/>
                </a:path>
              </a:pathLst>
            </a:custGeom>
            <a:grpFill/>
            <a:ln w="0">
              <a:solidFill>
                <a:schemeClr val="bg1"/>
              </a:solidFill>
              <a:prstDash val="solid"/>
              <a:round/>
            </a:ln>
          </p:spPr>
          <p:txBody>
            <a:bodyPr/>
            <a:lstStyle/>
            <a:p>
              <a:endParaRPr lang="zh-CN" altLang="en-US"/>
            </a:p>
          </p:txBody>
        </p:sp>
        <p:sp>
          <p:nvSpPr>
            <p:cNvPr id="59" name="Freeform 102"/>
            <p:cNvSpPr/>
            <p:nvPr/>
          </p:nvSpPr>
          <p:spPr bwMode="gray">
            <a:xfrm>
              <a:off x="3738" y="1458"/>
              <a:ext cx="630" cy="431"/>
            </a:xfrm>
            <a:custGeom>
              <a:avLst/>
              <a:gdLst>
                <a:gd name="T0" fmla="*/ 315 w 1260"/>
                <a:gd name="T1" fmla="*/ 87 h 862"/>
                <a:gd name="T2" fmla="*/ 309 w 1260"/>
                <a:gd name="T3" fmla="*/ 91 h 862"/>
                <a:gd name="T4" fmla="*/ 299 w 1260"/>
                <a:gd name="T5" fmla="*/ 98 h 862"/>
                <a:gd name="T6" fmla="*/ 293 w 1260"/>
                <a:gd name="T7" fmla="*/ 101 h 862"/>
                <a:gd name="T8" fmla="*/ 287 w 1260"/>
                <a:gd name="T9" fmla="*/ 98 h 862"/>
                <a:gd name="T10" fmla="*/ 279 w 1260"/>
                <a:gd name="T11" fmla="*/ 94 h 862"/>
                <a:gd name="T12" fmla="*/ 277 w 1260"/>
                <a:gd name="T13" fmla="*/ 106 h 862"/>
                <a:gd name="T14" fmla="*/ 274 w 1260"/>
                <a:gd name="T15" fmla="*/ 119 h 862"/>
                <a:gd name="T16" fmla="*/ 265 w 1260"/>
                <a:gd name="T17" fmla="*/ 127 h 862"/>
                <a:gd name="T18" fmla="*/ 263 w 1260"/>
                <a:gd name="T19" fmla="*/ 136 h 862"/>
                <a:gd name="T20" fmla="*/ 254 w 1260"/>
                <a:gd name="T21" fmla="*/ 143 h 862"/>
                <a:gd name="T22" fmla="*/ 241 w 1260"/>
                <a:gd name="T23" fmla="*/ 147 h 862"/>
                <a:gd name="T24" fmla="*/ 233 w 1260"/>
                <a:gd name="T25" fmla="*/ 149 h 862"/>
                <a:gd name="T26" fmla="*/ 236 w 1260"/>
                <a:gd name="T27" fmla="*/ 157 h 862"/>
                <a:gd name="T28" fmla="*/ 244 w 1260"/>
                <a:gd name="T29" fmla="*/ 167 h 862"/>
                <a:gd name="T30" fmla="*/ 241 w 1260"/>
                <a:gd name="T31" fmla="*/ 175 h 862"/>
                <a:gd name="T32" fmla="*/ 226 w 1260"/>
                <a:gd name="T33" fmla="*/ 177 h 862"/>
                <a:gd name="T34" fmla="*/ 216 w 1260"/>
                <a:gd name="T35" fmla="*/ 177 h 862"/>
                <a:gd name="T36" fmla="*/ 207 w 1260"/>
                <a:gd name="T37" fmla="*/ 177 h 862"/>
                <a:gd name="T38" fmla="*/ 202 w 1260"/>
                <a:gd name="T39" fmla="*/ 172 h 862"/>
                <a:gd name="T40" fmla="*/ 196 w 1260"/>
                <a:gd name="T41" fmla="*/ 170 h 862"/>
                <a:gd name="T42" fmla="*/ 191 w 1260"/>
                <a:gd name="T43" fmla="*/ 183 h 862"/>
                <a:gd name="T44" fmla="*/ 185 w 1260"/>
                <a:gd name="T45" fmla="*/ 199 h 862"/>
                <a:gd name="T46" fmla="*/ 178 w 1260"/>
                <a:gd name="T47" fmla="*/ 213 h 862"/>
                <a:gd name="T48" fmla="*/ 169 w 1260"/>
                <a:gd name="T49" fmla="*/ 216 h 862"/>
                <a:gd name="T50" fmla="*/ 147 w 1260"/>
                <a:gd name="T51" fmla="*/ 181 h 862"/>
                <a:gd name="T52" fmla="*/ 122 w 1260"/>
                <a:gd name="T53" fmla="*/ 132 h 862"/>
                <a:gd name="T54" fmla="*/ 66 w 1260"/>
                <a:gd name="T55" fmla="*/ 99 h 862"/>
                <a:gd name="T56" fmla="*/ 28 w 1260"/>
                <a:gd name="T57" fmla="*/ 96 h 862"/>
                <a:gd name="T58" fmla="*/ 21 w 1260"/>
                <a:gd name="T59" fmla="*/ 55 h 862"/>
                <a:gd name="T60" fmla="*/ 6 w 1260"/>
                <a:gd name="T61" fmla="*/ 26 h 862"/>
                <a:gd name="T62" fmla="*/ 33 w 1260"/>
                <a:gd name="T63" fmla="*/ 29 h 862"/>
                <a:gd name="T64" fmla="*/ 64 w 1260"/>
                <a:gd name="T65" fmla="*/ 0 h 862"/>
                <a:gd name="T66" fmla="*/ 101 w 1260"/>
                <a:gd name="T67" fmla="*/ 27 h 862"/>
                <a:gd name="T68" fmla="*/ 133 w 1260"/>
                <a:gd name="T69" fmla="*/ 34 h 862"/>
                <a:gd name="T70" fmla="*/ 172 w 1260"/>
                <a:gd name="T71" fmla="*/ 48 h 862"/>
                <a:gd name="T72" fmla="*/ 206 w 1260"/>
                <a:gd name="T73" fmla="*/ 62 h 862"/>
                <a:gd name="T74" fmla="*/ 214 w 1260"/>
                <a:gd name="T75" fmla="*/ 42 h 862"/>
                <a:gd name="T76" fmla="*/ 217 w 1260"/>
                <a:gd name="T77" fmla="*/ 53 h 862"/>
                <a:gd name="T78" fmla="*/ 219 w 1260"/>
                <a:gd name="T79" fmla="*/ 58 h 862"/>
                <a:gd name="T80" fmla="*/ 227 w 1260"/>
                <a:gd name="T81" fmla="*/ 65 h 862"/>
                <a:gd name="T82" fmla="*/ 243 w 1260"/>
                <a:gd name="T83" fmla="*/ 80 h 862"/>
                <a:gd name="T84" fmla="*/ 265 w 1260"/>
                <a:gd name="T85" fmla="*/ 51 h 862"/>
                <a:gd name="T86" fmla="*/ 312 w 1260"/>
                <a:gd name="T87" fmla="*/ 62 h 86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260"/>
                <a:gd name="T133" fmla="*/ 0 h 862"/>
                <a:gd name="T134" fmla="*/ 1260 w 1260"/>
                <a:gd name="T135" fmla="*/ 862 h 862"/>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260" h="862">
                  <a:moveTo>
                    <a:pt x="1246" y="248"/>
                  </a:moveTo>
                  <a:lnTo>
                    <a:pt x="1260" y="267"/>
                  </a:lnTo>
                  <a:lnTo>
                    <a:pt x="1258" y="348"/>
                  </a:lnTo>
                  <a:lnTo>
                    <a:pt x="1254" y="350"/>
                  </a:lnTo>
                  <a:lnTo>
                    <a:pt x="1246" y="356"/>
                  </a:lnTo>
                  <a:lnTo>
                    <a:pt x="1233" y="364"/>
                  </a:lnTo>
                  <a:lnTo>
                    <a:pt x="1219" y="374"/>
                  </a:lnTo>
                  <a:lnTo>
                    <a:pt x="1205" y="382"/>
                  </a:lnTo>
                  <a:lnTo>
                    <a:pt x="1195" y="390"/>
                  </a:lnTo>
                  <a:lnTo>
                    <a:pt x="1187" y="395"/>
                  </a:lnTo>
                  <a:lnTo>
                    <a:pt x="1179" y="399"/>
                  </a:lnTo>
                  <a:lnTo>
                    <a:pt x="1170" y="401"/>
                  </a:lnTo>
                  <a:lnTo>
                    <a:pt x="1160" y="401"/>
                  </a:lnTo>
                  <a:lnTo>
                    <a:pt x="1154" y="395"/>
                  </a:lnTo>
                  <a:lnTo>
                    <a:pt x="1146" y="390"/>
                  </a:lnTo>
                  <a:lnTo>
                    <a:pt x="1136" y="380"/>
                  </a:lnTo>
                  <a:lnTo>
                    <a:pt x="1124" y="376"/>
                  </a:lnTo>
                  <a:lnTo>
                    <a:pt x="1114" y="376"/>
                  </a:lnTo>
                  <a:lnTo>
                    <a:pt x="1110" y="384"/>
                  </a:lnTo>
                  <a:lnTo>
                    <a:pt x="1107" y="401"/>
                  </a:lnTo>
                  <a:lnTo>
                    <a:pt x="1105" y="423"/>
                  </a:lnTo>
                  <a:lnTo>
                    <a:pt x="1103" y="443"/>
                  </a:lnTo>
                  <a:lnTo>
                    <a:pt x="1101" y="460"/>
                  </a:lnTo>
                  <a:lnTo>
                    <a:pt x="1095" y="476"/>
                  </a:lnTo>
                  <a:lnTo>
                    <a:pt x="1085" y="490"/>
                  </a:lnTo>
                  <a:lnTo>
                    <a:pt x="1069" y="500"/>
                  </a:lnTo>
                  <a:lnTo>
                    <a:pt x="1059" y="508"/>
                  </a:lnTo>
                  <a:lnTo>
                    <a:pt x="1055" y="519"/>
                  </a:lnTo>
                  <a:lnTo>
                    <a:pt x="1053" y="531"/>
                  </a:lnTo>
                  <a:lnTo>
                    <a:pt x="1051" y="541"/>
                  </a:lnTo>
                  <a:lnTo>
                    <a:pt x="1045" y="551"/>
                  </a:lnTo>
                  <a:lnTo>
                    <a:pt x="1032" y="559"/>
                  </a:lnTo>
                  <a:lnTo>
                    <a:pt x="1016" y="569"/>
                  </a:lnTo>
                  <a:lnTo>
                    <a:pt x="996" y="576"/>
                  </a:lnTo>
                  <a:lnTo>
                    <a:pt x="979" y="584"/>
                  </a:lnTo>
                  <a:lnTo>
                    <a:pt x="965" y="588"/>
                  </a:lnTo>
                  <a:lnTo>
                    <a:pt x="951" y="590"/>
                  </a:lnTo>
                  <a:lnTo>
                    <a:pt x="941" y="592"/>
                  </a:lnTo>
                  <a:lnTo>
                    <a:pt x="933" y="596"/>
                  </a:lnTo>
                  <a:lnTo>
                    <a:pt x="929" y="604"/>
                  </a:lnTo>
                  <a:lnTo>
                    <a:pt x="933" y="614"/>
                  </a:lnTo>
                  <a:lnTo>
                    <a:pt x="943" y="628"/>
                  </a:lnTo>
                  <a:lnTo>
                    <a:pt x="955" y="641"/>
                  </a:lnTo>
                  <a:lnTo>
                    <a:pt x="967" y="651"/>
                  </a:lnTo>
                  <a:lnTo>
                    <a:pt x="977" y="665"/>
                  </a:lnTo>
                  <a:lnTo>
                    <a:pt x="981" y="677"/>
                  </a:lnTo>
                  <a:lnTo>
                    <a:pt x="975" y="691"/>
                  </a:lnTo>
                  <a:lnTo>
                    <a:pt x="963" y="699"/>
                  </a:lnTo>
                  <a:lnTo>
                    <a:pt x="943" y="702"/>
                  </a:lnTo>
                  <a:lnTo>
                    <a:pt x="923" y="704"/>
                  </a:lnTo>
                  <a:lnTo>
                    <a:pt x="906" y="706"/>
                  </a:lnTo>
                  <a:lnTo>
                    <a:pt x="892" y="708"/>
                  </a:lnTo>
                  <a:lnTo>
                    <a:pt x="880" y="708"/>
                  </a:lnTo>
                  <a:lnTo>
                    <a:pt x="864" y="708"/>
                  </a:lnTo>
                  <a:lnTo>
                    <a:pt x="847" y="706"/>
                  </a:lnTo>
                  <a:lnTo>
                    <a:pt x="833" y="706"/>
                  </a:lnTo>
                  <a:lnTo>
                    <a:pt x="827" y="706"/>
                  </a:lnTo>
                  <a:lnTo>
                    <a:pt x="825" y="702"/>
                  </a:lnTo>
                  <a:lnTo>
                    <a:pt x="819" y="697"/>
                  </a:lnTo>
                  <a:lnTo>
                    <a:pt x="809" y="687"/>
                  </a:lnTo>
                  <a:lnTo>
                    <a:pt x="799" y="679"/>
                  </a:lnTo>
                  <a:lnTo>
                    <a:pt x="792" y="675"/>
                  </a:lnTo>
                  <a:lnTo>
                    <a:pt x="786" y="679"/>
                  </a:lnTo>
                  <a:lnTo>
                    <a:pt x="780" y="691"/>
                  </a:lnTo>
                  <a:lnTo>
                    <a:pt x="774" y="708"/>
                  </a:lnTo>
                  <a:lnTo>
                    <a:pt x="766" y="732"/>
                  </a:lnTo>
                  <a:lnTo>
                    <a:pt x="756" y="756"/>
                  </a:lnTo>
                  <a:lnTo>
                    <a:pt x="748" y="777"/>
                  </a:lnTo>
                  <a:lnTo>
                    <a:pt x="742" y="795"/>
                  </a:lnTo>
                  <a:lnTo>
                    <a:pt x="733" y="821"/>
                  </a:lnTo>
                  <a:lnTo>
                    <a:pt x="723" y="838"/>
                  </a:lnTo>
                  <a:lnTo>
                    <a:pt x="711" y="850"/>
                  </a:lnTo>
                  <a:lnTo>
                    <a:pt x="699" y="854"/>
                  </a:lnTo>
                  <a:lnTo>
                    <a:pt x="687" y="858"/>
                  </a:lnTo>
                  <a:lnTo>
                    <a:pt x="677" y="862"/>
                  </a:lnTo>
                  <a:lnTo>
                    <a:pt x="671" y="862"/>
                  </a:lnTo>
                  <a:lnTo>
                    <a:pt x="671" y="799"/>
                  </a:lnTo>
                  <a:lnTo>
                    <a:pt x="585" y="722"/>
                  </a:lnTo>
                  <a:lnTo>
                    <a:pt x="595" y="669"/>
                  </a:lnTo>
                  <a:lnTo>
                    <a:pt x="536" y="602"/>
                  </a:lnTo>
                  <a:lnTo>
                    <a:pt x="490" y="527"/>
                  </a:lnTo>
                  <a:lnTo>
                    <a:pt x="335" y="482"/>
                  </a:lnTo>
                  <a:lnTo>
                    <a:pt x="297" y="460"/>
                  </a:lnTo>
                  <a:lnTo>
                    <a:pt x="262" y="393"/>
                  </a:lnTo>
                  <a:lnTo>
                    <a:pt x="223" y="327"/>
                  </a:lnTo>
                  <a:lnTo>
                    <a:pt x="144" y="388"/>
                  </a:lnTo>
                  <a:lnTo>
                    <a:pt x="114" y="382"/>
                  </a:lnTo>
                  <a:lnTo>
                    <a:pt x="112" y="352"/>
                  </a:lnTo>
                  <a:lnTo>
                    <a:pt x="77" y="303"/>
                  </a:lnTo>
                  <a:lnTo>
                    <a:pt x="83" y="220"/>
                  </a:lnTo>
                  <a:lnTo>
                    <a:pt x="42" y="165"/>
                  </a:lnTo>
                  <a:lnTo>
                    <a:pt x="0" y="157"/>
                  </a:lnTo>
                  <a:lnTo>
                    <a:pt x="24" y="102"/>
                  </a:lnTo>
                  <a:lnTo>
                    <a:pt x="67" y="116"/>
                  </a:lnTo>
                  <a:lnTo>
                    <a:pt x="83" y="96"/>
                  </a:lnTo>
                  <a:lnTo>
                    <a:pt x="132" y="118"/>
                  </a:lnTo>
                  <a:lnTo>
                    <a:pt x="124" y="53"/>
                  </a:lnTo>
                  <a:lnTo>
                    <a:pt x="160" y="23"/>
                  </a:lnTo>
                  <a:lnTo>
                    <a:pt x="256" y="0"/>
                  </a:lnTo>
                  <a:lnTo>
                    <a:pt x="280" y="63"/>
                  </a:lnTo>
                  <a:lnTo>
                    <a:pt x="343" y="132"/>
                  </a:lnTo>
                  <a:lnTo>
                    <a:pt x="406" y="110"/>
                  </a:lnTo>
                  <a:lnTo>
                    <a:pt x="453" y="114"/>
                  </a:lnTo>
                  <a:lnTo>
                    <a:pt x="488" y="81"/>
                  </a:lnTo>
                  <a:lnTo>
                    <a:pt x="530" y="134"/>
                  </a:lnTo>
                  <a:lnTo>
                    <a:pt x="650" y="110"/>
                  </a:lnTo>
                  <a:lnTo>
                    <a:pt x="673" y="142"/>
                  </a:lnTo>
                  <a:lnTo>
                    <a:pt x="689" y="191"/>
                  </a:lnTo>
                  <a:lnTo>
                    <a:pt x="742" y="177"/>
                  </a:lnTo>
                  <a:lnTo>
                    <a:pt x="790" y="250"/>
                  </a:lnTo>
                  <a:lnTo>
                    <a:pt x="823" y="248"/>
                  </a:lnTo>
                  <a:lnTo>
                    <a:pt x="813" y="167"/>
                  </a:lnTo>
                  <a:lnTo>
                    <a:pt x="853" y="161"/>
                  </a:lnTo>
                  <a:lnTo>
                    <a:pt x="855" y="167"/>
                  </a:lnTo>
                  <a:lnTo>
                    <a:pt x="858" y="179"/>
                  </a:lnTo>
                  <a:lnTo>
                    <a:pt x="864" y="195"/>
                  </a:lnTo>
                  <a:lnTo>
                    <a:pt x="868" y="212"/>
                  </a:lnTo>
                  <a:lnTo>
                    <a:pt x="872" y="224"/>
                  </a:lnTo>
                  <a:lnTo>
                    <a:pt x="874" y="232"/>
                  </a:lnTo>
                  <a:lnTo>
                    <a:pt x="878" y="234"/>
                  </a:lnTo>
                  <a:lnTo>
                    <a:pt x="886" y="242"/>
                  </a:lnTo>
                  <a:lnTo>
                    <a:pt x="896" y="250"/>
                  </a:lnTo>
                  <a:lnTo>
                    <a:pt x="908" y="258"/>
                  </a:lnTo>
                  <a:lnTo>
                    <a:pt x="916" y="262"/>
                  </a:lnTo>
                  <a:lnTo>
                    <a:pt x="920" y="266"/>
                  </a:lnTo>
                  <a:lnTo>
                    <a:pt x="971" y="319"/>
                  </a:lnTo>
                  <a:lnTo>
                    <a:pt x="994" y="293"/>
                  </a:lnTo>
                  <a:lnTo>
                    <a:pt x="1010" y="238"/>
                  </a:lnTo>
                  <a:lnTo>
                    <a:pt x="1059" y="201"/>
                  </a:lnTo>
                  <a:lnTo>
                    <a:pt x="1126" y="226"/>
                  </a:lnTo>
                  <a:lnTo>
                    <a:pt x="1203" y="252"/>
                  </a:lnTo>
                  <a:lnTo>
                    <a:pt x="1246" y="248"/>
                  </a:lnTo>
                </a:path>
              </a:pathLst>
            </a:custGeom>
            <a:grpFill/>
            <a:ln w="6350">
              <a:solidFill>
                <a:schemeClr val="bg1"/>
              </a:solidFill>
              <a:prstDash val="solid"/>
              <a:round/>
            </a:ln>
          </p:spPr>
          <p:txBody>
            <a:bodyPr/>
            <a:lstStyle/>
            <a:p>
              <a:endParaRPr lang="zh-CN" altLang="en-US"/>
            </a:p>
          </p:txBody>
        </p:sp>
        <p:sp>
          <p:nvSpPr>
            <p:cNvPr id="60" name="Freeform 103"/>
            <p:cNvSpPr/>
            <p:nvPr/>
          </p:nvSpPr>
          <p:spPr bwMode="gray">
            <a:xfrm>
              <a:off x="3599" y="839"/>
              <a:ext cx="861" cy="778"/>
            </a:xfrm>
            <a:custGeom>
              <a:avLst/>
              <a:gdLst>
                <a:gd name="T0" fmla="*/ 419 w 1722"/>
                <a:gd name="T1" fmla="*/ 147 h 1557"/>
                <a:gd name="T2" fmla="*/ 423 w 1722"/>
                <a:gd name="T3" fmla="*/ 159 h 1557"/>
                <a:gd name="T4" fmla="*/ 428 w 1722"/>
                <a:gd name="T5" fmla="*/ 173 h 1557"/>
                <a:gd name="T6" fmla="*/ 419 w 1722"/>
                <a:gd name="T7" fmla="*/ 185 h 1557"/>
                <a:gd name="T8" fmla="*/ 421 w 1722"/>
                <a:gd name="T9" fmla="*/ 196 h 1557"/>
                <a:gd name="T10" fmla="*/ 431 w 1722"/>
                <a:gd name="T11" fmla="*/ 209 h 1557"/>
                <a:gd name="T12" fmla="*/ 429 w 1722"/>
                <a:gd name="T13" fmla="*/ 233 h 1557"/>
                <a:gd name="T14" fmla="*/ 425 w 1722"/>
                <a:gd name="T15" fmla="*/ 256 h 1557"/>
                <a:gd name="T16" fmla="*/ 417 w 1722"/>
                <a:gd name="T17" fmla="*/ 278 h 1557"/>
                <a:gd name="T18" fmla="*/ 418 w 1722"/>
                <a:gd name="T19" fmla="*/ 290 h 1557"/>
                <a:gd name="T20" fmla="*/ 404 w 1722"/>
                <a:gd name="T21" fmla="*/ 293 h 1557"/>
                <a:gd name="T22" fmla="*/ 383 w 1722"/>
                <a:gd name="T23" fmla="*/ 292 h 1557"/>
                <a:gd name="T24" fmla="*/ 374 w 1722"/>
                <a:gd name="T25" fmla="*/ 295 h 1557"/>
                <a:gd name="T26" fmla="*/ 367 w 1722"/>
                <a:gd name="T27" fmla="*/ 309 h 1557"/>
                <a:gd name="T28" fmla="*/ 358 w 1722"/>
                <a:gd name="T29" fmla="*/ 318 h 1557"/>
                <a:gd name="T30" fmla="*/ 368 w 1722"/>
                <a:gd name="T31" fmla="*/ 333 h 1557"/>
                <a:gd name="T32" fmla="*/ 375 w 1722"/>
                <a:gd name="T33" fmla="*/ 350 h 1557"/>
                <a:gd name="T34" fmla="*/ 380 w 1722"/>
                <a:gd name="T35" fmla="*/ 367 h 1557"/>
                <a:gd name="T36" fmla="*/ 334 w 1722"/>
                <a:gd name="T37" fmla="*/ 359 h 1557"/>
                <a:gd name="T38" fmla="*/ 299 w 1722"/>
                <a:gd name="T39" fmla="*/ 376 h 1557"/>
                <a:gd name="T40" fmla="*/ 275 w 1722"/>
                <a:gd name="T41" fmla="*/ 371 h 1557"/>
                <a:gd name="T42" fmla="*/ 237 w 1722"/>
                <a:gd name="T43" fmla="*/ 345 h 1557"/>
                <a:gd name="T44" fmla="*/ 183 w 1722"/>
                <a:gd name="T45" fmla="*/ 338 h 1557"/>
                <a:gd name="T46" fmla="*/ 134 w 1722"/>
                <a:gd name="T47" fmla="*/ 309 h 1557"/>
                <a:gd name="T48" fmla="*/ 93 w 1722"/>
                <a:gd name="T49" fmla="*/ 288 h 1557"/>
                <a:gd name="T50" fmla="*/ 118 w 1722"/>
                <a:gd name="T51" fmla="*/ 211 h 1557"/>
                <a:gd name="T52" fmla="*/ 133 w 1722"/>
                <a:gd name="T53" fmla="*/ 147 h 1557"/>
                <a:gd name="T54" fmla="*/ 106 w 1722"/>
                <a:gd name="T55" fmla="*/ 89 h 1557"/>
                <a:gd name="T56" fmla="*/ 45 w 1722"/>
                <a:gd name="T57" fmla="*/ 63 h 1557"/>
                <a:gd name="T58" fmla="*/ 12 w 1722"/>
                <a:gd name="T59" fmla="*/ 35 h 1557"/>
                <a:gd name="T60" fmla="*/ 9 w 1722"/>
                <a:gd name="T61" fmla="*/ 18 h 1557"/>
                <a:gd name="T62" fmla="*/ 25 w 1722"/>
                <a:gd name="T63" fmla="*/ 11 h 1557"/>
                <a:gd name="T64" fmla="*/ 45 w 1722"/>
                <a:gd name="T65" fmla="*/ 4 h 1557"/>
                <a:gd name="T66" fmla="*/ 61 w 1722"/>
                <a:gd name="T67" fmla="*/ 1 h 1557"/>
                <a:gd name="T68" fmla="*/ 82 w 1722"/>
                <a:gd name="T69" fmla="*/ 11 h 1557"/>
                <a:gd name="T70" fmla="*/ 94 w 1722"/>
                <a:gd name="T71" fmla="*/ 8 h 1557"/>
                <a:gd name="T72" fmla="*/ 104 w 1722"/>
                <a:gd name="T73" fmla="*/ 6 h 1557"/>
                <a:gd name="T74" fmla="*/ 127 w 1722"/>
                <a:gd name="T75" fmla="*/ 24 h 1557"/>
                <a:gd name="T76" fmla="*/ 146 w 1722"/>
                <a:gd name="T77" fmla="*/ 46 h 1557"/>
                <a:gd name="T78" fmla="*/ 160 w 1722"/>
                <a:gd name="T79" fmla="*/ 69 h 1557"/>
                <a:gd name="T80" fmla="*/ 175 w 1722"/>
                <a:gd name="T81" fmla="*/ 92 h 1557"/>
                <a:gd name="T82" fmla="*/ 184 w 1722"/>
                <a:gd name="T83" fmla="*/ 101 h 1557"/>
                <a:gd name="T84" fmla="*/ 194 w 1722"/>
                <a:gd name="T85" fmla="*/ 123 h 1557"/>
                <a:gd name="T86" fmla="*/ 206 w 1722"/>
                <a:gd name="T87" fmla="*/ 138 h 1557"/>
                <a:gd name="T88" fmla="*/ 225 w 1722"/>
                <a:gd name="T89" fmla="*/ 141 h 1557"/>
                <a:gd name="T90" fmla="*/ 245 w 1722"/>
                <a:gd name="T91" fmla="*/ 137 h 1557"/>
                <a:gd name="T92" fmla="*/ 267 w 1722"/>
                <a:gd name="T93" fmla="*/ 143 h 1557"/>
                <a:gd name="T94" fmla="*/ 281 w 1722"/>
                <a:gd name="T95" fmla="*/ 152 h 1557"/>
                <a:gd name="T96" fmla="*/ 293 w 1722"/>
                <a:gd name="T97" fmla="*/ 154 h 1557"/>
                <a:gd name="T98" fmla="*/ 298 w 1722"/>
                <a:gd name="T99" fmla="*/ 154 h 1557"/>
                <a:gd name="T100" fmla="*/ 300 w 1722"/>
                <a:gd name="T101" fmla="*/ 160 h 1557"/>
                <a:gd name="T102" fmla="*/ 308 w 1722"/>
                <a:gd name="T103" fmla="*/ 175 h 1557"/>
                <a:gd name="T104" fmla="*/ 317 w 1722"/>
                <a:gd name="T105" fmla="*/ 191 h 1557"/>
                <a:gd name="T106" fmla="*/ 329 w 1722"/>
                <a:gd name="T107" fmla="*/ 197 h 1557"/>
                <a:gd name="T108" fmla="*/ 350 w 1722"/>
                <a:gd name="T109" fmla="*/ 191 h 1557"/>
                <a:gd name="T110" fmla="*/ 368 w 1722"/>
                <a:gd name="T111" fmla="*/ 175 h 1557"/>
                <a:gd name="T112" fmla="*/ 382 w 1722"/>
                <a:gd name="T113" fmla="*/ 160 h 1557"/>
                <a:gd name="T114" fmla="*/ 396 w 1722"/>
                <a:gd name="T115" fmla="*/ 148 h 1557"/>
                <a:gd name="T116" fmla="*/ 414 w 1722"/>
                <a:gd name="T117" fmla="*/ 140 h 1557"/>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722"/>
                <a:gd name="T178" fmla="*/ 0 h 1557"/>
                <a:gd name="T179" fmla="*/ 1722 w 1722"/>
                <a:gd name="T180" fmla="*/ 1557 h 1557"/>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722" h="1557">
                  <a:moveTo>
                    <a:pt x="1673" y="557"/>
                  </a:moveTo>
                  <a:lnTo>
                    <a:pt x="1673" y="561"/>
                  </a:lnTo>
                  <a:lnTo>
                    <a:pt x="1673" y="575"/>
                  </a:lnTo>
                  <a:lnTo>
                    <a:pt x="1675" y="590"/>
                  </a:lnTo>
                  <a:lnTo>
                    <a:pt x="1675" y="606"/>
                  </a:lnTo>
                  <a:lnTo>
                    <a:pt x="1675" y="618"/>
                  </a:lnTo>
                  <a:lnTo>
                    <a:pt x="1681" y="628"/>
                  </a:lnTo>
                  <a:lnTo>
                    <a:pt x="1691" y="639"/>
                  </a:lnTo>
                  <a:lnTo>
                    <a:pt x="1702" y="649"/>
                  </a:lnTo>
                  <a:lnTo>
                    <a:pt x="1712" y="661"/>
                  </a:lnTo>
                  <a:lnTo>
                    <a:pt x="1714" y="673"/>
                  </a:lnTo>
                  <a:lnTo>
                    <a:pt x="1710" y="693"/>
                  </a:lnTo>
                  <a:lnTo>
                    <a:pt x="1698" y="712"/>
                  </a:lnTo>
                  <a:lnTo>
                    <a:pt x="1687" y="728"/>
                  </a:lnTo>
                  <a:lnTo>
                    <a:pt x="1681" y="736"/>
                  </a:lnTo>
                  <a:lnTo>
                    <a:pt x="1673" y="742"/>
                  </a:lnTo>
                  <a:lnTo>
                    <a:pt x="1669" y="752"/>
                  </a:lnTo>
                  <a:lnTo>
                    <a:pt x="1667" y="762"/>
                  </a:lnTo>
                  <a:lnTo>
                    <a:pt x="1673" y="773"/>
                  </a:lnTo>
                  <a:lnTo>
                    <a:pt x="1683" y="787"/>
                  </a:lnTo>
                  <a:lnTo>
                    <a:pt x="1697" y="799"/>
                  </a:lnTo>
                  <a:lnTo>
                    <a:pt x="1708" y="811"/>
                  </a:lnTo>
                  <a:lnTo>
                    <a:pt x="1718" y="823"/>
                  </a:lnTo>
                  <a:lnTo>
                    <a:pt x="1722" y="836"/>
                  </a:lnTo>
                  <a:lnTo>
                    <a:pt x="1720" y="852"/>
                  </a:lnTo>
                  <a:lnTo>
                    <a:pt x="1720" y="876"/>
                  </a:lnTo>
                  <a:lnTo>
                    <a:pt x="1718" y="905"/>
                  </a:lnTo>
                  <a:lnTo>
                    <a:pt x="1716" y="935"/>
                  </a:lnTo>
                  <a:lnTo>
                    <a:pt x="1714" y="964"/>
                  </a:lnTo>
                  <a:lnTo>
                    <a:pt x="1712" y="988"/>
                  </a:lnTo>
                  <a:lnTo>
                    <a:pt x="1708" y="1002"/>
                  </a:lnTo>
                  <a:lnTo>
                    <a:pt x="1697" y="1025"/>
                  </a:lnTo>
                  <a:lnTo>
                    <a:pt x="1687" y="1051"/>
                  </a:lnTo>
                  <a:lnTo>
                    <a:pt x="1675" y="1074"/>
                  </a:lnTo>
                  <a:lnTo>
                    <a:pt x="1667" y="1096"/>
                  </a:lnTo>
                  <a:lnTo>
                    <a:pt x="1667" y="1114"/>
                  </a:lnTo>
                  <a:lnTo>
                    <a:pt x="1667" y="1130"/>
                  </a:lnTo>
                  <a:lnTo>
                    <a:pt x="1669" y="1139"/>
                  </a:lnTo>
                  <a:lnTo>
                    <a:pt x="1671" y="1151"/>
                  </a:lnTo>
                  <a:lnTo>
                    <a:pt x="1671" y="1163"/>
                  </a:lnTo>
                  <a:lnTo>
                    <a:pt x="1667" y="1171"/>
                  </a:lnTo>
                  <a:lnTo>
                    <a:pt x="1655" y="1175"/>
                  </a:lnTo>
                  <a:lnTo>
                    <a:pt x="1639" y="1175"/>
                  </a:lnTo>
                  <a:lnTo>
                    <a:pt x="1614" y="1175"/>
                  </a:lnTo>
                  <a:lnTo>
                    <a:pt x="1586" y="1175"/>
                  </a:lnTo>
                  <a:lnTo>
                    <a:pt x="1561" y="1173"/>
                  </a:lnTo>
                  <a:lnTo>
                    <a:pt x="1539" y="1171"/>
                  </a:lnTo>
                  <a:lnTo>
                    <a:pt x="1529" y="1169"/>
                  </a:lnTo>
                  <a:lnTo>
                    <a:pt x="1521" y="1169"/>
                  </a:lnTo>
                  <a:lnTo>
                    <a:pt x="1511" y="1171"/>
                  </a:lnTo>
                  <a:lnTo>
                    <a:pt x="1502" y="1177"/>
                  </a:lnTo>
                  <a:lnTo>
                    <a:pt x="1496" y="1183"/>
                  </a:lnTo>
                  <a:lnTo>
                    <a:pt x="1492" y="1193"/>
                  </a:lnTo>
                  <a:lnTo>
                    <a:pt x="1486" y="1206"/>
                  </a:lnTo>
                  <a:lnTo>
                    <a:pt x="1478" y="1222"/>
                  </a:lnTo>
                  <a:lnTo>
                    <a:pt x="1468" y="1238"/>
                  </a:lnTo>
                  <a:lnTo>
                    <a:pt x="1458" y="1246"/>
                  </a:lnTo>
                  <a:lnTo>
                    <a:pt x="1445" y="1254"/>
                  </a:lnTo>
                  <a:lnTo>
                    <a:pt x="1435" y="1261"/>
                  </a:lnTo>
                  <a:lnTo>
                    <a:pt x="1429" y="1273"/>
                  </a:lnTo>
                  <a:lnTo>
                    <a:pt x="1433" y="1285"/>
                  </a:lnTo>
                  <a:lnTo>
                    <a:pt x="1443" y="1297"/>
                  </a:lnTo>
                  <a:lnTo>
                    <a:pt x="1456" y="1313"/>
                  </a:lnTo>
                  <a:lnTo>
                    <a:pt x="1470" y="1332"/>
                  </a:lnTo>
                  <a:lnTo>
                    <a:pt x="1480" y="1350"/>
                  </a:lnTo>
                  <a:lnTo>
                    <a:pt x="1486" y="1364"/>
                  </a:lnTo>
                  <a:lnTo>
                    <a:pt x="1492" y="1381"/>
                  </a:lnTo>
                  <a:lnTo>
                    <a:pt x="1498" y="1401"/>
                  </a:lnTo>
                  <a:lnTo>
                    <a:pt x="1504" y="1423"/>
                  </a:lnTo>
                  <a:lnTo>
                    <a:pt x="1510" y="1441"/>
                  </a:lnTo>
                  <a:lnTo>
                    <a:pt x="1513" y="1454"/>
                  </a:lnTo>
                  <a:lnTo>
                    <a:pt x="1517" y="1470"/>
                  </a:lnTo>
                  <a:lnTo>
                    <a:pt x="1521" y="1482"/>
                  </a:lnTo>
                  <a:lnTo>
                    <a:pt x="1523" y="1486"/>
                  </a:lnTo>
                  <a:lnTo>
                    <a:pt x="1480" y="1490"/>
                  </a:lnTo>
                  <a:lnTo>
                    <a:pt x="1336" y="1439"/>
                  </a:lnTo>
                  <a:lnTo>
                    <a:pt x="1287" y="1476"/>
                  </a:lnTo>
                  <a:lnTo>
                    <a:pt x="1271" y="1531"/>
                  </a:lnTo>
                  <a:lnTo>
                    <a:pt x="1248" y="1557"/>
                  </a:lnTo>
                  <a:lnTo>
                    <a:pt x="1195" y="1504"/>
                  </a:lnTo>
                  <a:lnTo>
                    <a:pt x="1151" y="1472"/>
                  </a:lnTo>
                  <a:lnTo>
                    <a:pt x="1130" y="1399"/>
                  </a:lnTo>
                  <a:lnTo>
                    <a:pt x="1090" y="1405"/>
                  </a:lnTo>
                  <a:lnTo>
                    <a:pt x="1100" y="1486"/>
                  </a:lnTo>
                  <a:lnTo>
                    <a:pt x="1067" y="1488"/>
                  </a:lnTo>
                  <a:lnTo>
                    <a:pt x="1019" y="1415"/>
                  </a:lnTo>
                  <a:lnTo>
                    <a:pt x="966" y="1429"/>
                  </a:lnTo>
                  <a:lnTo>
                    <a:pt x="950" y="1380"/>
                  </a:lnTo>
                  <a:lnTo>
                    <a:pt x="927" y="1348"/>
                  </a:lnTo>
                  <a:lnTo>
                    <a:pt x="807" y="1372"/>
                  </a:lnTo>
                  <a:lnTo>
                    <a:pt x="765" y="1322"/>
                  </a:lnTo>
                  <a:lnTo>
                    <a:pt x="730" y="1352"/>
                  </a:lnTo>
                  <a:lnTo>
                    <a:pt x="683" y="1348"/>
                  </a:lnTo>
                  <a:lnTo>
                    <a:pt x="620" y="1370"/>
                  </a:lnTo>
                  <a:lnTo>
                    <a:pt x="557" y="1301"/>
                  </a:lnTo>
                  <a:lnTo>
                    <a:pt x="533" y="1238"/>
                  </a:lnTo>
                  <a:lnTo>
                    <a:pt x="437" y="1261"/>
                  </a:lnTo>
                  <a:lnTo>
                    <a:pt x="401" y="1291"/>
                  </a:lnTo>
                  <a:lnTo>
                    <a:pt x="413" y="1208"/>
                  </a:lnTo>
                  <a:lnTo>
                    <a:pt x="372" y="1153"/>
                  </a:lnTo>
                  <a:lnTo>
                    <a:pt x="317" y="1094"/>
                  </a:lnTo>
                  <a:lnTo>
                    <a:pt x="332" y="1047"/>
                  </a:lnTo>
                  <a:lnTo>
                    <a:pt x="415" y="956"/>
                  </a:lnTo>
                  <a:lnTo>
                    <a:pt x="472" y="844"/>
                  </a:lnTo>
                  <a:lnTo>
                    <a:pt x="521" y="791"/>
                  </a:lnTo>
                  <a:lnTo>
                    <a:pt x="529" y="722"/>
                  </a:lnTo>
                  <a:lnTo>
                    <a:pt x="563" y="708"/>
                  </a:lnTo>
                  <a:lnTo>
                    <a:pt x="531" y="590"/>
                  </a:lnTo>
                  <a:lnTo>
                    <a:pt x="561" y="480"/>
                  </a:lnTo>
                  <a:lnTo>
                    <a:pt x="580" y="376"/>
                  </a:lnTo>
                  <a:lnTo>
                    <a:pt x="468" y="297"/>
                  </a:lnTo>
                  <a:lnTo>
                    <a:pt x="421" y="358"/>
                  </a:lnTo>
                  <a:lnTo>
                    <a:pt x="313" y="393"/>
                  </a:lnTo>
                  <a:lnTo>
                    <a:pt x="210" y="393"/>
                  </a:lnTo>
                  <a:lnTo>
                    <a:pt x="183" y="321"/>
                  </a:lnTo>
                  <a:lnTo>
                    <a:pt x="179" y="254"/>
                  </a:lnTo>
                  <a:lnTo>
                    <a:pt x="112" y="226"/>
                  </a:lnTo>
                  <a:lnTo>
                    <a:pt x="88" y="273"/>
                  </a:lnTo>
                  <a:lnTo>
                    <a:pt x="0" y="222"/>
                  </a:lnTo>
                  <a:lnTo>
                    <a:pt x="45" y="140"/>
                  </a:lnTo>
                  <a:lnTo>
                    <a:pt x="6" y="90"/>
                  </a:lnTo>
                  <a:lnTo>
                    <a:pt x="10" y="88"/>
                  </a:lnTo>
                  <a:lnTo>
                    <a:pt x="19" y="83"/>
                  </a:lnTo>
                  <a:lnTo>
                    <a:pt x="33" y="75"/>
                  </a:lnTo>
                  <a:lnTo>
                    <a:pt x="51" y="65"/>
                  </a:lnTo>
                  <a:lnTo>
                    <a:pt x="69" y="57"/>
                  </a:lnTo>
                  <a:lnTo>
                    <a:pt x="84" y="49"/>
                  </a:lnTo>
                  <a:lnTo>
                    <a:pt x="98" y="45"/>
                  </a:lnTo>
                  <a:lnTo>
                    <a:pt x="112" y="41"/>
                  </a:lnTo>
                  <a:lnTo>
                    <a:pt x="134" y="35"/>
                  </a:lnTo>
                  <a:lnTo>
                    <a:pt x="155" y="25"/>
                  </a:lnTo>
                  <a:lnTo>
                    <a:pt x="179" y="18"/>
                  </a:lnTo>
                  <a:lnTo>
                    <a:pt x="197" y="8"/>
                  </a:lnTo>
                  <a:lnTo>
                    <a:pt x="208" y="4"/>
                  </a:lnTo>
                  <a:lnTo>
                    <a:pt x="224" y="0"/>
                  </a:lnTo>
                  <a:lnTo>
                    <a:pt x="244" y="4"/>
                  </a:lnTo>
                  <a:lnTo>
                    <a:pt x="267" y="14"/>
                  </a:lnTo>
                  <a:lnTo>
                    <a:pt x="293" y="25"/>
                  </a:lnTo>
                  <a:lnTo>
                    <a:pt x="313" y="39"/>
                  </a:lnTo>
                  <a:lnTo>
                    <a:pt x="328" y="47"/>
                  </a:lnTo>
                  <a:lnTo>
                    <a:pt x="344" y="51"/>
                  </a:lnTo>
                  <a:lnTo>
                    <a:pt x="358" y="49"/>
                  </a:lnTo>
                  <a:lnTo>
                    <a:pt x="366" y="43"/>
                  </a:lnTo>
                  <a:lnTo>
                    <a:pt x="374" y="35"/>
                  </a:lnTo>
                  <a:lnTo>
                    <a:pt x="380" y="27"/>
                  </a:lnTo>
                  <a:lnTo>
                    <a:pt x="387" y="21"/>
                  </a:lnTo>
                  <a:lnTo>
                    <a:pt x="397" y="21"/>
                  </a:lnTo>
                  <a:lnTo>
                    <a:pt x="413" y="25"/>
                  </a:lnTo>
                  <a:lnTo>
                    <a:pt x="447" y="39"/>
                  </a:lnTo>
                  <a:lnTo>
                    <a:pt x="472" y="53"/>
                  </a:lnTo>
                  <a:lnTo>
                    <a:pt x="492" y="73"/>
                  </a:lnTo>
                  <a:lnTo>
                    <a:pt x="510" y="96"/>
                  </a:lnTo>
                  <a:lnTo>
                    <a:pt x="531" y="118"/>
                  </a:lnTo>
                  <a:lnTo>
                    <a:pt x="551" y="142"/>
                  </a:lnTo>
                  <a:lnTo>
                    <a:pt x="567" y="163"/>
                  </a:lnTo>
                  <a:lnTo>
                    <a:pt x="582" y="187"/>
                  </a:lnTo>
                  <a:lnTo>
                    <a:pt x="598" y="212"/>
                  </a:lnTo>
                  <a:lnTo>
                    <a:pt x="610" y="232"/>
                  </a:lnTo>
                  <a:lnTo>
                    <a:pt x="622" y="256"/>
                  </a:lnTo>
                  <a:lnTo>
                    <a:pt x="637" y="279"/>
                  </a:lnTo>
                  <a:lnTo>
                    <a:pt x="655" y="303"/>
                  </a:lnTo>
                  <a:lnTo>
                    <a:pt x="673" y="325"/>
                  </a:lnTo>
                  <a:lnTo>
                    <a:pt x="689" y="348"/>
                  </a:lnTo>
                  <a:lnTo>
                    <a:pt x="698" y="368"/>
                  </a:lnTo>
                  <a:lnTo>
                    <a:pt x="704" y="378"/>
                  </a:lnTo>
                  <a:lnTo>
                    <a:pt x="714" y="386"/>
                  </a:lnTo>
                  <a:lnTo>
                    <a:pt x="726" y="393"/>
                  </a:lnTo>
                  <a:lnTo>
                    <a:pt x="736" y="405"/>
                  </a:lnTo>
                  <a:lnTo>
                    <a:pt x="742" y="417"/>
                  </a:lnTo>
                  <a:lnTo>
                    <a:pt x="750" y="445"/>
                  </a:lnTo>
                  <a:lnTo>
                    <a:pt x="761" y="470"/>
                  </a:lnTo>
                  <a:lnTo>
                    <a:pt x="773" y="492"/>
                  </a:lnTo>
                  <a:lnTo>
                    <a:pt x="783" y="508"/>
                  </a:lnTo>
                  <a:lnTo>
                    <a:pt x="795" y="527"/>
                  </a:lnTo>
                  <a:lnTo>
                    <a:pt x="809" y="543"/>
                  </a:lnTo>
                  <a:lnTo>
                    <a:pt x="824" y="555"/>
                  </a:lnTo>
                  <a:lnTo>
                    <a:pt x="840" y="561"/>
                  </a:lnTo>
                  <a:lnTo>
                    <a:pt x="862" y="567"/>
                  </a:lnTo>
                  <a:lnTo>
                    <a:pt x="882" y="569"/>
                  </a:lnTo>
                  <a:lnTo>
                    <a:pt x="901" y="565"/>
                  </a:lnTo>
                  <a:lnTo>
                    <a:pt x="919" y="559"/>
                  </a:lnTo>
                  <a:lnTo>
                    <a:pt x="941" y="553"/>
                  </a:lnTo>
                  <a:lnTo>
                    <a:pt x="960" y="549"/>
                  </a:lnTo>
                  <a:lnTo>
                    <a:pt x="982" y="551"/>
                  </a:lnTo>
                  <a:lnTo>
                    <a:pt x="1004" y="559"/>
                  </a:lnTo>
                  <a:lnTo>
                    <a:pt x="1029" y="563"/>
                  </a:lnTo>
                  <a:lnTo>
                    <a:pt x="1051" y="569"/>
                  </a:lnTo>
                  <a:lnTo>
                    <a:pt x="1065" y="575"/>
                  </a:lnTo>
                  <a:lnTo>
                    <a:pt x="1073" y="580"/>
                  </a:lnTo>
                  <a:lnTo>
                    <a:pt x="1086" y="588"/>
                  </a:lnTo>
                  <a:lnTo>
                    <a:pt x="1104" y="598"/>
                  </a:lnTo>
                  <a:lnTo>
                    <a:pt x="1122" y="608"/>
                  </a:lnTo>
                  <a:lnTo>
                    <a:pt x="1139" y="616"/>
                  </a:lnTo>
                  <a:lnTo>
                    <a:pt x="1155" y="620"/>
                  </a:lnTo>
                  <a:lnTo>
                    <a:pt x="1167" y="620"/>
                  </a:lnTo>
                  <a:lnTo>
                    <a:pt x="1171" y="618"/>
                  </a:lnTo>
                  <a:lnTo>
                    <a:pt x="1177" y="614"/>
                  </a:lnTo>
                  <a:lnTo>
                    <a:pt x="1181" y="614"/>
                  </a:lnTo>
                  <a:lnTo>
                    <a:pt x="1185" y="614"/>
                  </a:lnTo>
                  <a:lnTo>
                    <a:pt x="1189" y="616"/>
                  </a:lnTo>
                  <a:lnTo>
                    <a:pt x="1191" y="618"/>
                  </a:lnTo>
                  <a:lnTo>
                    <a:pt x="1193" y="624"/>
                  </a:lnTo>
                  <a:lnTo>
                    <a:pt x="1195" y="632"/>
                  </a:lnTo>
                  <a:lnTo>
                    <a:pt x="1197" y="641"/>
                  </a:lnTo>
                  <a:lnTo>
                    <a:pt x="1202" y="659"/>
                  </a:lnTo>
                  <a:lnTo>
                    <a:pt x="1212" y="675"/>
                  </a:lnTo>
                  <a:lnTo>
                    <a:pt x="1224" y="687"/>
                  </a:lnTo>
                  <a:lnTo>
                    <a:pt x="1232" y="701"/>
                  </a:lnTo>
                  <a:lnTo>
                    <a:pt x="1238" y="714"/>
                  </a:lnTo>
                  <a:lnTo>
                    <a:pt x="1244" y="734"/>
                  </a:lnTo>
                  <a:lnTo>
                    <a:pt x="1254" y="754"/>
                  </a:lnTo>
                  <a:lnTo>
                    <a:pt x="1265" y="767"/>
                  </a:lnTo>
                  <a:lnTo>
                    <a:pt x="1277" y="775"/>
                  </a:lnTo>
                  <a:lnTo>
                    <a:pt x="1289" y="779"/>
                  </a:lnTo>
                  <a:lnTo>
                    <a:pt x="1299" y="785"/>
                  </a:lnTo>
                  <a:lnTo>
                    <a:pt x="1313" y="789"/>
                  </a:lnTo>
                  <a:lnTo>
                    <a:pt x="1328" y="785"/>
                  </a:lnTo>
                  <a:lnTo>
                    <a:pt x="1348" y="777"/>
                  </a:lnTo>
                  <a:lnTo>
                    <a:pt x="1374" y="773"/>
                  </a:lnTo>
                  <a:lnTo>
                    <a:pt x="1399" y="767"/>
                  </a:lnTo>
                  <a:lnTo>
                    <a:pt x="1423" y="760"/>
                  </a:lnTo>
                  <a:lnTo>
                    <a:pt x="1447" y="742"/>
                  </a:lnTo>
                  <a:lnTo>
                    <a:pt x="1462" y="722"/>
                  </a:lnTo>
                  <a:lnTo>
                    <a:pt x="1472" y="701"/>
                  </a:lnTo>
                  <a:lnTo>
                    <a:pt x="1480" y="689"/>
                  </a:lnTo>
                  <a:lnTo>
                    <a:pt x="1494" y="675"/>
                  </a:lnTo>
                  <a:lnTo>
                    <a:pt x="1510" y="659"/>
                  </a:lnTo>
                  <a:lnTo>
                    <a:pt x="1527" y="643"/>
                  </a:lnTo>
                  <a:lnTo>
                    <a:pt x="1543" y="628"/>
                  </a:lnTo>
                  <a:lnTo>
                    <a:pt x="1557" y="616"/>
                  </a:lnTo>
                  <a:lnTo>
                    <a:pt x="1572" y="604"/>
                  </a:lnTo>
                  <a:lnTo>
                    <a:pt x="1584" y="594"/>
                  </a:lnTo>
                  <a:lnTo>
                    <a:pt x="1598" y="586"/>
                  </a:lnTo>
                  <a:lnTo>
                    <a:pt x="1614" y="577"/>
                  </a:lnTo>
                  <a:lnTo>
                    <a:pt x="1634" y="567"/>
                  </a:lnTo>
                  <a:lnTo>
                    <a:pt x="1653" y="561"/>
                  </a:lnTo>
                  <a:lnTo>
                    <a:pt x="1667" y="557"/>
                  </a:lnTo>
                  <a:lnTo>
                    <a:pt x="1673" y="557"/>
                  </a:lnTo>
                  <a:close/>
                </a:path>
              </a:pathLst>
            </a:custGeom>
            <a:grpFill/>
            <a:ln w="0">
              <a:solidFill>
                <a:schemeClr val="bg1"/>
              </a:solidFill>
              <a:prstDash val="solid"/>
              <a:round/>
            </a:ln>
          </p:spPr>
          <p:txBody>
            <a:bodyPr/>
            <a:lstStyle/>
            <a:p>
              <a:endParaRPr lang="zh-CN" altLang="en-US"/>
            </a:p>
          </p:txBody>
        </p:sp>
        <p:sp>
          <p:nvSpPr>
            <p:cNvPr id="61" name="Freeform 104"/>
            <p:cNvSpPr/>
            <p:nvPr/>
          </p:nvSpPr>
          <p:spPr bwMode="gray">
            <a:xfrm>
              <a:off x="3599" y="839"/>
              <a:ext cx="861" cy="778"/>
            </a:xfrm>
            <a:custGeom>
              <a:avLst/>
              <a:gdLst>
                <a:gd name="T0" fmla="*/ 419 w 1722"/>
                <a:gd name="T1" fmla="*/ 147 h 1557"/>
                <a:gd name="T2" fmla="*/ 423 w 1722"/>
                <a:gd name="T3" fmla="*/ 159 h 1557"/>
                <a:gd name="T4" fmla="*/ 428 w 1722"/>
                <a:gd name="T5" fmla="*/ 173 h 1557"/>
                <a:gd name="T6" fmla="*/ 419 w 1722"/>
                <a:gd name="T7" fmla="*/ 185 h 1557"/>
                <a:gd name="T8" fmla="*/ 421 w 1722"/>
                <a:gd name="T9" fmla="*/ 196 h 1557"/>
                <a:gd name="T10" fmla="*/ 431 w 1722"/>
                <a:gd name="T11" fmla="*/ 209 h 1557"/>
                <a:gd name="T12" fmla="*/ 429 w 1722"/>
                <a:gd name="T13" fmla="*/ 233 h 1557"/>
                <a:gd name="T14" fmla="*/ 425 w 1722"/>
                <a:gd name="T15" fmla="*/ 256 h 1557"/>
                <a:gd name="T16" fmla="*/ 417 w 1722"/>
                <a:gd name="T17" fmla="*/ 278 h 1557"/>
                <a:gd name="T18" fmla="*/ 418 w 1722"/>
                <a:gd name="T19" fmla="*/ 290 h 1557"/>
                <a:gd name="T20" fmla="*/ 404 w 1722"/>
                <a:gd name="T21" fmla="*/ 293 h 1557"/>
                <a:gd name="T22" fmla="*/ 383 w 1722"/>
                <a:gd name="T23" fmla="*/ 292 h 1557"/>
                <a:gd name="T24" fmla="*/ 374 w 1722"/>
                <a:gd name="T25" fmla="*/ 295 h 1557"/>
                <a:gd name="T26" fmla="*/ 367 w 1722"/>
                <a:gd name="T27" fmla="*/ 309 h 1557"/>
                <a:gd name="T28" fmla="*/ 358 w 1722"/>
                <a:gd name="T29" fmla="*/ 318 h 1557"/>
                <a:gd name="T30" fmla="*/ 368 w 1722"/>
                <a:gd name="T31" fmla="*/ 333 h 1557"/>
                <a:gd name="T32" fmla="*/ 375 w 1722"/>
                <a:gd name="T33" fmla="*/ 350 h 1557"/>
                <a:gd name="T34" fmla="*/ 380 w 1722"/>
                <a:gd name="T35" fmla="*/ 367 h 1557"/>
                <a:gd name="T36" fmla="*/ 334 w 1722"/>
                <a:gd name="T37" fmla="*/ 359 h 1557"/>
                <a:gd name="T38" fmla="*/ 299 w 1722"/>
                <a:gd name="T39" fmla="*/ 376 h 1557"/>
                <a:gd name="T40" fmla="*/ 275 w 1722"/>
                <a:gd name="T41" fmla="*/ 371 h 1557"/>
                <a:gd name="T42" fmla="*/ 237 w 1722"/>
                <a:gd name="T43" fmla="*/ 345 h 1557"/>
                <a:gd name="T44" fmla="*/ 183 w 1722"/>
                <a:gd name="T45" fmla="*/ 338 h 1557"/>
                <a:gd name="T46" fmla="*/ 134 w 1722"/>
                <a:gd name="T47" fmla="*/ 309 h 1557"/>
                <a:gd name="T48" fmla="*/ 93 w 1722"/>
                <a:gd name="T49" fmla="*/ 288 h 1557"/>
                <a:gd name="T50" fmla="*/ 118 w 1722"/>
                <a:gd name="T51" fmla="*/ 211 h 1557"/>
                <a:gd name="T52" fmla="*/ 133 w 1722"/>
                <a:gd name="T53" fmla="*/ 147 h 1557"/>
                <a:gd name="T54" fmla="*/ 106 w 1722"/>
                <a:gd name="T55" fmla="*/ 89 h 1557"/>
                <a:gd name="T56" fmla="*/ 45 w 1722"/>
                <a:gd name="T57" fmla="*/ 63 h 1557"/>
                <a:gd name="T58" fmla="*/ 12 w 1722"/>
                <a:gd name="T59" fmla="*/ 35 h 1557"/>
                <a:gd name="T60" fmla="*/ 9 w 1722"/>
                <a:gd name="T61" fmla="*/ 18 h 1557"/>
                <a:gd name="T62" fmla="*/ 25 w 1722"/>
                <a:gd name="T63" fmla="*/ 11 h 1557"/>
                <a:gd name="T64" fmla="*/ 45 w 1722"/>
                <a:gd name="T65" fmla="*/ 4 h 1557"/>
                <a:gd name="T66" fmla="*/ 61 w 1722"/>
                <a:gd name="T67" fmla="*/ 1 h 1557"/>
                <a:gd name="T68" fmla="*/ 82 w 1722"/>
                <a:gd name="T69" fmla="*/ 11 h 1557"/>
                <a:gd name="T70" fmla="*/ 94 w 1722"/>
                <a:gd name="T71" fmla="*/ 8 h 1557"/>
                <a:gd name="T72" fmla="*/ 104 w 1722"/>
                <a:gd name="T73" fmla="*/ 6 h 1557"/>
                <a:gd name="T74" fmla="*/ 127 w 1722"/>
                <a:gd name="T75" fmla="*/ 24 h 1557"/>
                <a:gd name="T76" fmla="*/ 146 w 1722"/>
                <a:gd name="T77" fmla="*/ 46 h 1557"/>
                <a:gd name="T78" fmla="*/ 160 w 1722"/>
                <a:gd name="T79" fmla="*/ 69 h 1557"/>
                <a:gd name="T80" fmla="*/ 175 w 1722"/>
                <a:gd name="T81" fmla="*/ 92 h 1557"/>
                <a:gd name="T82" fmla="*/ 184 w 1722"/>
                <a:gd name="T83" fmla="*/ 101 h 1557"/>
                <a:gd name="T84" fmla="*/ 194 w 1722"/>
                <a:gd name="T85" fmla="*/ 123 h 1557"/>
                <a:gd name="T86" fmla="*/ 206 w 1722"/>
                <a:gd name="T87" fmla="*/ 138 h 1557"/>
                <a:gd name="T88" fmla="*/ 225 w 1722"/>
                <a:gd name="T89" fmla="*/ 141 h 1557"/>
                <a:gd name="T90" fmla="*/ 245 w 1722"/>
                <a:gd name="T91" fmla="*/ 137 h 1557"/>
                <a:gd name="T92" fmla="*/ 267 w 1722"/>
                <a:gd name="T93" fmla="*/ 143 h 1557"/>
                <a:gd name="T94" fmla="*/ 281 w 1722"/>
                <a:gd name="T95" fmla="*/ 152 h 1557"/>
                <a:gd name="T96" fmla="*/ 293 w 1722"/>
                <a:gd name="T97" fmla="*/ 154 h 1557"/>
                <a:gd name="T98" fmla="*/ 298 w 1722"/>
                <a:gd name="T99" fmla="*/ 154 h 1557"/>
                <a:gd name="T100" fmla="*/ 300 w 1722"/>
                <a:gd name="T101" fmla="*/ 160 h 1557"/>
                <a:gd name="T102" fmla="*/ 308 w 1722"/>
                <a:gd name="T103" fmla="*/ 175 h 1557"/>
                <a:gd name="T104" fmla="*/ 317 w 1722"/>
                <a:gd name="T105" fmla="*/ 191 h 1557"/>
                <a:gd name="T106" fmla="*/ 329 w 1722"/>
                <a:gd name="T107" fmla="*/ 197 h 1557"/>
                <a:gd name="T108" fmla="*/ 350 w 1722"/>
                <a:gd name="T109" fmla="*/ 191 h 1557"/>
                <a:gd name="T110" fmla="*/ 368 w 1722"/>
                <a:gd name="T111" fmla="*/ 175 h 1557"/>
                <a:gd name="T112" fmla="*/ 382 w 1722"/>
                <a:gd name="T113" fmla="*/ 160 h 1557"/>
                <a:gd name="T114" fmla="*/ 396 w 1722"/>
                <a:gd name="T115" fmla="*/ 148 h 1557"/>
                <a:gd name="T116" fmla="*/ 414 w 1722"/>
                <a:gd name="T117" fmla="*/ 140 h 1557"/>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722"/>
                <a:gd name="T178" fmla="*/ 0 h 1557"/>
                <a:gd name="T179" fmla="*/ 1722 w 1722"/>
                <a:gd name="T180" fmla="*/ 1557 h 1557"/>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722" h="1557">
                  <a:moveTo>
                    <a:pt x="1673" y="557"/>
                  </a:moveTo>
                  <a:lnTo>
                    <a:pt x="1673" y="561"/>
                  </a:lnTo>
                  <a:lnTo>
                    <a:pt x="1673" y="575"/>
                  </a:lnTo>
                  <a:lnTo>
                    <a:pt x="1675" y="590"/>
                  </a:lnTo>
                  <a:lnTo>
                    <a:pt x="1675" y="606"/>
                  </a:lnTo>
                  <a:lnTo>
                    <a:pt x="1675" y="618"/>
                  </a:lnTo>
                  <a:lnTo>
                    <a:pt x="1681" y="628"/>
                  </a:lnTo>
                  <a:lnTo>
                    <a:pt x="1691" y="639"/>
                  </a:lnTo>
                  <a:lnTo>
                    <a:pt x="1702" y="649"/>
                  </a:lnTo>
                  <a:lnTo>
                    <a:pt x="1712" y="661"/>
                  </a:lnTo>
                  <a:lnTo>
                    <a:pt x="1714" y="673"/>
                  </a:lnTo>
                  <a:lnTo>
                    <a:pt x="1710" y="693"/>
                  </a:lnTo>
                  <a:lnTo>
                    <a:pt x="1698" y="712"/>
                  </a:lnTo>
                  <a:lnTo>
                    <a:pt x="1687" y="728"/>
                  </a:lnTo>
                  <a:lnTo>
                    <a:pt x="1681" y="736"/>
                  </a:lnTo>
                  <a:lnTo>
                    <a:pt x="1673" y="742"/>
                  </a:lnTo>
                  <a:lnTo>
                    <a:pt x="1669" y="752"/>
                  </a:lnTo>
                  <a:lnTo>
                    <a:pt x="1667" y="762"/>
                  </a:lnTo>
                  <a:lnTo>
                    <a:pt x="1673" y="773"/>
                  </a:lnTo>
                  <a:lnTo>
                    <a:pt x="1683" y="787"/>
                  </a:lnTo>
                  <a:lnTo>
                    <a:pt x="1697" y="799"/>
                  </a:lnTo>
                  <a:lnTo>
                    <a:pt x="1708" y="811"/>
                  </a:lnTo>
                  <a:lnTo>
                    <a:pt x="1718" y="823"/>
                  </a:lnTo>
                  <a:lnTo>
                    <a:pt x="1722" y="836"/>
                  </a:lnTo>
                  <a:lnTo>
                    <a:pt x="1720" y="852"/>
                  </a:lnTo>
                  <a:lnTo>
                    <a:pt x="1720" y="876"/>
                  </a:lnTo>
                  <a:lnTo>
                    <a:pt x="1718" y="905"/>
                  </a:lnTo>
                  <a:lnTo>
                    <a:pt x="1716" y="935"/>
                  </a:lnTo>
                  <a:lnTo>
                    <a:pt x="1714" y="964"/>
                  </a:lnTo>
                  <a:lnTo>
                    <a:pt x="1712" y="988"/>
                  </a:lnTo>
                  <a:lnTo>
                    <a:pt x="1708" y="1002"/>
                  </a:lnTo>
                  <a:lnTo>
                    <a:pt x="1697" y="1025"/>
                  </a:lnTo>
                  <a:lnTo>
                    <a:pt x="1687" y="1051"/>
                  </a:lnTo>
                  <a:lnTo>
                    <a:pt x="1675" y="1074"/>
                  </a:lnTo>
                  <a:lnTo>
                    <a:pt x="1667" y="1096"/>
                  </a:lnTo>
                  <a:lnTo>
                    <a:pt x="1667" y="1114"/>
                  </a:lnTo>
                  <a:lnTo>
                    <a:pt x="1667" y="1130"/>
                  </a:lnTo>
                  <a:lnTo>
                    <a:pt x="1669" y="1139"/>
                  </a:lnTo>
                  <a:lnTo>
                    <a:pt x="1671" y="1151"/>
                  </a:lnTo>
                  <a:lnTo>
                    <a:pt x="1671" y="1163"/>
                  </a:lnTo>
                  <a:lnTo>
                    <a:pt x="1667" y="1171"/>
                  </a:lnTo>
                  <a:lnTo>
                    <a:pt x="1655" y="1175"/>
                  </a:lnTo>
                  <a:lnTo>
                    <a:pt x="1639" y="1175"/>
                  </a:lnTo>
                  <a:lnTo>
                    <a:pt x="1614" y="1175"/>
                  </a:lnTo>
                  <a:lnTo>
                    <a:pt x="1586" y="1175"/>
                  </a:lnTo>
                  <a:lnTo>
                    <a:pt x="1561" y="1173"/>
                  </a:lnTo>
                  <a:lnTo>
                    <a:pt x="1539" y="1171"/>
                  </a:lnTo>
                  <a:lnTo>
                    <a:pt x="1529" y="1169"/>
                  </a:lnTo>
                  <a:lnTo>
                    <a:pt x="1521" y="1169"/>
                  </a:lnTo>
                  <a:lnTo>
                    <a:pt x="1511" y="1171"/>
                  </a:lnTo>
                  <a:lnTo>
                    <a:pt x="1502" y="1177"/>
                  </a:lnTo>
                  <a:lnTo>
                    <a:pt x="1496" y="1183"/>
                  </a:lnTo>
                  <a:lnTo>
                    <a:pt x="1492" y="1193"/>
                  </a:lnTo>
                  <a:lnTo>
                    <a:pt x="1486" y="1206"/>
                  </a:lnTo>
                  <a:lnTo>
                    <a:pt x="1478" y="1222"/>
                  </a:lnTo>
                  <a:lnTo>
                    <a:pt x="1468" y="1238"/>
                  </a:lnTo>
                  <a:lnTo>
                    <a:pt x="1458" y="1246"/>
                  </a:lnTo>
                  <a:lnTo>
                    <a:pt x="1445" y="1254"/>
                  </a:lnTo>
                  <a:lnTo>
                    <a:pt x="1435" y="1261"/>
                  </a:lnTo>
                  <a:lnTo>
                    <a:pt x="1429" y="1273"/>
                  </a:lnTo>
                  <a:lnTo>
                    <a:pt x="1433" y="1285"/>
                  </a:lnTo>
                  <a:lnTo>
                    <a:pt x="1443" y="1297"/>
                  </a:lnTo>
                  <a:lnTo>
                    <a:pt x="1456" y="1313"/>
                  </a:lnTo>
                  <a:lnTo>
                    <a:pt x="1470" y="1332"/>
                  </a:lnTo>
                  <a:lnTo>
                    <a:pt x="1480" y="1350"/>
                  </a:lnTo>
                  <a:lnTo>
                    <a:pt x="1486" y="1364"/>
                  </a:lnTo>
                  <a:lnTo>
                    <a:pt x="1492" y="1381"/>
                  </a:lnTo>
                  <a:lnTo>
                    <a:pt x="1498" y="1401"/>
                  </a:lnTo>
                  <a:lnTo>
                    <a:pt x="1504" y="1423"/>
                  </a:lnTo>
                  <a:lnTo>
                    <a:pt x="1510" y="1441"/>
                  </a:lnTo>
                  <a:lnTo>
                    <a:pt x="1513" y="1454"/>
                  </a:lnTo>
                  <a:lnTo>
                    <a:pt x="1517" y="1470"/>
                  </a:lnTo>
                  <a:lnTo>
                    <a:pt x="1521" y="1482"/>
                  </a:lnTo>
                  <a:lnTo>
                    <a:pt x="1523" y="1486"/>
                  </a:lnTo>
                  <a:lnTo>
                    <a:pt x="1480" y="1490"/>
                  </a:lnTo>
                  <a:lnTo>
                    <a:pt x="1336" y="1439"/>
                  </a:lnTo>
                  <a:lnTo>
                    <a:pt x="1287" y="1476"/>
                  </a:lnTo>
                  <a:lnTo>
                    <a:pt x="1271" y="1531"/>
                  </a:lnTo>
                  <a:lnTo>
                    <a:pt x="1248" y="1557"/>
                  </a:lnTo>
                  <a:lnTo>
                    <a:pt x="1195" y="1504"/>
                  </a:lnTo>
                  <a:lnTo>
                    <a:pt x="1151" y="1472"/>
                  </a:lnTo>
                  <a:lnTo>
                    <a:pt x="1130" y="1399"/>
                  </a:lnTo>
                  <a:lnTo>
                    <a:pt x="1090" y="1405"/>
                  </a:lnTo>
                  <a:lnTo>
                    <a:pt x="1100" y="1486"/>
                  </a:lnTo>
                  <a:lnTo>
                    <a:pt x="1067" y="1488"/>
                  </a:lnTo>
                  <a:lnTo>
                    <a:pt x="1019" y="1415"/>
                  </a:lnTo>
                  <a:lnTo>
                    <a:pt x="966" y="1429"/>
                  </a:lnTo>
                  <a:lnTo>
                    <a:pt x="950" y="1380"/>
                  </a:lnTo>
                  <a:lnTo>
                    <a:pt x="927" y="1348"/>
                  </a:lnTo>
                  <a:lnTo>
                    <a:pt x="807" y="1372"/>
                  </a:lnTo>
                  <a:lnTo>
                    <a:pt x="765" y="1322"/>
                  </a:lnTo>
                  <a:lnTo>
                    <a:pt x="730" y="1352"/>
                  </a:lnTo>
                  <a:lnTo>
                    <a:pt x="683" y="1348"/>
                  </a:lnTo>
                  <a:lnTo>
                    <a:pt x="620" y="1370"/>
                  </a:lnTo>
                  <a:lnTo>
                    <a:pt x="557" y="1301"/>
                  </a:lnTo>
                  <a:lnTo>
                    <a:pt x="533" y="1238"/>
                  </a:lnTo>
                  <a:lnTo>
                    <a:pt x="437" y="1261"/>
                  </a:lnTo>
                  <a:lnTo>
                    <a:pt x="401" y="1291"/>
                  </a:lnTo>
                  <a:lnTo>
                    <a:pt x="413" y="1208"/>
                  </a:lnTo>
                  <a:lnTo>
                    <a:pt x="372" y="1153"/>
                  </a:lnTo>
                  <a:lnTo>
                    <a:pt x="317" y="1094"/>
                  </a:lnTo>
                  <a:lnTo>
                    <a:pt x="332" y="1047"/>
                  </a:lnTo>
                  <a:lnTo>
                    <a:pt x="415" y="956"/>
                  </a:lnTo>
                  <a:lnTo>
                    <a:pt x="472" y="844"/>
                  </a:lnTo>
                  <a:lnTo>
                    <a:pt x="521" y="791"/>
                  </a:lnTo>
                  <a:lnTo>
                    <a:pt x="529" y="722"/>
                  </a:lnTo>
                  <a:lnTo>
                    <a:pt x="563" y="708"/>
                  </a:lnTo>
                  <a:lnTo>
                    <a:pt x="531" y="590"/>
                  </a:lnTo>
                  <a:lnTo>
                    <a:pt x="561" y="480"/>
                  </a:lnTo>
                  <a:lnTo>
                    <a:pt x="580" y="376"/>
                  </a:lnTo>
                  <a:lnTo>
                    <a:pt x="468" y="297"/>
                  </a:lnTo>
                  <a:lnTo>
                    <a:pt x="421" y="358"/>
                  </a:lnTo>
                  <a:lnTo>
                    <a:pt x="313" y="393"/>
                  </a:lnTo>
                  <a:lnTo>
                    <a:pt x="210" y="393"/>
                  </a:lnTo>
                  <a:lnTo>
                    <a:pt x="183" y="321"/>
                  </a:lnTo>
                  <a:lnTo>
                    <a:pt x="179" y="254"/>
                  </a:lnTo>
                  <a:lnTo>
                    <a:pt x="112" y="226"/>
                  </a:lnTo>
                  <a:lnTo>
                    <a:pt x="88" y="273"/>
                  </a:lnTo>
                  <a:lnTo>
                    <a:pt x="0" y="222"/>
                  </a:lnTo>
                  <a:lnTo>
                    <a:pt x="45" y="140"/>
                  </a:lnTo>
                  <a:lnTo>
                    <a:pt x="6" y="90"/>
                  </a:lnTo>
                  <a:lnTo>
                    <a:pt x="10" y="88"/>
                  </a:lnTo>
                  <a:lnTo>
                    <a:pt x="19" y="83"/>
                  </a:lnTo>
                  <a:lnTo>
                    <a:pt x="33" y="75"/>
                  </a:lnTo>
                  <a:lnTo>
                    <a:pt x="51" y="65"/>
                  </a:lnTo>
                  <a:lnTo>
                    <a:pt x="69" y="57"/>
                  </a:lnTo>
                  <a:lnTo>
                    <a:pt x="84" y="49"/>
                  </a:lnTo>
                  <a:lnTo>
                    <a:pt x="98" y="45"/>
                  </a:lnTo>
                  <a:lnTo>
                    <a:pt x="112" y="41"/>
                  </a:lnTo>
                  <a:lnTo>
                    <a:pt x="134" y="35"/>
                  </a:lnTo>
                  <a:lnTo>
                    <a:pt x="155" y="25"/>
                  </a:lnTo>
                  <a:lnTo>
                    <a:pt x="179" y="18"/>
                  </a:lnTo>
                  <a:lnTo>
                    <a:pt x="197" y="8"/>
                  </a:lnTo>
                  <a:lnTo>
                    <a:pt x="208" y="4"/>
                  </a:lnTo>
                  <a:lnTo>
                    <a:pt x="224" y="0"/>
                  </a:lnTo>
                  <a:lnTo>
                    <a:pt x="244" y="4"/>
                  </a:lnTo>
                  <a:lnTo>
                    <a:pt x="267" y="14"/>
                  </a:lnTo>
                  <a:lnTo>
                    <a:pt x="293" y="25"/>
                  </a:lnTo>
                  <a:lnTo>
                    <a:pt x="313" y="39"/>
                  </a:lnTo>
                  <a:lnTo>
                    <a:pt x="328" y="47"/>
                  </a:lnTo>
                  <a:lnTo>
                    <a:pt x="344" y="51"/>
                  </a:lnTo>
                  <a:lnTo>
                    <a:pt x="358" y="49"/>
                  </a:lnTo>
                  <a:lnTo>
                    <a:pt x="366" y="43"/>
                  </a:lnTo>
                  <a:lnTo>
                    <a:pt x="374" y="35"/>
                  </a:lnTo>
                  <a:lnTo>
                    <a:pt x="380" y="27"/>
                  </a:lnTo>
                  <a:lnTo>
                    <a:pt x="387" y="21"/>
                  </a:lnTo>
                  <a:lnTo>
                    <a:pt x="397" y="21"/>
                  </a:lnTo>
                  <a:lnTo>
                    <a:pt x="413" y="25"/>
                  </a:lnTo>
                  <a:lnTo>
                    <a:pt x="447" y="39"/>
                  </a:lnTo>
                  <a:lnTo>
                    <a:pt x="472" y="53"/>
                  </a:lnTo>
                  <a:lnTo>
                    <a:pt x="492" y="73"/>
                  </a:lnTo>
                  <a:lnTo>
                    <a:pt x="510" y="96"/>
                  </a:lnTo>
                  <a:lnTo>
                    <a:pt x="531" y="118"/>
                  </a:lnTo>
                  <a:lnTo>
                    <a:pt x="551" y="142"/>
                  </a:lnTo>
                  <a:lnTo>
                    <a:pt x="567" y="163"/>
                  </a:lnTo>
                  <a:lnTo>
                    <a:pt x="582" y="187"/>
                  </a:lnTo>
                  <a:lnTo>
                    <a:pt x="598" y="212"/>
                  </a:lnTo>
                  <a:lnTo>
                    <a:pt x="610" y="232"/>
                  </a:lnTo>
                  <a:lnTo>
                    <a:pt x="622" y="256"/>
                  </a:lnTo>
                  <a:lnTo>
                    <a:pt x="637" y="279"/>
                  </a:lnTo>
                  <a:lnTo>
                    <a:pt x="655" y="303"/>
                  </a:lnTo>
                  <a:lnTo>
                    <a:pt x="673" y="325"/>
                  </a:lnTo>
                  <a:lnTo>
                    <a:pt x="689" y="348"/>
                  </a:lnTo>
                  <a:lnTo>
                    <a:pt x="698" y="368"/>
                  </a:lnTo>
                  <a:lnTo>
                    <a:pt x="704" y="378"/>
                  </a:lnTo>
                  <a:lnTo>
                    <a:pt x="714" y="386"/>
                  </a:lnTo>
                  <a:lnTo>
                    <a:pt x="726" y="393"/>
                  </a:lnTo>
                  <a:lnTo>
                    <a:pt x="736" y="405"/>
                  </a:lnTo>
                  <a:lnTo>
                    <a:pt x="742" y="417"/>
                  </a:lnTo>
                  <a:lnTo>
                    <a:pt x="750" y="445"/>
                  </a:lnTo>
                  <a:lnTo>
                    <a:pt x="761" y="470"/>
                  </a:lnTo>
                  <a:lnTo>
                    <a:pt x="773" y="492"/>
                  </a:lnTo>
                  <a:lnTo>
                    <a:pt x="783" y="508"/>
                  </a:lnTo>
                  <a:lnTo>
                    <a:pt x="795" y="527"/>
                  </a:lnTo>
                  <a:lnTo>
                    <a:pt x="809" y="543"/>
                  </a:lnTo>
                  <a:lnTo>
                    <a:pt x="824" y="555"/>
                  </a:lnTo>
                  <a:lnTo>
                    <a:pt x="840" y="561"/>
                  </a:lnTo>
                  <a:lnTo>
                    <a:pt x="862" y="567"/>
                  </a:lnTo>
                  <a:lnTo>
                    <a:pt x="882" y="569"/>
                  </a:lnTo>
                  <a:lnTo>
                    <a:pt x="901" y="565"/>
                  </a:lnTo>
                  <a:lnTo>
                    <a:pt x="919" y="559"/>
                  </a:lnTo>
                  <a:lnTo>
                    <a:pt x="941" y="553"/>
                  </a:lnTo>
                  <a:lnTo>
                    <a:pt x="960" y="549"/>
                  </a:lnTo>
                  <a:lnTo>
                    <a:pt x="982" y="551"/>
                  </a:lnTo>
                  <a:lnTo>
                    <a:pt x="1004" y="559"/>
                  </a:lnTo>
                  <a:lnTo>
                    <a:pt x="1029" y="563"/>
                  </a:lnTo>
                  <a:lnTo>
                    <a:pt x="1051" y="569"/>
                  </a:lnTo>
                  <a:lnTo>
                    <a:pt x="1065" y="575"/>
                  </a:lnTo>
                  <a:lnTo>
                    <a:pt x="1073" y="580"/>
                  </a:lnTo>
                  <a:lnTo>
                    <a:pt x="1086" y="588"/>
                  </a:lnTo>
                  <a:lnTo>
                    <a:pt x="1104" y="598"/>
                  </a:lnTo>
                  <a:lnTo>
                    <a:pt x="1122" y="608"/>
                  </a:lnTo>
                  <a:lnTo>
                    <a:pt x="1139" y="616"/>
                  </a:lnTo>
                  <a:lnTo>
                    <a:pt x="1155" y="620"/>
                  </a:lnTo>
                  <a:lnTo>
                    <a:pt x="1167" y="620"/>
                  </a:lnTo>
                  <a:lnTo>
                    <a:pt x="1171" y="618"/>
                  </a:lnTo>
                  <a:lnTo>
                    <a:pt x="1177" y="614"/>
                  </a:lnTo>
                  <a:lnTo>
                    <a:pt x="1181" y="614"/>
                  </a:lnTo>
                  <a:lnTo>
                    <a:pt x="1185" y="614"/>
                  </a:lnTo>
                  <a:lnTo>
                    <a:pt x="1189" y="616"/>
                  </a:lnTo>
                  <a:lnTo>
                    <a:pt x="1191" y="618"/>
                  </a:lnTo>
                  <a:lnTo>
                    <a:pt x="1193" y="624"/>
                  </a:lnTo>
                  <a:lnTo>
                    <a:pt x="1195" y="632"/>
                  </a:lnTo>
                  <a:lnTo>
                    <a:pt x="1197" y="641"/>
                  </a:lnTo>
                  <a:lnTo>
                    <a:pt x="1202" y="659"/>
                  </a:lnTo>
                  <a:lnTo>
                    <a:pt x="1212" y="675"/>
                  </a:lnTo>
                  <a:lnTo>
                    <a:pt x="1224" y="687"/>
                  </a:lnTo>
                  <a:lnTo>
                    <a:pt x="1232" y="701"/>
                  </a:lnTo>
                  <a:lnTo>
                    <a:pt x="1238" y="714"/>
                  </a:lnTo>
                  <a:lnTo>
                    <a:pt x="1244" y="734"/>
                  </a:lnTo>
                  <a:lnTo>
                    <a:pt x="1254" y="754"/>
                  </a:lnTo>
                  <a:lnTo>
                    <a:pt x="1265" y="767"/>
                  </a:lnTo>
                  <a:lnTo>
                    <a:pt x="1277" y="775"/>
                  </a:lnTo>
                  <a:lnTo>
                    <a:pt x="1289" y="779"/>
                  </a:lnTo>
                  <a:lnTo>
                    <a:pt x="1299" y="785"/>
                  </a:lnTo>
                  <a:lnTo>
                    <a:pt x="1313" y="789"/>
                  </a:lnTo>
                  <a:lnTo>
                    <a:pt x="1328" y="785"/>
                  </a:lnTo>
                  <a:lnTo>
                    <a:pt x="1348" y="777"/>
                  </a:lnTo>
                  <a:lnTo>
                    <a:pt x="1374" y="773"/>
                  </a:lnTo>
                  <a:lnTo>
                    <a:pt x="1399" y="767"/>
                  </a:lnTo>
                  <a:lnTo>
                    <a:pt x="1423" y="760"/>
                  </a:lnTo>
                  <a:lnTo>
                    <a:pt x="1447" y="742"/>
                  </a:lnTo>
                  <a:lnTo>
                    <a:pt x="1462" y="722"/>
                  </a:lnTo>
                  <a:lnTo>
                    <a:pt x="1472" y="701"/>
                  </a:lnTo>
                  <a:lnTo>
                    <a:pt x="1480" y="689"/>
                  </a:lnTo>
                  <a:lnTo>
                    <a:pt x="1494" y="675"/>
                  </a:lnTo>
                  <a:lnTo>
                    <a:pt x="1510" y="659"/>
                  </a:lnTo>
                  <a:lnTo>
                    <a:pt x="1527" y="643"/>
                  </a:lnTo>
                  <a:lnTo>
                    <a:pt x="1543" y="628"/>
                  </a:lnTo>
                  <a:lnTo>
                    <a:pt x="1557" y="616"/>
                  </a:lnTo>
                  <a:lnTo>
                    <a:pt x="1572" y="604"/>
                  </a:lnTo>
                  <a:lnTo>
                    <a:pt x="1584" y="594"/>
                  </a:lnTo>
                  <a:lnTo>
                    <a:pt x="1598" y="586"/>
                  </a:lnTo>
                  <a:lnTo>
                    <a:pt x="1614" y="577"/>
                  </a:lnTo>
                  <a:lnTo>
                    <a:pt x="1634" y="567"/>
                  </a:lnTo>
                  <a:lnTo>
                    <a:pt x="1653" y="561"/>
                  </a:lnTo>
                  <a:lnTo>
                    <a:pt x="1667" y="557"/>
                  </a:lnTo>
                  <a:lnTo>
                    <a:pt x="1673" y="557"/>
                  </a:lnTo>
                </a:path>
              </a:pathLst>
            </a:custGeom>
            <a:grpFill/>
            <a:ln w="6350">
              <a:solidFill>
                <a:schemeClr val="bg1"/>
              </a:solidFill>
              <a:prstDash val="solid"/>
              <a:round/>
            </a:ln>
          </p:spPr>
          <p:txBody>
            <a:bodyPr/>
            <a:lstStyle/>
            <a:p>
              <a:endParaRPr lang="zh-CN" altLang="en-US"/>
            </a:p>
          </p:txBody>
        </p:sp>
        <p:sp>
          <p:nvSpPr>
            <p:cNvPr id="62" name="Freeform 105"/>
            <p:cNvSpPr/>
            <p:nvPr/>
          </p:nvSpPr>
          <p:spPr bwMode="gray">
            <a:xfrm>
              <a:off x="2264" y="884"/>
              <a:ext cx="1641" cy="1473"/>
            </a:xfrm>
            <a:custGeom>
              <a:avLst/>
              <a:gdLst>
                <a:gd name="T0" fmla="*/ 651 w 3282"/>
                <a:gd name="T1" fmla="*/ 10 h 2947"/>
                <a:gd name="T2" fmla="*/ 669 w 3282"/>
                <a:gd name="T3" fmla="*/ 0 h 2947"/>
                <a:gd name="T4" fmla="*/ 720 w 3282"/>
                <a:gd name="T5" fmla="*/ 75 h 2947"/>
                <a:gd name="T6" fmla="*/ 808 w 3282"/>
                <a:gd name="T7" fmla="*/ 154 h 2947"/>
                <a:gd name="T8" fmla="*/ 761 w 3282"/>
                <a:gd name="T9" fmla="*/ 265 h 2947"/>
                <a:gd name="T10" fmla="*/ 737 w 3282"/>
                <a:gd name="T11" fmla="*/ 326 h 2947"/>
                <a:gd name="T12" fmla="*/ 793 w 3282"/>
                <a:gd name="T13" fmla="*/ 368 h 2947"/>
                <a:gd name="T14" fmla="*/ 785 w 3282"/>
                <a:gd name="T15" fmla="*/ 441 h 2947"/>
                <a:gd name="T16" fmla="*/ 710 w 3282"/>
                <a:gd name="T17" fmla="*/ 486 h 2947"/>
                <a:gd name="T18" fmla="*/ 693 w 3282"/>
                <a:gd name="T19" fmla="*/ 529 h 2947"/>
                <a:gd name="T20" fmla="*/ 634 w 3282"/>
                <a:gd name="T21" fmla="*/ 485 h 2947"/>
                <a:gd name="T22" fmla="*/ 587 w 3282"/>
                <a:gd name="T23" fmla="*/ 518 h 2947"/>
                <a:gd name="T24" fmla="*/ 530 w 3282"/>
                <a:gd name="T25" fmla="*/ 545 h 2947"/>
                <a:gd name="T26" fmla="*/ 470 w 3282"/>
                <a:gd name="T27" fmla="*/ 631 h 2947"/>
                <a:gd name="T28" fmla="*/ 376 w 3282"/>
                <a:gd name="T29" fmla="*/ 713 h 2947"/>
                <a:gd name="T30" fmla="*/ 309 w 3282"/>
                <a:gd name="T31" fmla="*/ 676 h 2947"/>
                <a:gd name="T32" fmla="*/ 235 w 3282"/>
                <a:gd name="T33" fmla="*/ 736 h 2947"/>
                <a:gd name="T34" fmla="*/ 189 w 3282"/>
                <a:gd name="T35" fmla="*/ 655 h 2947"/>
                <a:gd name="T36" fmla="*/ 88 w 3282"/>
                <a:gd name="T37" fmla="*/ 617 h 2947"/>
                <a:gd name="T38" fmla="*/ 9 w 3282"/>
                <a:gd name="T39" fmla="*/ 583 h 2947"/>
                <a:gd name="T40" fmla="*/ 20 w 3282"/>
                <a:gd name="T41" fmla="*/ 515 h 2947"/>
                <a:gd name="T42" fmla="*/ 70 w 3282"/>
                <a:gd name="T43" fmla="*/ 522 h 2947"/>
                <a:gd name="T44" fmla="*/ 103 w 3282"/>
                <a:gd name="T45" fmla="*/ 518 h 2947"/>
                <a:gd name="T46" fmla="*/ 144 w 3282"/>
                <a:gd name="T47" fmla="*/ 526 h 2947"/>
                <a:gd name="T48" fmla="*/ 178 w 3282"/>
                <a:gd name="T49" fmla="*/ 545 h 2947"/>
                <a:gd name="T50" fmla="*/ 223 w 3282"/>
                <a:gd name="T51" fmla="*/ 550 h 2947"/>
                <a:gd name="T52" fmla="*/ 246 w 3282"/>
                <a:gd name="T53" fmla="*/ 558 h 2947"/>
                <a:gd name="T54" fmla="*/ 291 w 3282"/>
                <a:gd name="T55" fmla="*/ 532 h 2947"/>
                <a:gd name="T56" fmla="*/ 341 w 3282"/>
                <a:gd name="T57" fmla="*/ 519 h 2947"/>
                <a:gd name="T58" fmla="*/ 375 w 3282"/>
                <a:gd name="T59" fmla="*/ 517 h 2947"/>
                <a:gd name="T60" fmla="*/ 398 w 3282"/>
                <a:gd name="T61" fmla="*/ 506 h 2947"/>
                <a:gd name="T62" fmla="*/ 420 w 3282"/>
                <a:gd name="T63" fmla="*/ 485 h 2947"/>
                <a:gd name="T64" fmla="*/ 443 w 3282"/>
                <a:gd name="T65" fmla="*/ 466 h 2947"/>
                <a:gd name="T66" fmla="*/ 459 w 3282"/>
                <a:gd name="T67" fmla="*/ 452 h 2947"/>
                <a:gd name="T68" fmla="*/ 443 w 3282"/>
                <a:gd name="T69" fmla="*/ 419 h 2947"/>
                <a:gd name="T70" fmla="*/ 466 w 3282"/>
                <a:gd name="T71" fmla="*/ 396 h 2947"/>
                <a:gd name="T72" fmla="*/ 505 w 3282"/>
                <a:gd name="T73" fmla="*/ 403 h 2947"/>
                <a:gd name="T74" fmla="*/ 530 w 3282"/>
                <a:gd name="T75" fmla="*/ 375 h 2947"/>
                <a:gd name="T76" fmla="*/ 561 w 3282"/>
                <a:gd name="T77" fmla="*/ 369 h 2947"/>
                <a:gd name="T78" fmla="*/ 579 w 3282"/>
                <a:gd name="T79" fmla="*/ 341 h 2947"/>
                <a:gd name="T80" fmla="*/ 607 w 3282"/>
                <a:gd name="T81" fmla="*/ 315 h 2947"/>
                <a:gd name="T82" fmla="*/ 634 w 3282"/>
                <a:gd name="T83" fmla="*/ 298 h 2947"/>
                <a:gd name="T84" fmla="*/ 672 w 3282"/>
                <a:gd name="T85" fmla="*/ 300 h 2947"/>
                <a:gd name="T86" fmla="*/ 671 w 3282"/>
                <a:gd name="T87" fmla="*/ 277 h 2947"/>
                <a:gd name="T88" fmla="*/ 631 w 3282"/>
                <a:gd name="T89" fmla="*/ 249 h 2947"/>
                <a:gd name="T90" fmla="*/ 607 w 3282"/>
                <a:gd name="T91" fmla="*/ 260 h 2947"/>
                <a:gd name="T92" fmla="*/ 576 w 3282"/>
                <a:gd name="T93" fmla="*/ 258 h 2947"/>
                <a:gd name="T94" fmla="*/ 553 w 3282"/>
                <a:gd name="T95" fmla="*/ 268 h 2947"/>
                <a:gd name="T96" fmla="*/ 549 w 3282"/>
                <a:gd name="T97" fmla="*/ 245 h 2947"/>
                <a:gd name="T98" fmla="*/ 560 w 3282"/>
                <a:gd name="T99" fmla="*/ 195 h 2947"/>
                <a:gd name="T100" fmla="*/ 583 w 3282"/>
                <a:gd name="T101" fmla="*/ 179 h 2947"/>
                <a:gd name="T102" fmla="*/ 611 w 3282"/>
                <a:gd name="T103" fmla="*/ 168 h 2947"/>
                <a:gd name="T104" fmla="*/ 635 w 3282"/>
                <a:gd name="T105" fmla="*/ 152 h 2947"/>
                <a:gd name="T106" fmla="*/ 636 w 3282"/>
                <a:gd name="T107" fmla="*/ 124 h 2947"/>
                <a:gd name="T108" fmla="*/ 647 w 3282"/>
                <a:gd name="T109" fmla="*/ 84 h 2947"/>
                <a:gd name="T110" fmla="*/ 659 w 3282"/>
                <a:gd name="T111" fmla="*/ 61 h 2947"/>
                <a:gd name="T112" fmla="*/ 652 w 3282"/>
                <a:gd name="T113" fmla="*/ 37 h 2947"/>
                <a:gd name="T114" fmla="*/ 637 w 3282"/>
                <a:gd name="T115" fmla="*/ 31 h 2947"/>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282"/>
                <a:gd name="T175" fmla="*/ 0 h 2947"/>
                <a:gd name="T176" fmla="*/ 3282 w 3282"/>
                <a:gd name="T177" fmla="*/ 2947 h 2947"/>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282" h="2947">
                  <a:moveTo>
                    <a:pt x="2552" y="115"/>
                  </a:moveTo>
                  <a:lnTo>
                    <a:pt x="2554" y="111"/>
                  </a:lnTo>
                  <a:lnTo>
                    <a:pt x="2559" y="101"/>
                  </a:lnTo>
                  <a:lnTo>
                    <a:pt x="2569" y="87"/>
                  </a:lnTo>
                  <a:lnTo>
                    <a:pt x="2579" y="73"/>
                  </a:lnTo>
                  <a:lnTo>
                    <a:pt x="2589" y="55"/>
                  </a:lnTo>
                  <a:lnTo>
                    <a:pt x="2601" y="42"/>
                  </a:lnTo>
                  <a:lnTo>
                    <a:pt x="2609" y="28"/>
                  </a:lnTo>
                  <a:lnTo>
                    <a:pt x="2617" y="20"/>
                  </a:lnTo>
                  <a:lnTo>
                    <a:pt x="2628" y="12"/>
                  </a:lnTo>
                  <a:lnTo>
                    <a:pt x="2642" y="6"/>
                  </a:lnTo>
                  <a:lnTo>
                    <a:pt x="2658" y="2"/>
                  </a:lnTo>
                  <a:lnTo>
                    <a:pt x="2670" y="0"/>
                  </a:lnTo>
                  <a:lnTo>
                    <a:pt x="2676" y="0"/>
                  </a:lnTo>
                  <a:lnTo>
                    <a:pt x="2715" y="50"/>
                  </a:lnTo>
                  <a:lnTo>
                    <a:pt x="2670" y="132"/>
                  </a:lnTo>
                  <a:lnTo>
                    <a:pt x="2758" y="183"/>
                  </a:lnTo>
                  <a:lnTo>
                    <a:pt x="2782" y="142"/>
                  </a:lnTo>
                  <a:lnTo>
                    <a:pt x="2849" y="164"/>
                  </a:lnTo>
                  <a:lnTo>
                    <a:pt x="2853" y="231"/>
                  </a:lnTo>
                  <a:lnTo>
                    <a:pt x="2880" y="303"/>
                  </a:lnTo>
                  <a:lnTo>
                    <a:pt x="2983" y="303"/>
                  </a:lnTo>
                  <a:lnTo>
                    <a:pt x="3091" y="268"/>
                  </a:lnTo>
                  <a:lnTo>
                    <a:pt x="3138" y="207"/>
                  </a:lnTo>
                  <a:lnTo>
                    <a:pt x="3250" y="286"/>
                  </a:lnTo>
                  <a:lnTo>
                    <a:pt x="3231" y="386"/>
                  </a:lnTo>
                  <a:lnTo>
                    <a:pt x="3201" y="500"/>
                  </a:lnTo>
                  <a:lnTo>
                    <a:pt x="3231" y="616"/>
                  </a:lnTo>
                  <a:lnTo>
                    <a:pt x="3199" y="632"/>
                  </a:lnTo>
                  <a:lnTo>
                    <a:pt x="3191" y="701"/>
                  </a:lnTo>
                  <a:lnTo>
                    <a:pt x="3140" y="756"/>
                  </a:lnTo>
                  <a:lnTo>
                    <a:pt x="3085" y="866"/>
                  </a:lnTo>
                  <a:lnTo>
                    <a:pt x="3002" y="957"/>
                  </a:lnTo>
                  <a:lnTo>
                    <a:pt x="2987" y="1004"/>
                  </a:lnTo>
                  <a:lnTo>
                    <a:pt x="3042" y="1063"/>
                  </a:lnTo>
                  <a:lnTo>
                    <a:pt x="3083" y="1120"/>
                  </a:lnTo>
                  <a:lnTo>
                    <a:pt x="3071" y="1201"/>
                  </a:lnTo>
                  <a:lnTo>
                    <a:pt x="3079" y="1266"/>
                  </a:lnTo>
                  <a:lnTo>
                    <a:pt x="3030" y="1244"/>
                  </a:lnTo>
                  <a:lnTo>
                    <a:pt x="3014" y="1264"/>
                  </a:lnTo>
                  <a:lnTo>
                    <a:pt x="2971" y="1250"/>
                  </a:lnTo>
                  <a:lnTo>
                    <a:pt x="2947" y="1305"/>
                  </a:lnTo>
                  <a:lnTo>
                    <a:pt x="2989" y="1313"/>
                  </a:lnTo>
                  <a:lnTo>
                    <a:pt x="3030" y="1368"/>
                  </a:lnTo>
                  <a:lnTo>
                    <a:pt x="3024" y="1451"/>
                  </a:lnTo>
                  <a:lnTo>
                    <a:pt x="3059" y="1500"/>
                  </a:lnTo>
                  <a:lnTo>
                    <a:pt x="3061" y="1530"/>
                  </a:lnTo>
                  <a:lnTo>
                    <a:pt x="3091" y="1536"/>
                  </a:lnTo>
                  <a:lnTo>
                    <a:pt x="3170" y="1475"/>
                  </a:lnTo>
                  <a:lnTo>
                    <a:pt x="3209" y="1541"/>
                  </a:lnTo>
                  <a:lnTo>
                    <a:pt x="3244" y="1608"/>
                  </a:lnTo>
                  <a:lnTo>
                    <a:pt x="3282" y="1630"/>
                  </a:lnTo>
                  <a:lnTo>
                    <a:pt x="3282" y="1677"/>
                  </a:lnTo>
                  <a:lnTo>
                    <a:pt x="3239" y="1728"/>
                  </a:lnTo>
                  <a:lnTo>
                    <a:pt x="3189" y="1776"/>
                  </a:lnTo>
                  <a:lnTo>
                    <a:pt x="3138" y="1766"/>
                  </a:lnTo>
                  <a:lnTo>
                    <a:pt x="3134" y="1803"/>
                  </a:lnTo>
                  <a:lnTo>
                    <a:pt x="3101" y="1819"/>
                  </a:lnTo>
                  <a:lnTo>
                    <a:pt x="3032" y="1839"/>
                  </a:lnTo>
                  <a:lnTo>
                    <a:pt x="2981" y="1898"/>
                  </a:lnTo>
                  <a:lnTo>
                    <a:pt x="2928" y="1941"/>
                  </a:lnTo>
                  <a:lnTo>
                    <a:pt x="2884" y="2012"/>
                  </a:lnTo>
                  <a:lnTo>
                    <a:pt x="2839" y="1947"/>
                  </a:lnTo>
                  <a:lnTo>
                    <a:pt x="2798" y="1917"/>
                  </a:lnTo>
                  <a:lnTo>
                    <a:pt x="2768" y="1945"/>
                  </a:lnTo>
                  <a:lnTo>
                    <a:pt x="2788" y="1967"/>
                  </a:lnTo>
                  <a:lnTo>
                    <a:pt x="2788" y="2032"/>
                  </a:lnTo>
                  <a:lnTo>
                    <a:pt x="2811" y="2087"/>
                  </a:lnTo>
                  <a:lnTo>
                    <a:pt x="2778" y="2140"/>
                  </a:lnTo>
                  <a:lnTo>
                    <a:pt x="2770" y="2118"/>
                  </a:lnTo>
                  <a:lnTo>
                    <a:pt x="2703" y="2116"/>
                  </a:lnTo>
                  <a:lnTo>
                    <a:pt x="2656" y="2073"/>
                  </a:lnTo>
                  <a:lnTo>
                    <a:pt x="2640" y="2012"/>
                  </a:lnTo>
                  <a:lnTo>
                    <a:pt x="2607" y="1971"/>
                  </a:lnTo>
                  <a:lnTo>
                    <a:pt x="2581" y="1925"/>
                  </a:lnTo>
                  <a:lnTo>
                    <a:pt x="2556" y="1911"/>
                  </a:lnTo>
                  <a:lnTo>
                    <a:pt x="2536" y="1941"/>
                  </a:lnTo>
                  <a:lnTo>
                    <a:pt x="2506" y="1943"/>
                  </a:lnTo>
                  <a:lnTo>
                    <a:pt x="2469" y="1967"/>
                  </a:lnTo>
                  <a:lnTo>
                    <a:pt x="2479" y="2035"/>
                  </a:lnTo>
                  <a:lnTo>
                    <a:pt x="2441" y="2049"/>
                  </a:lnTo>
                  <a:lnTo>
                    <a:pt x="2414" y="2039"/>
                  </a:lnTo>
                  <a:lnTo>
                    <a:pt x="2386" y="2075"/>
                  </a:lnTo>
                  <a:lnTo>
                    <a:pt x="2347" y="2073"/>
                  </a:lnTo>
                  <a:lnTo>
                    <a:pt x="2296" y="2128"/>
                  </a:lnTo>
                  <a:lnTo>
                    <a:pt x="2248" y="2132"/>
                  </a:lnTo>
                  <a:lnTo>
                    <a:pt x="2231" y="2055"/>
                  </a:lnTo>
                  <a:lnTo>
                    <a:pt x="2183" y="2051"/>
                  </a:lnTo>
                  <a:lnTo>
                    <a:pt x="2158" y="2093"/>
                  </a:lnTo>
                  <a:lnTo>
                    <a:pt x="2152" y="2142"/>
                  </a:lnTo>
                  <a:lnTo>
                    <a:pt x="2120" y="2181"/>
                  </a:lnTo>
                  <a:lnTo>
                    <a:pt x="2132" y="2222"/>
                  </a:lnTo>
                  <a:lnTo>
                    <a:pt x="2117" y="2246"/>
                  </a:lnTo>
                  <a:lnTo>
                    <a:pt x="2185" y="2333"/>
                  </a:lnTo>
                  <a:lnTo>
                    <a:pt x="2075" y="2376"/>
                  </a:lnTo>
                  <a:lnTo>
                    <a:pt x="2014" y="2376"/>
                  </a:lnTo>
                  <a:lnTo>
                    <a:pt x="1928" y="2407"/>
                  </a:lnTo>
                  <a:lnTo>
                    <a:pt x="1880" y="2526"/>
                  </a:lnTo>
                  <a:lnTo>
                    <a:pt x="1802" y="2555"/>
                  </a:lnTo>
                  <a:lnTo>
                    <a:pt x="1766" y="2539"/>
                  </a:lnTo>
                  <a:lnTo>
                    <a:pt x="1731" y="2598"/>
                  </a:lnTo>
                  <a:lnTo>
                    <a:pt x="1674" y="2579"/>
                  </a:lnTo>
                  <a:lnTo>
                    <a:pt x="1621" y="2638"/>
                  </a:lnTo>
                  <a:lnTo>
                    <a:pt x="1601" y="2718"/>
                  </a:lnTo>
                  <a:lnTo>
                    <a:pt x="1502" y="2852"/>
                  </a:lnTo>
                  <a:lnTo>
                    <a:pt x="1459" y="2888"/>
                  </a:lnTo>
                  <a:lnTo>
                    <a:pt x="1430" y="2860"/>
                  </a:lnTo>
                  <a:lnTo>
                    <a:pt x="1339" y="2876"/>
                  </a:lnTo>
                  <a:lnTo>
                    <a:pt x="1298" y="2823"/>
                  </a:lnTo>
                  <a:lnTo>
                    <a:pt x="1239" y="2821"/>
                  </a:lnTo>
                  <a:lnTo>
                    <a:pt x="1195" y="2781"/>
                  </a:lnTo>
                  <a:lnTo>
                    <a:pt x="1233" y="2707"/>
                  </a:lnTo>
                  <a:lnTo>
                    <a:pt x="1248" y="2659"/>
                  </a:lnTo>
                  <a:lnTo>
                    <a:pt x="1215" y="2612"/>
                  </a:lnTo>
                  <a:lnTo>
                    <a:pt x="1150" y="2630"/>
                  </a:lnTo>
                  <a:lnTo>
                    <a:pt x="1115" y="2709"/>
                  </a:lnTo>
                  <a:lnTo>
                    <a:pt x="1101" y="2846"/>
                  </a:lnTo>
                  <a:lnTo>
                    <a:pt x="1052" y="2901"/>
                  </a:lnTo>
                  <a:lnTo>
                    <a:pt x="939" y="2947"/>
                  </a:lnTo>
                  <a:lnTo>
                    <a:pt x="869" y="2941"/>
                  </a:lnTo>
                  <a:lnTo>
                    <a:pt x="810" y="2886"/>
                  </a:lnTo>
                  <a:lnTo>
                    <a:pt x="817" y="2795"/>
                  </a:lnTo>
                  <a:lnTo>
                    <a:pt x="874" y="2764"/>
                  </a:lnTo>
                  <a:lnTo>
                    <a:pt x="874" y="2657"/>
                  </a:lnTo>
                  <a:lnTo>
                    <a:pt x="829" y="2618"/>
                  </a:lnTo>
                  <a:lnTo>
                    <a:pt x="754" y="2620"/>
                  </a:lnTo>
                  <a:lnTo>
                    <a:pt x="658" y="2714"/>
                  </a:lnTo>
                  <a:lnTo>
                    <a:pt x="524" y="2714"/>
                  </a:lnTo>
                  <a:lnTo>
                    <a:pt x="441" y="2671"/>
                  </a:lnTo>
                  <a:lnTo>
                    <a:pt x="445" y="2610"/>
                  </a:lnTo>
                  <a:lnTo>
                    <a:pt x="378" y="2606"/>
                  </a:lnTo>
                  <a:lnTo>
                    <a:pt x="302" y="2539"/>
                  </a:lnTo>
                  <a:lnTo>
                    <a:pt x="351" y="2470"/>
                  </a:lnTo>
                  <a:lnTo>
                    <a:pt x="396" y="2457"/>
                  </a:lnTo>
                  <a:lnTo>
                    <a:pt x="376" y="2390"/>
                  </a:lnTo>
                  <a:lnTo>
                    <a:pt x="296" y="2362"/>
                  </a:lnTo>
                  <a:lnTo>
                    <a:pt x="203" y="2374"/>
                  </a:lnTo>
                  <a:lnTo>
                    <a:pt x="156" y="2429"/>
                  </a:lnTo>
                  <a:lnTo>
                    <a:pt x="111" y="2423"/>
                  </a:lnTo>
                  <a:lnTo>
                    <a:pt x="34" y="2333"/>
                  </a:lnTo>
                  <a:lnTo>
                    <a:pt x="0" y="2236"/>
                  </a:lnTo>
                  <a:lnTo>
                    <a:pt x="18" y="2179"/>
                  </a:lnTo>
                  <a:lnTo>
                    <a:pt x="10" y="2055"/>
                  </a:lnTo>
                  <a:lnTo>
                    <a:pt x="14" y="2057"/>
                  </a:lnTo>
                  <a:lnTo>
                    <a:pt x="30" y="2057"/>
                  </a:lnTo>
                  <a:lnTo>
                    <a:pt x="52" y="2059"/>
                  </a:lnTo>
                  <a:lnTo>
                    <a:pt x="79" y="2063"/>
                  </a:lnTo>
                  <a:lnTo>
                    <a:pt x="109" y="2065"/>
                  </a:lnTo>
                  <a:lnTo>
                    <a:pt x="138" y="2069"/>
                  </a:lnTo>
                  <a:lnTo>
                    <a:pt x="166" y="2073"/>
                  </a:lnTo>
                  <a:lnTo>
                    <a:pt x="189" y="2077"/>
                  </a:lnTo>
                  <a:lnTo>
                    <a:pt x="207" y="2081"/>
                  </a:lnTo>
                  <a:lnTo>
                    <a:pt x="243" y="2089"/>
                  </a:lnTo>
                  <a:lnTo>
                    <a:pt x="278" y="2089"/>
                  </a:lnTo>
                  <a:lnTo>
                    <a:pt x="308" y="2081"/>
                  </a:lnTo>
                  <a:lnTo>
                    <a:pt x="323" y="2075"/>
                  </a:lnTo>
                  <a:lnTo>
                    <a:pt x="337" y="2069"/>
                  </a:lnTo>
                  <a:lnTo>
                    <a:pt x="351" y="2067"/>
                  </a:lnTo>
                  <a:lnTo>
                    <a:pt x="367" y="2065"/>
                  </a:lnTo>
                  <a:lnTo>
                    <a:pt x="386" y="2069"/>
                  </a:lnTo>
                  <a:lnTo>
                    <a:pt x="412" y="2075"/>
                  </a:lnTo>
                  <a:lnTo>
                    <a:pt x="441" y="2079"/>
                  </a:lnTo>
                  <a:lnTo>
                    <a:pt x="473" y="2083"/>
                  </a:lnTo>
                  <a:lnTo>
                    <a:pt x="498" y="2087"/>
                  </a:lnTo>
                  <a:lnTo>
                    <a:pt x="518" y="2087"/>
                  </a:lnTo>
                  <a:lnTo>
                    <a:pt x="542" y="2089"/>
                  </a:lnTo>
                  <a:lnTo>
                    <a:pt x="560" y="2095"/>
                  </a:lnTo>
                  <a:lnTo>
                    <a:pt x="575" y="2104"/>
                  </a:lnTo>
                  <a:lnTo>
                    <a:pt x="589" y="2118"/>
                  </a:lnTo>
                  <a:lnTo>
                    <a:pt x="607" y="2134"/>
                  </a:lnTo>
                  <a:lnTo>
                    <a:pt x="626" y="2148"/>
                  </a:lnTo>
                  <a:lnTo>
                    <a:pt x="646" y="2156"/>
                  </a:lnTo>
                  <a:lnTo>
                    <a:pt x="666" y="2163"/>
                  </a:lnTo>
                  <a:lnTo>
                    <a:pt x="685" y="2173"/>
                  </a:lnTo>
                  <a:lnTo>
                    <a:pt x="709" y="2183"/>
                  </a:lnTo>
                  <a:lnTo>
                    <a:pt x="739" y="2193"/>
                  </a:lnTo>
                  <a:lnTo>
                    <a:pt x="762" y="2197"/>
                  </a:lnTo>
                  <a:lnTo>
                    <a:pt x="792" y="2199"/>
                  </a:lnTo>
                  <a:lnTo>
                    <a:pt x="821" y="2201"/>
                  </a:lnTo>
                  <a:lnTo>
                    <a:pt x="851" y="2201"/>
                  </a:lnTo>
                  <a:lnTo>
                    <a:pt x="874" y="2201"/>
                  </a:lnTo>
                  <a:lnTo>
                    <a:pt x="892" y="2203"/>
                  </a:lnTo>
                  <a:lnTo>
                    <a:pt x="904" y="2207"/>
                  </a:lnTo>
                  <a:lnTo>
                    <a:pt x="914" y="2215"/>
                  </a:lnTo>
                  <a:lnTo>
                    <a:pt x="924" y="2224"/>
                  </a:lnTo>
                  <a:lnTo>
                    <a:pt x="935" y="2232"/>
                  </a:lnTo>
                  <a:lnTo>
                    <a:pt x="947" y="2236"/>
                  </a:lnTo>
                  <a:lnTo>
                    <a:pt x="965" y="2238"/>
                  </a:lnTo>
                  <a:lnTo>
                    <a:pt x="985" y="2234"/>
                  </a:lnTo>
                  <a:lnTo>
                    <a:pt x="1002" y="2224"/>
                  </a:lnTo>
                  <a:lnTo>
                    <a:pt x="1024" y="2207"/>
                  </a:lnTo>
                  <a:lnTo>
                    <a:pt x="1048" y="2187"/>
                  </a:lnTo>
                  <a:lnTo>
                    <a:pt x="1073" y="2171"/>
                  </a:lnTo>
                  <a:lnTo>
                    <a:pt x="1103" y="2157"/>
                  </a:lnTo>
                  <a:lnTo>
                    <a:pt x="1134" y="2144"/>
                  </a:lnTo>
                  <a:lnTo>
                    <a:pt x="1164" y="2130"/>
                  </a:lnTo>
                  <a:lnTo>
                    <a:pt x="1199" y="2114"/>
                  </a:lnTo>
                  <a:lnTo>
                    <a:pt x="1241" y="2098"/>
                  </a:lnTo>
                  <a:lnTo>
                    <a:pt x="1282" y="2087"/>
                  </a:lnTo>
                  <a:lnTo>
                    <a:pt x="1325" y="2079"/>
                  </a:lnTo>
                  <a:lnTo>
                    <a:pt x="1345" y="2077"/>
                  </a:lnTo>
                  <a:lnTo>
                    <a:pt x="1357" y="2077"/>
                  </a:lnTo>
                  <a:lnTo>
                    <a:pt x="1363" y="2079"/>
                  </a:lnTo>
                  <a:lnTo>
                    <a:pt x="1367" y="2079"/>
                  </a:lnTo>
                  <a:lnTo>
                    <a:pt x="1371" y="2081"/>
                  </a:lnTo>
                  <a:lnTo>
                    <a:pt x="1378" y="2081"/>
                  </a:lnTo>
                  <a:lnTo>
                    <a:pt x="1392" y="2081"/>
                  </a:lnTo>
                  <a:lnTo>
                    <a:pt x="1418" y="2079"/>
                  </a:lnTo>
                  <a:lnTo>
                    <a:pt x="1463" y="2075"/>
                  </a:lnTo>
                  <a:lnTo>
                    <a:pt x="1498" y="2071"/>
                  </a:lnTo>
                  <a:lnTo>
                    <a:pt x="1526" y="2065"/>
                  </a:lnTo>
                  <a:lnTo>
                    <a:pt x="1548" y="2059"/>
                  </a:lnTo>
                  <a:lnTo>
                    <a:pt x="1561" y="2053"/>
                  </a:lnTo>
                  <a:lnTo>
                    <a:pt x="1571" y="2045"/>
                  </a:lnTo>
                  <a:lnTo>
                    <a:pt x="1577" y="2035"/>
                  </a:lnTo>
                  <a:lnTo>
                    <a:pt x="1581" y="2030"/>
                  </a:lnTo>
                  <a:lnTo>
                    <a:pt x="1589" y="2024"/>
                  </a:lnTo>
                  <a:lnTo>
                    <a:pt x="1603" y="2018"/>
                  </a:lnTo>
                  <a:lnTo>
                    <a:pt x="1622" y="2014"/>
                  </a:lnTo>
                  <a:lnTo>
                    <a:pt x="1640" y="2006"/>
                  </a:lnTo>
                  <a:lnTo>
                    <a:pt x="1656" y="1994"/>
                  </a:lnTo>
                  <a:lnTo>
                    <a:pt x="1668" y="1974"/>
                  </a:lnTo>
                  <a:lnTo>
                    <a:pt x="1674" y="1957"/>
                  </a:lnTo>
                  <a:lnTo>
                    <a:pt x="1680" y="1941"/>
                  </a:lnTo>
                  <a:lnTo>
                    <a:pt x="1685" y="1927"/>
                  </a:lnTo>
                  <a:lnTo>
                    <a:pt x="1697" y="1913"/>
                  </a:lnTo>
                  <a:lnTo>
                    <a:pt x="1715" y="1900"/>
                  </a:lnTo>
                  <a:lnTo>
                    <a:pt x="1737" y="1888"/>
                  </a:lnTo>
                  <a:lnTo>
                    <a:pt x="1752" y="1878"/>
                  </a:lnTo>
                  <a:lnTo>
                    <a:pt x="1764" y="1872"/>
                  </a:lnTo>
                  <a:lnTo>
                    <a:pt x="1772" y="1866"/>
                  </a:lnTo>
                  <a:lnTo>
                    <a:pt x="1780" y="1860"/>
                  </a:lnTo>
                  <a:lnTo>
                    <a:pt x="1790" y="1854"/>
                  </a:lnTo>
                  <a:lnTo>
                    <a:pt x="1804" y="1848"/>
                  </a:lnTo>
                  <a:lnTo>
                    <a:pt x="1817" y="1841"/>
                  </a:lnTo>
                  <a:lnTo>
                    <a:pt x="1831" y="1831"/>
                  </a:lnTo>
                  <a:lnTo>
                    <a:pt x="1837" y="1821"/>
                  </a:lnTo>
                  <a:lnTo>
                    <a:pt x="1837" y="1811"/>
                  </a:lnTo>
                  <a:lnTo>
                    <a:pt x="1825" y="1795"/>
                  </a:lnTo>
                  <a:lnTo>
                    <a:pt x="1809" y="1780"/>
                  </a:lnTo>
                  <a:lnTo>
                    <a:pt x="1794" y="1762"/>
                  </a:lnTo>
                  <a:lnTo>
                    <a:pt x="1780" y="1744"/>
                  </a:lnTo>
                  <a:lnTo>
                    <a:pt x="1772" y="1726"/>
                  </a:lnTo>
                  <a:lnTo>
                    <a:pt x="1772" y="1707"/>
                  </a:lnTo>
                  <a:lnTo>
                    <a:pt x="1772" y="1679"/>
                  </a:lnTo>
                  <a:lnTo>
                    <a:pt x="1776" y="1652"/>
                  </a:lnTo>
                  <a:lnTo>
                    <a:pt x="1782" y="1628"/>
                  </a:lnTo>
                  <a:lnTo>
                    <a:pt x="1790" y="1608"/>
                  </a:lnTo>
                  <a:lnTo>
                    <a:pt x="1806" y="1593"/>
                  </a:lnTo>
                  <a:lnTo>
                    <a:pt x="1823" y="1585"/>
                  </a:lnTo>
                  <a:lnTo>
                    <a:pt x="1843" y="1581"/>
                  </a:lnTo>
                  <a:lnTo>
                    <a:pt x="1863" y="1585"/>
                  </a:lnTo>
                  <a:lnTo>
                    <a:pt x="1884" y="1597"/>
                  </a:lnTo>
                  <a:lnTo>
                    <a:pt x="1910" y="1606"/>
                  </a:lnTo>
                  <a:lnTo>
                    <a:pt x="1937" y="1614"/>
                  </a:lnTo>
                  <a:lnTo>
                    <a:pt x="1963" y="1616"/>
                  </a:lnTo>
                  <a:lnTo>
                    <a:pt x="1985" y="1614"/>
                  </a:lnTo>
                  <a:lnTo>
                    <a:pt x="2002" y="1614"/>
                  </a:lnTo>
                  <a:lnTo>
                    <a:pt x="2020" y="1612"/>
                  </a:lnTo>
                  <a:lnTo>
                    <a:pt x="2034" y="1608"/>
                  </a:lnTo>
                  <a:lnTo>
                    <a:pt x="2046" y="1597"/>
                  </a:lnTo>
                  <a:lnTo>
                    <a:pt x="2058" y="1581"/>
                  </a:lnTo>
                  <a:lnTo>
                    <a:pt x="2071" y="1561"/>
                  </a:lnTo>
                  <a:lnTo>
                    <a:pt x="2085" y="1538"/>
                  </a:lnTo>
                  <a:lnTo>
                    <a:pt x="2101" y="1518"/>
                  </a:lnTo>
                  <a:lnTo>
                    <a:pt x="2117" y="1502"/>
                  </a:lnTo>
                  <a:lnTo>
                    <a:pt x="2130" y="1494"/>
                  </a:lnTo>
                  <a:lnTo>
                    <a:pt x="2146" y="1490"/>
                  </a:lnTo>
                  <a:lnTo>
                    <a:pt x="2166" y="1488"/>
                  </a:lnTo>
                  <a:lnTo>
                    <a:pt x="2189" y="1486"/>
                  </a:lnTo>
                  <a:lnTo>
                    <a:pt x="2213" y="1484"/>
                  </a:lnTo>
                  <a:lnTo>
                    <a:pt x="2231" y="1482"/>
                  </a:lnTo>
                  <a:lnTo>
                    <a:pt x="2243" y="1477"/>
                  </a:lnTo>
                  <a:lnTo>
                    <a:pt x="2254" y="1469"/>
                  </a:lnTo>
                  <a:lnTo>
                    <a:pt x="2268" y="1455"/>
                  </a:lnTo>
                  <a:lnTo>
                    <a:pt x="2284" y="1437"/>
                  </a:lnTo>
                  <a:lnTo>
                    <a:pt x="2298" y="1421"/>
                  </a:lnTo>
                  <a:lnTo>
                    <a:pt x="2308" y="1408"/>
                  </a:lnTo>
                  <a:lnTo>
                    <a:pt x="2311" y="1388"/>
                  </a:lnTo>
                  <a:lnTo>
                    <a:pt x="2315" y="1364"/>
                  </a:lnTo>
                  <a:lnTo>
                    <a:pt x="2321" y="1343"/>
                  </a:lnTo>
                  <a:lnTo>
                    <a:pt x="2331" y="1323"/>
                  </a:lnTo>
                  <a:lnTo>
                    <a:pt x="2351" y="1303"/>
                  </a:lnTo>
                  <a:lnTo>
                    <a:pt x="2374" y="1286"/>
                  </a:lnTo>
                  <a:lnTo>
                    <a:pt x="2402" y="1276"/>
                  </a:lnTo>
                  <a:lnTo>
                    <a:pt x="2416" y="1270"/>
                  </a:lnTo>
                  <a:lnTo>
                    <a:pt x="2426" y="1262"/>
                  </a:lnTo>
                  <a:lnTo>
                    <a:pt x="2433" y="1250"/>
                  </a:lnTo>
                  <a:lnTo>
                    <a:pt x="2443" y="1240"/>
                  </a:lnTo>
                  <a:lnTo>
                    <a:pt x="2455" y="1232"/>
                  </a:lnTo>
                  <a:lnTo>
                    <a:pt x="2469" y="1227"/>
                  </a:lnTo>
                  <a:lnTo>
                    <a:pt x="2487" y="1217"/>
                  </a:lnTo>
                  <a:lnTo>
                    <a:pt x="2510" y="1205"/>
                  </a:lnTo>
                  <a:lnTo>
                    <a:pt x="2534" y="1195"/>
                  </a:lnTo>
                  <a:lnTo>
                    <a:pt x="2559" y="1189"/>
                  </a:lnTo>
                  <a:lnTo>
                    <a:pt x="2583" y="1187"/>
                  </a:lnTo>
                  <a:lnTo>
                    <a:pt x="2607" y="1189"/>
                  </a:lnTo>
                  <a:lnTo>
                    <a:pt x="2628" y="1195"/>
                  </a:lnTo>
                  <a:lnTo>
                    <a:pt x="2652" y="1199"/>
                  </a:lnTo>
                  <a:lnTo>
                    <a:pt x="2670" y="1203"/>
                  </a:lnTo>
                  <a:lnTo>
                    <a:pt x="2685" y="1203"/>
                  </a:lnTo>
                  <a:lnTo>
                    <a:pt x="2697" y="1197"/>
                  </a:lnTo>
                  <a:lnTo>
                    <a:pt x="2707" y="1183"/>
                  </a:lnTo>
                  <a:lnTo>
                    <a:pt x="2713" y="1171"/>
                  </a:lnTo>
                  <a:lnTo>
                    <a:pt x="2713" y="1158"/>
                  </a:lnTo>
                  <a:lnTo>
                    <a:pt x="2707" y="1140"/>
                  </a:lnTo>
                  <a:lnTo>
                    <a:pt x="2695" y="1126"/>
                  </a:lnTo>
                  <a:lnTo>
                    <a:pt x="2682" y="1108"/>
                  </a:lnTo>
                  <a:lnTo>
                    <a:pt x="2662" y="1089"/>
                  </a:lnTo>
                  <a:lnTo>
                    <a:pt x="2644" y="1071"/>
                  </a:lnTo>
                  <a:lnTo>
                    <a:pt x="2626" y="1055"/>
                  </a:lnTo>
                  <a:lnTo>
                    <a:pt x="2611" y="1042"/>
                  </a:lnTo>
                  <a:lnTo>
                    <a:pt x="2575" y="1016"/>
                  </a:lnTo>
                  <a:lnTo>
                    <a:pt x="2538" y="1004"/>
                  </a:lnTo>
                  <a:lnTo>
                    <a:pt x="2524" y="998"/>
                  </a:lnTo>
                  <a:lnTo>
                    <a:pt x="2510" y="990"/>
                  </a:lnTo>
                  <a:lnTo>
                    <a:pt x="2498" y="986"/>
                  </a:lnTo>
                  <a:lnTo>
                    <a:pt x="2485" y="984"/>
                  </a:lnTo>
                  <a:lnTo>
                    <a:pt x="2469" y="990"/>
                  </a:lnTo>
                  <a:lnTo>
                    <a:pt x="2453" y="1006"/>
                  </a:lnTo>
                  <a:lnTo>
                    <a:pt x="2439" y="1024"/>
                  </a:lnTo>
                  <a:lnTo>
                    <a:pt x="2426" y="1040"/>
                  </a:lnTo>
                  <a:lnTo>
                    <a:pt x="2408" y="1051"/>
                  </a:lnTo>
                  <a:lnTo>
                    <a:pt x="2394" y="1053"/>
                  </a:lnTo>
                  <a:lnTo>
                    <a:pt x="2376" y="1049"/>
                  </a:lnTo>
                  <a:lnTo>
                    <a:pt x="2357" y="1044"/>
                  </a:lnTo>
                  <a:lnTo>
                    <a:pt x="2337" y="1036"/>
                  </a:lnTo>
                  <a:lnTo>
                    <a:pt x="2317" y="1032"/>
                  </a:lnTo>
                  <a:lnTo>
                    <a:pt x="2304" y="1034"/>
                  </a:lnTo>
                  <a:lnTo>
                    <a:pt x="2292" y="1042"/>
                  </a:lnTo>
                  <a:lnTo>
                    <a:pt x="2282" y="1053"/>
                  </a:lnTo>
                  <a:lnTo>
                    <a:pt x="2272" y="1067"/>
                  </a:lnTo>
                  <a:lnTo>
                    <a:pt x="2260" y="1079"/>
                  </a:lnTo>
                  <a:lnTo>
                    <a:pt x="2248" y="1087"/>
                  </a:lnTo>
                  <a:lnTo>
                    <a:pt x="2235" y="1087"/>
                  </a:lnTo>
                  <a:lnTo>
                    <a:pt x="2211" y="1075"/>
                  </a:lnTo>
                  <a:lnTo>
                    <a:pt x="2189" y="1061"/>
                  </a:lnTo>
                  <a:lnTo>
                    <a:pt x="2174" y="1044"/>
                  </a:lnTo>
                  <a:lnTo>
                    <a:pt x="2168" y="1024"/>
                  </a:lnTo>
                  <a:lnTo>
                    <a:pt x="2170" y="1010"/>
                  </a:lnTo>
                  <a:lnTo>
                    <a:pt x="2178" y="1002"/>
                  </a:lnTo>
                  <a:lnTo>
                    <a:pt x="2185" y="992"/>
                  </a:lnTo>
                  <a:lnTo>
                    <a:pt x="2193" y="982"/>
                  </a:lnTo>
                  <a:lnTo>
                    <a:pt x="2197" y="965"/>
                  </a:lnTo>
                  <a:lnTo>
                    <a:pt x="2199" y="935"/>
                  </a:lnTo>
                  <a:lnTo>
                    <a:pt x="2201" y="902"/>
                  </a:lnTo>
                  <a:lnTo>
                    <a:pt x="2207" y="868"/>
                  </a:lnTo>
                  <a:lnTo>
                    <a:pt x="2217" y="839"/>
                  </a:lnTo>
                  <a:lnTo>
                    <a:pt x="2229" y="811"/>
                  </a:lnTo>
                  <a:lnTo>
                    <a:pt x="2239" y="782"/>
                  </a:lnTo>
                  <a:lnTo>
                    <a:pt x="2248" y="754"/>
                  </a:lnTo>
                  <a:lnTo>
                    <a:pt x="2254" y="735"/>
                  </a:lnTo>
                  <a:lnTo>
                    <a:pt x="2262" y="721"/>
                  </a:lnTo>
                  <a:lnTo>
                    <a:pt x="2276" y="713"/>
                  </a:lnTo>
                  <a:lnTo>
                    <a:pt x="2296" y="711"/>
                  </a:lnTo>
                  <a:lnTo>
                    <a:pt x="2317" y="713"/>
                  </a:lnTo>
                  <a:lnTo>
                    <a:pt x="2331" y="719"/>
                  </a:lnTo>
                  <a:lnTo>
                    <a:pt x="2349" y="725"/>
                  </a:lnTo>
                  <a:lnTo>
                    <a:pt x="2365" y="733"/>
                  </a:lnTo>
                  <a:lnTo>
                    <a:pt x="2380" y="736"/>
                  </a:lnTo>
                  <a:lnTo>
                    <a:pt x="2394" y="736"/>
                  </a:lnTo>
                  <a:lnTo>
                    <a:pt x="2406" y="729"/>
                  </a:lnTo>
                  <a:lnTo>
                    <a:pt x="2424" y="703"/>
                  </a:lnTo>
                  <a:lnTo>
                    <a:pt x="2443" y="675"/>
                  </a:lnTo>
                  <a:lnTo>
                    <a:pt x="2463" y="650"/>
                  </a:lnTo>
                  <a:lnTo>
                    <a:pt x="2477" y="640"/>
                  </a:lnTo>
                  <a:lnTo>
                    <a:pt x="2493" y="636"/>
                  </a:lnTo>
                  <a:lnTo>
                    <a:pt x="2506" y="634"/>
                  </a:lnTo>
                  <a:lnTo>
                    <a:pt x="2522" y="630"/>
                  </a:lnTo>
                  <a:lnTo>
                    <a:pt x="2534" y="622"/>
                  </a:lnTo>
                  <a:lnTo>
                    <a:pt x="2540" y="611"/>
                  </a:lnTo>
                  <a:lnTo>
                    <a:pt x="2542" y="595"/>
                  </a:lnTo>
                  <a:lnTo>
                    <a:pt x="2538" y="577"/>
                  </a:lnTo>
                  <a:lnTo>
                    <a:pt x="2534" y="561"/>
                  </a:lnTo>
                  <a:lnTo>
                    <a:pt x="2530" y="548"/>
                  </a:lnTo>
                  <a:lnTo>
                    <a:pt x="2532" y="534"/>
                  </a:lnTo>
                  <a:lnTo>
                    <a:pt x="2536" y="518"/>
                  </a:lnTo>
                  <a:lnTo>
                    <a:pt x="2542" y="498"/>
                  </a:lnTo>
                  <a:lnTo>
                    <a:pt x="2550" y="477"/>
                  </a:lnTo>
                  <a:lnTo>
                    <a:pt x="2556" y="459"/>
                  </a:lnTo>
                  <a:lnTo>
                    <a:pt x="2561" y="443"/>
                  </a:lnTo>
                  <a:lnTo>
                    <a:pt x="2567" y="416"/>
                  </a:lnTo>
                  <a:lnTo>
                    <a:pt x="2571" y="386"/>
                  </a:lnTo>
                  <a:lnTo>
                    <a:pt x="2579" y="355"/>
                  </a:lnTo>
                  <a:lnTo>
                    <a:pt x="2585" y="337"/>
                  </a:lnTo>
                  <a:lnTo>
                    <a:pt x="2589" y="327"/>
                  </a:lnTo>
                  <a:lnTo>
                    <a:pt x="2595" y="317"/>
                  </a:lnTo>
                  <a:lnTo>
                    <a:pt x="2603" y="305"/>
                  </a:lnTo>
                  <a:lnTo>
                    <a:pt x="2615" y="294"/>
                  </a:lnTo>
                  <a:lnTo>
                    <a:pt x="2626" y="276"/>
                  </a:lnTo>
                  <a:lnTo>
                    <a:pt x="2632" y="260"/>
                  </a:lnTo>
                  <a:lnTo>
                    <a:pt x="2634" y="246"/>
                  </a:lnTo>
                  <a:lnTo>
                    <a:pt x="2634" y="231"/>
                  </a:lnTo>
                  <a:lnTo>
                    <a:pt x="2632" y="209"/>
                  </a:lnTo>
                  <a:lnTo>
                    <a:pt x="2632" y="185"/>
                  </a:lnTo>
                  <a:lnTo>
                    <a:pt x="2628" y="164"/>
                  </a:lnTo>
                  <a:lnTo>
                    <a:pt x="2622" y="150"/>
                  </a:lnTo>
                  <a:lnTo>
                    <a:pt x="2615" y="146"/>
                  </a:lnTo>
                  <a:lnTo>
                    <a:pt x="2605" y="148"/>
                  </a:lnTo>
                  <a:lnTo>
                    <a:pt x="2593" y="152"/>
                  </a:lnTo>
                  <a:lnTo>
                    <a:pt x="2581" y="156"/>
                  </a:lnTo>
                  <a:lnTo>
                    <a:pt x="2567" y="158"/>
                  </a:lnTo>
                  <a:lnTo>
                    <a:pt x="2556" y="156"/>
                  </a:lnTo>
                  <a:lnTo>
                    <a:pt x="2548" y="148"/>
                  </a:lnTo>
                  <a:lnTo>
                    <a:pt x="2546" y="136"/>
                  </a:lnTo>
                  <a:lnTo>
                    <a:pt x="2548" y="124"/>
                  </a:lnTo>
                  <a:lnTo>
                    <a:pt x="2550" y="116"/>
                  </a:lnTo>
                  <a:lnTo>
                    <a:pt x="2552" y="115"/>
                  </a:lnTo>
                  <a:close/>
                </a:path>
              </a:pathLst>
            </a:custGeom>
            <a:grpFill/>
            <a:ln w="0">
              <a:solidFill>
                <a:schemeClr val="bg1"/>
              </a:solidFill>
              <a:prstDash val="solid"/>
              <a:round/>
            </a:ln>
          </p:spPr>
          <p:txBody>
            <a:bodyPr/>
            <a:lstStyle/>
            <a:p>
              <a:endParaRPr lang="zh-CN" altLang="en-US"/>
            </a:p>
          </p:txBody>
        </p:sp>
        <p:sp>
          <p:nvSpPr>
            <p:cNvPr id="63" name="Freeform 106"/>
            <p:cNvSpPr/>
            <p:nvPr/>
          </p:nvSpPr>
          <p:spPr bwMode="gray">
            <a:xfrm>
              <a:off x="2264" y="884"/>
              <a:ext cx="1641" cy="1473"/>
            </a:xfrm>
            <a:custGeom>
              <a:avLst/>
              <a:gdLst>
                <a:gd name="T0" fmla="*/ 651 w 3282"/>
                <a:gd name="T1" fmla="*/ 10 h 2947"/>
                <a:gd name="T2" fmla="*/ 669 w 3282"/>
                <a:gd name="T3" fmla="*/ 0 h 2947"/>
                <a:gd name="T4" fmla="*/ 720 w 3282"/>
                <a:gd name="T5" fmla="*/ 75 h 2947"/>
                <a:gd name="T6" fmla="*/ 808 w 3282"/>
                <a:gd name="T7" fmla="*/ 154 h 2947"/>
                <a:gd name="T8" fmla="*/ 761 w 3282"/>
                <a:gd name="T9" fmla="*/ 265 h 2947"/>
                <a:gd name="T10" fmla="*/ 737 w 3282"/>
                <a:gd name="T11" fmla="*/ 326 h 2947"/>
                <a:gd name="T12" fmla="*/ 793 w 3282"/>
                <a:gd name="T13" fmla="*/ 368 h 2947"/>
                <a:gd name="T14" fmla="*/ 785 w 3282"/>
                <a:gd name="T15" fmla="*/ 441 h 2947"/>
                <a:gd name="T16" fmla="*/ 710 w 3282"/>
                <a:gd name="T17" fmla="*/ 486 h 2947"/>
                <a:gd name="T18" fmla="*/ 693 w 3282"/>
                <a:gd name="T19" fmla="*/ 529 h 2947"/>
                <a:gd name="T20" fmla="*/ 634 w 3282"/>
                <a:gd name="T21" fmla="*/ 485 h 2947"/>
                <a:gd name="T22" fmla="*/ 587 w 3282"/>
                <a:gd name="T23" fmla="*/ 518 h 2947"/>
                <a:gd name="T24" fmla="*/ 530 w 3282"/>
                <a:gd name="T25" fmla="*/ 545 h 2947"/>
                <a:gd name="T26" fmla="*/ 470 w 3282"/>
                <a:gd name="T27" fmla="*/ 631 h 2947"/>
                <a:gd name="T28" fmla="*/ 376 w 3282"/>
                <a:gd name="T29" fmla="*/ 713 h 2947"/>
                <a:gd name="T30" fmla="*/ 309 w 3282"/>
                <a:gd name="T31" fmla="*/ 676 h 2947"/>
                <a:gd name="T32" fmla="*/ 235 w 3282"/>
                <a:gd name="T33" fmla="*/ 736 h 2947"/>
                <a:gd name="T34" fmla="*/ 189 w 3282"/>
                <a:gd name="T35" fmla="*/ 655 h 2947"/>
                <a:gd name="T36" fmla="*/ 88 w 3282"/>
                <a:gd name="T37" fmla="*/ 617 h 2947"/>
                <a:gd name="T38" fmla="*/ 9 w 3282"/>
                <a:gd name="T39" fmla="*/ 583 h 2947"/>
                <a:gd name="T40" fmla="*/ 20 w 3282"/>
                <a:gd name="T41" fmla="*/ 515 h 2947"/>
                <a:gd name="T42" fmla="*/ 70 w 3282"/>
                <a:gd name="T43" fmla="*/ 522 h 2947"/>
                <a:gd name="T44" fmla="*/ 103 w 3282"/>
                <a:gd name="T45" fmla="*/ 518 h 2947"/>
                <a:gd name="T46" fmla="*/ 144 w 3282"/>
                <a:gd name="T47" fmla="*/ 526 h 2947"/>
                <a:gd name="T48" fmla="*/ 178 w 3282"/>
                <a:gd name="T49" fmla="*/ 545 h 2947"/>
                <a:gd name="T50" fmla="*/ 223 w 3282"/>
                <a:gd name="T51" fmla="*/ 550 h 2947"/>
                <a:gd name="T52" fmla="*/ 246 w 3282"/>
                <a:gd name="T53" fmla="*/ 558 h 2947"/>
                <a:gd name="T54" fmla="*/ 291 w 3282"/>
                <a:gd name="T55" fmla="*/ 532 h 2947"/>
                <a:gd name="T56" fmla="*/ 341 w 3282"/>
                <a:gd name="T57" fmla="*/ 519 h 2947"/>
                <a:gd name="T58" fmla="*/ 375 w 3282"/>
                <a:gd name="T59" fmla="*/ 517 h 2947"/>
                <a:gd name="T60" fmla="*/ 398 w 3282"/>
                <a:gd name="T61" fmla="*/ 506 h 2947"/>
                <a:gd name="T62" fmla="*/ 420 w 3282"/>
                <a:gd name="T63" fmla="*/ 485 h 2947"/>
                <a:gd name="T64" fmla="*/ 443 w 3282"/>
                <a:gd name="T65" fmla="*/ 466 h 2947"/>
                <a:gd name="T66" fmla="*/ 459 w 3282"/>
                <a:gd name="T67" fmla="*/ 452 h 2947"/>
                <a:gd name="T68" fmla="*/ 443 w 3282"/>
                <a:gd name="T69" fmla="*/ 419 h 2947"/>
                <a:gd name="T70" fmla="*/ 466 w 3282"/>
                <a:gd name="T71" fmla="*/ 396 h 2947"/>
                <a:gd name="T72" fmla="*/ 505 w 3282"/>
                <a:gd name="T73" fmla="*/ 403 h 2947"/>
                <a:gd name="T74" fmla="*/ 530 w 3282"/>
                <a:gd name="T75" fmla="*/ 375 h 2947"/>
                <a:gd name="T76" fmla="*/ 561 w 3282"/>
                <a:gd name="T77" fmla="*/ 369 h 2947"/>
                <a:gd name="T78" fmla="*/ 579 w 3282"/>
                <a:gd name="T79" fmla="*/ 341 h 2947"/>
                <a:gd name="T80" fmla="*/ 607 w 3282"/>
                <a:gd name="T81" fmla="*/ 315 h 2947"/>
                <a:gd name="T82" fmla="*/ 634 w 3282"/>
                <a:gd name="T83" fmla="*/ 298 h 2947"/>
                <a:gd name="T84" fmla="*/ 672 w 3282"/>
                <a:gd name="T85" fmla="*/ 300 h 2947"/>
                <a:gd name="T86" fmla="*/ 671 w 3282"/>
                <a:gd name="T87" fmla="*/ 277 h 2947"/>
                <a:gd name="T88" fmla="*/ 631 w 3282"/>
                <a:gd name="T89" fmla="*/ 249 h 2947"/>
                <a:gd name="T90" fmla="*/ 607 w 3282"/>
                <a:gd name="T91" fmla="*/ 260 h 2947"/>
                <a:gd name="T92" fmla="*/ 576 w 3282"/>
                <a:gd name="T93" fmla="*/ 258 h 2947"/>
                <a:gd name="T94" fmla="*/ 553 w 3282"/>
                <a:gd name="T95" fmla="*/ 268 h 2947"/>
                <a:gd name="T96" fmla="*/ 549 w 3282"/>
                <a:gd name="T97" fmla="*/ 245 h 2947"/>
                <a:gd name="T98" fmla="*/ 560 w 3282"/>
                <a:gd name="T99" fmla="*/ 195 h 2947"/>
                <a:gd name="T100" fmla="*/ 583 w 3282"/>
                <a:gd name="T101" fmla="*/ 179 h 2947"/>
                <a:gd name="T102" fmla="*/ 611 w 3282"/>
                <a:gd name="T103" fmla="*/ 168 h 2947"/>
                <a:gd name="T104" fmla="*/ 635 w 3282"/>
                <a:gd name="T105" fmla="*/ 152 h 2947"/>
                <a:gd name="T106" fmla="*/ 636 w 3282"/>
                <a:gd name="T107" fmla="*/ 124 h 2947"/>
                <a:gd name="T108" fmla="*/ 647 w 3282"/>
                <a:gd name="T109" fmla="*/ 84 h 2947"/>
                <a:gd name="T110" fmla="*/ 659 w 3282"/>
                <a:gd name="T111" fmla="*/ 61 h 2947"/>
                <a:gd name="T112" fmla="*/ 652 w 3282"/>
                <a:gd name="T113" fmla="*/ 37 h 2947"/>
                <a:gd name="T114" fmla="*/ 637 w 3282"/>
                <a:gd name="T115" fmla="*/ 31 h 2947"/>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282"/>
                <a:gd name="T175" fmla="*/ 0 h 2947"/>
                <a:gd name="T176" fmla="*/ 3282 w 3282"/>
                <a:gd name="T177" fmla="*/ 2947 h 2947"/>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282" h="2947">
                  <a:moveTo>
                    <a:pt x="2552" y="115"/>
                  </a:moveTo>
                  <a:lnTo>
                    <a:pt x="2554" y="111"/>
                  </a:lnTo>
                  <a:lnTo>
                    <a:pt x="2559" y="101"/>
                  </a:lnTo>
                  <a:lnTo>
                    <a:pt x="2569" y="87"/>
                  </a:lnTo>
                  <a:lnTo>
                    <a:pt x="2579" y="73"/>
                  </a:lnTo>
                  <a:lnTo>
                    <a:pt x="2589" y="55"/>
                  </a:lnTo>
                  <a:lnTo>
                    <a:pt x="2601" y="42"/>
                  </a:lnTo>
                  <a:lnTo>
                    <a:pt x="2609" y="28"/>
                  </a:lnTo>
                  <a:lnTo>
                    <a:pt x="2617" y="20"/>
                  </a:lnTo>
                  <a:lnTo>
                    <a:pt x="2628" y="12"/>
                  </a:lnTo>
                  <a:lnTo>
                    <a:pt x="2642" y="6"/>
                  </a:lnTo>
                  <a:lnTo>
                    <a:pt x="2658" y="2"/>
                  </a:lnTo>
                  <a:lnTo>
                    <a:pt x="2670" y="0"/>
                  </a:lnTo>
                  <a:lnTo>
                    <a:pt x="2676" y="0"/>
                  </a:lnTo>
                  <a:lnTo>
                    <a:pt x="2715" y="50"/>
                  </a:lnTo>
                  <a:lnTo>
                    <a:pt x="2670" y="132"/>
                  </a:lnTo>
                  <a:lnTo>
                    <a:pt x="2758" y="183"/>
                  </a:lnTo>
                  <a:lnTo>
                    <a:pt x="2782" y="142"/>
                  </a:lnTo>
                  <a:lnTo>
                    <a:pt x="2849" y="164"/>
                  </a:lnTo>
                  <a:lnTo>
                    <a:pt x="2853" y="231"/>
                  </a:lnTo>
                  <a:lnTo>
                    <a:pt x="2880" y="303"/>
                  </a:lnTo>
                  <a:lnTo>
                    <a:pt x="2983" y="303"/>
                  </a:lnTo>
                  <a:lnTo>
                    <a:pt x="3091" y="268"/>
                  </a:lnTo>
                  <a:lnTo>
                    <a:pt x="3138" y="207"/>
                  </a:lnTo>
                  <a:lnTo>
                    <a:pt x="3250" y="286"/>
                  </a:lnTo>
                  <a:lnTo>
                    <a:pt x="3231" y="386"/>
                  </a:lnTo>
                  <a:lnTo>
                    <a:pt x="3201" y="500"/>
                  </a:lnTo>
                  <a:lnTo>
                    <a:pt x="3231" y="616"/>
                  </a:lnTo>
                  <a:lnTo>
                    <a:pt x="3199" y="632"/>
                  </a:lnTo>
                  <a:lnTo>
                    <a:pt x="3191" y="701"/>
                  </a:lnTo>
                  <a:lnTo>
                    <a:pt x="3140" y="756"/>
                  </a:lnTo>
                  <a:lnTo>
                    <a:pt x="3085" y="866"/>
                  </a:lnTo>
                  <a:lnTo>
                    <a:pt x="3002" y="957"/>
                  </a:lnTo>
                  <a:lnTo>
                    <a:pt x="2987" y="1004"/>
                  </a:lnTo>
                  <a:lnTo>
                    <a:pt x="3042" y="1063"/>
                  </a:lnTo>
                  <a:lnTo>
                    <a:pt x="3083" y="1120"/>
                  </a:lnTo>
                  <a:lnTo>
                    <a:pt x="3071" y="1201"/>
                  </a:lnTo>
                  <a:lnTo>
                    <a:pt x="3079" y="1266"/>
                  </a:lnTo>
                  <a:lnTo>
                    <a:pt x="3030" y="1244"/>
                  </a:lnTo>
                  <a:lnTo>
                    <a:pt x="3014" y="1264"/>
                  </a:lnTo>
                  <a:lnTo>
                    <a:pt x="2971" y="1250"/>
                  </a:lnTo>
                  <a:lnTo>
                    <a:pt x="2947" y="1305"/>
                  </a:lnTo>
                  <a:lnTo>
                    <a:pt x="2989" y="1313"/>
                  </a:lnTo>
                  <a:lnTo>
                    <a:pt x="3030" y="1368"/>
                  </a:lnTo>
                  <a:lnTo>
                    <a:pt x="3024" y="1451"/>
                  </a:lnTo>
                  <a:lnTo>
                    <a:pt x="3059" y="1500"/>
                  </a:lnTo>
                  <a:lnTo>
                    <a:pt x="3061" y="1530"/>
                  </a:lnTo>
                  <a:lnTo>
                    <a:pt x="3091" y="1536"/>
                  </a:lnTo>
                  <a:lnTo>
                    <a:pt x="3170" y="1475"/>
                  </a:lnTo>
                  <a:lnTo>
                    <a:pt x="3209" y="1541"/>
                  </a:lnTo>
                  <a:lnTo>
                    <a:pt x="3244" y="1608"/>
                  </a:lnTo>
                  <a:lnTo>
                    <a:pt x="3282" y="1630"/>
                  </a:lnTo>
                  <a:lnTo>
                    <a:pt x="3282" y="1677"/>
                  </a:lnTo>
                  <a:lnTo>
                    <a:pt x="3239" y="1728"/>
                  </a:lnTo>
                  <a:lnTo>
                    <a:pt x="3189" y="1776"/>
                  </a:lnTo>
                  <a:lnTo>
                    <a:pt x="3138" y="1766"/>
                  </a:lnTo>
                  <a:lnTo>
                    <a:pt x="3134" y="1803"/>
                  </a:lnTo>
                  <a:lnTo>
                    <a:pt x="3101" y="1819"/>
                  </a:lnTo>
                  <a:lnTo>
                    <a:pt x="3032" y="1839"/>
                  </a:lnTo>
                  <a:lnTo>
                    <a:pt x="2981" y="1898"/>
                  </a:lnTo>
                  <a:lnTo>
                    <a:pt x="2928" y="1941"/>
                  </a:lnTo>
                  <a:lnTo>
                    <a:pt x="2884" y="2012"/>
                  </a:lnTo>
                  <a:lnTo>
                    <a:pt x="2839" y="1947"/>
                  </a:lnTo>
                  <a:lnTo>
                    <a:pt x="2798" y="1917"/>
                  </a:lnTo>
                  <a:lnTo>
                    <a:pt x="2768" y="1945"/>
                  </a:lnTo>
                  <a:lnTo>
                    <a:pt x="2788" y="1967"/>
                  </a:lnTo>
                  <a:lnTo>
                    <a:pt x="2788" y="2032"/>
                  </a:lnTo>
                  <a:lnTo>
                    <a:pt x="2811" y="2087"/>
                  </a:lnTo>
                  <a:lnTo>
                    <a:pt x="2778" y="2140"/>
                  </a:lnTo>
                  <a:lnTo>
                    <a:pt x="2770" y="2118"/>
                  </a:lnTo>
                  <a:lnTo>
                    <a:pt x="2703" y="2116"/>
                  </a:lnTo>
                  <a:lnTo>
                    <a:pt x="2656" y="2073"/>
                  </a:lnTo>
                  <a:lnTo>
                    <a:pt x="2640" y="2012"/>
                  </a:lnTo>
                  <a:lnTo>
                    <a:pt x="2607" y="1971"/>
                  </a:lnTo>
                  <a:lnTo>
                    <a:pt x="2581" y="1925"/>
                  </a:lnTo>
                  <a:lnTo>
                    <a:pt x="2556" y="1911"/>
                  </a:lnTo>
                  <a:lnTo>
                    <a:pt x="2536" y="1941"/>
                  </a:lnTo>
                  <a:lnTo>
                    <a:pt x="2506" y="1943"/>
                  </a:lnTo>
                  <a:lnTo>
                    <a:pt x="2469" y="1967"/>
                  </a:lnTo>
                  <a:lnTo>
                    <a:pt x="2479" y="2035"/>
                  </a:lnTo>
                  <a:lnTo>
                    <a:pt x="2441" y="2049"/>
                  </a:lnTo>
                  <a:lnTo>
                    <a:pt x="2414" y="2039"/>
                  </a:lnTo>
                  <a:lnTo>
                    <a:pt x="2386" y="2075"/>
                  </a:lnTo>
                  <a:lnTo>
                    <a:pt x="2347" y="2073"/>
                  </a:lnTo>
                  <a:lnTo>
                    <a:pt x="2296" y="2128"/>
                  </a:lnTo>
                  <a:lnTo>
                    <a:pt x="2248" y="2132"/>
                  </a:lnTo>
                  <a:lnTo>
                    <a:pt x="2231" y="2055"/>
                  </a:lnTo>
                  <a:lnTo>
                    <a:pt x="2183" y="2051"/>
                  </a:lnTo>
                  <a:lnTo>
                    <a:pt x="2158" y="2093"/>
                  </a:lnTo>
                  <a:lnTo>
                    <a:pt x="2152" y="2142"/>
                  </a:lnTo>
                  <a:lnTo>
                    <a:pt x="2120" y="2181"/>
                  </a:lnTo>
                  <a:lnTo>
                    <a:pt x="2132" y="2222"/>
                  </a:lnTo>
                  <a:lnTo>
                    <a:pt x="2117" y="2246"/>
                  </a:lnTo>
                  <a:lnTo>
                    <a:pt x="2185" y="2333"/>
                  </a:lnTo>
                  <a:lnTo>
                    <a:pt x="2075" y="2376"/>
                  </a:lnTo>
                  <a:lnTo>
                    <a:pt x="2014" y="2376"/>
                  </a:lnTo>
                  <a:lnTo>
                    <a:pt x="1928" y="2407"/>
                  </a:lnTo>
                  <a:lnTo>
                    <a:pt x="1880" y="2526"/>
                  </a:lnTo>
                  <a:lnTo>
                    <a:pt x="1802" y="2555"/>
                  </a:lnTo>
                  <a:lnTo>
                    <a:pt x="1766" y="2539"/>
                  </a:lnTo>
                  <a:lnTo>
                    <a:pt x="1731" y="2598"/>
                  </a:lnTo>
                  <a:lnTo>
                    <a:pt x="1674" y="2579"/>
                  </a:lnTo>
                  <a:lnTo>
                    <a:pt x="1621" y="2638"/>
                  </a:lnTo>
                  <a:lnTo>
                    <a:pt x="1601" y="2718"/>
                  </a:lnTo>
                  <a:lnTo>
                    <a:pt x="1502" y="2852"/>
                  </a:lnTo>
                  <a:lnTo>
                    <a:pt x="1459" y="2888"/>
                  </a:lnTo>
                  <a:lnTo>
                    <a:pt x="1430" y="2860"/>
                  </a:lnTo>
                  <a:lnTo>
                    <a:pt x="1339" y="2876"/>
                  </a:lnTo>
                  <a:lnTo>
                    <a:pt x="1298" y="2823"/>
                  </a:lnTo>
                  <a:lnTo>
                    <a:pt x="1239" y="2821"/>
                  </a:lnTo>
                  <a:lnTo>
                    <a:pt x="1195" y="2781"/>
                  </a:lnTo>
                  <a:lnTo>
                    <a:pt x="1233" y="2707"/>
                  </a:lnTo>
                  <a:lnTo>
                    <a:pt x="1248" y="2659"/>
                  </a:lnTo>
                  <a:lnTo>
                    <a:pt x="1215" y="2612"/>
                  </a:lnTo>
                  <a:lnTo>
                    <a:pt x="1150" y="2630"/>
                  </a:lnTo>
                  <a:lnTo>
                    <a:pt x="1115" y="2709"/>
                  </a:lnTo>
                  <a:lnTo>
                    <a:pt x="1101" y="2846"/>
                  </a:lnTo>
                  <a:lnTo>
                    <a:pt x="1052" y="2901"/>
                  </a:lnTo>
                  <a:lnTo>
                    <a:pt x="939" y="2947"/>
                  </a:lnTo>
                  <a:lnTo>
                    <a:pt x="869" y="2941"/>
                  </a:lnTo>
                  <a:lnTo>
                    <a:pt x="810" y="2886"/>
                  </a:lnTo>
                  <a:lnTo>
                    <a:pt x="817" y="2795"/>
                  </a:lnTo>
                  <a:lnTo>
                    <a:pt x="874" y="2764"/>
                  </a:lnTo>
                  <a:lnTo>
                    <a:pt x="874" y="2657"/>
                  </a:lnTo>
                  <a:lnTo>
                    <a:pt x="829" y="2618"/>
                  </a:lnTo>
                  <a:lnTo>
                    <a:pt x="754" y="2620"/>
                  </a:lnTo>
                  <a:lnTo>
                    <a:pt x="658" y="2714"/>
                  </a:lnTo>
                  <a:lnTo>
                    <a:pt x="524" y="2714"/>
                  </a:lnTo>
                  <a:lnTo>
                    <a:pt x="441" y="2671"/>
                  </a:lnTo>
                  <a:lnTo>
                    <a:pt x="445" y="2610"/>
                  </a:lnTo>
                  <a:lnTo>
                    <a:pt x="378" y="2606"/>
                  </a:lnTo>
                  <a:lnTo>
                    <a:pt x="302" y="2539"/>
                  </a:lnTo>
                  <a:lnTo>
                    <a:pt x="351" y="2470"/>
                  </a:lnTo>
                  <a:lnTo>
                    <a:pt x="396" y="2457"/>
                  </a:lnTo>
                  <a:lnTo>
                    <a:pt x="376" y="2390"/>
                  </a:lnTo>
                  <a:lnTo>
                    <a:pt x="296" y="2362"/>
                  </a:lnTo>
                  <a:lnTo>
                    <a:pt x="203" y="2374"/>
                  </a:lnTo>
                  <a:lnTo>
                    <a:pt x="156" y="2429"/>
                  </a:lnTo>
                  <a:lnTo>
                    <a:pt x="111" y="2423"/>
                  </a:lnTo>
                  <a:lnTo>
                    <a:pt x="34" y="2333"/>
                  </a:lnTo>
                  <a:lnTo>
                    <a:pt x="0" y="2236"/>
                  </a:lnTo>
                  <a:lnTo>
                    <a:pt x="18" y="2179"/>
                  </a:lnTo>
                  <a:lnTo>
                    <a:pt x="10" y="2055"/>
                  </a:lnTo>
                  <a:lnTo>
                    <a:pt x="14" y="2057"/>
                  </a:lnTo>
                  <a:lnTo>
                    <a:pt x="30" y="2057"/>
                  </a:lnTo>
                  <a:lnTo>
                    <a:pt x="52" y="2059"/>
                  </a:lnTo>
                  <a:lnTo>
                    <a:pt x="79" y="2063"/>
                  </a:lnTo>
                  <a:lnTo>
                    <a:pt x="109" y="2065"/>
                  </a:lnTo>
                  <a:lnTo>
                    <a:pt x="138" y="2069"/>
                  </a:lnTo>
                  <a:lnTo>
                    <a:pt x="166" y="2073"/>
                  </a:lnTo>
                  <a:lnTo>
                    <a:pt x="189" y="2077"/>
                  </a:lnTo>
                  <a:lnTo>
                    <a:pt x="207" y="2081"/>
                  </a:lnTo>
                  <a:lnTo>
                    <a:pt x="243" y="2089"/>
                  </a:lnTo>
                  <a:lnTo>
                    <a:pt x="278" y="2089"/>
                  </a:lnTo>
                  <a:lnTo>
                    <a:pt x="308" y="2081"/>
                  </a:lnTo>
                  <a:lnTo>
                    <a:pt x="323" y="2075"/>
                  </a:lnTo>
                  <a:lnTo>
                    <a:pt x="337" y="2069"/>
                  </a:lnTo>
                  <a:lnTo>
                    <a:pt x="351" y="2067"/>
                  </a:lnTo>
                  <a:lnTo>
                    <a:pt x="367" y="2065"/>
                  </a:lnTo>
                  <a:lnTo>
                    <a:pt x="386" y="2069"/>
                  </a:lnTo>
                  <a:lnTo>
                    <a:pt x="412" y="2075"/>
                  </a:lnTo>
                  <a:lnTo>
                    <a:pt x="441" y="2079"/>
                  </a:lnTo>
                  <a:lnTo>
                    <a:pt x="473" y="2083"/>
                  </a:lnTo>
                  <a:lnTo>
                    <a:pt x="498" y="2087"/>
                  </a:lnTo>
                  <a:lnTo>
                    <a:pt x="518" y="2087"/>
                  </a:lnTo>
                  <a:lnTo>
                    <a:pt x="542" y="2089"/>
                  </a:lnTo>
                  <a:lnTo>
                    <a:pt x="560" y="2095"/>
                  </a:lnTo>
                  <a:lnTo>
                    <a:pt x="575" y="2104"/>
                  </a:lnTo>
                  <a:lnTo>
                    <a:pt x="589" y="2118"/>
                  </a:lnTo>
                  <a:lnTo>
                    <a:pt x="607" y="2134"/>
                  </a:lnTo>
                  <a:lnTo>
                    <a:pt x="626" y="2148"/>
                  </a:lnTo>
                  <a:lnTo>
                    <a:pt x="646" y="2156"/>
                  </a:lnTo>
                  <a:lnTo>
                    <a:pt x="666" y="2163"/>
                  </a:lnTo>
                  <a:lnTo>
                    <a:pt x="685" y="2173"/>
                  </a:lnTo>
                  <a:lnTo>
                    <a:pt x="709" y="2183"/>
                  </a:lnTo>
                  <a:lnTo>
                    <a:pt x="739" y="2193"/>
                  </a:lnTo>
                  <a:lnTo>
                    <a:pt x="762" y="2197"/>
                  </a:lnTo>
                  <a:lnTo>
                    <a:pt x="792" y="2199"/>
                  </a:lnTo>
                  <a:lnTo>
                    <a:pt x="821" y="2201"/>
                  </a:lnTo>
                  <a:lnTo>
                    <a:pt x="851" y="2201"/>
                  </a:lnTo>
                  <a:lnTo>
                    <a:pt x="874" y="2201"/>
                  </a:lnTo>
                  <a:lnTo>
                    <a:pt x="892" y="2203"/>
                  </a:lnTo>
                  <a:lnTo>
                    <a:pt x="904" y="2207"/>
                  </a:lnTo>
                  <a:lnTo>
                    <a:pt x="914" y="2215"/>
                  </a:lnTo>
                  <a:lnTo>
                    <a:pt x="924" y="2224"/>
                  </a:lnTo>
                  <a:lnTo>
                    <a:pt x="935" y="2232"/>
                  </a:lnTo>
                  <a:lnTo>
                    <a:pt x="947" y="2236"/>
                  </a:lnTo>
                  <a:lnTo>
                    <a:pt x="965" y="2238"/>
                  </a:lnTo>
                  <a:lnTo>
                    <a:pt x="985" y="2234"/>
                  </a:lnTo>
                  <a:lnTo>
                    <a:pt x="1002" y="2224"/>
                  </a:lnTo>
                  <a:lnTo>
                    <a:pt x="1024" y="2207"/>
                  </a:lnTo>
                  <a:lnTo>
                    <a:pt x="1048" y="2187"/>
                  </a:lnTo>
                  <a:lnTo>
                    <a:pt x="1073" y="2171"/>
                  </a:lnTo>
                  <a:lnTo>
                    <a:pt x="1103" y="2157"/>
                  </a:lnTo>
                  <a:lnTo>
                    <a:pt x="1134" y="2144"/>
                  </a:lnTo>
                  <a:lnTo>
                    <a:pt x="1164" y="2130"/>
                  </a:lnTo>
                  <a:lnTo>
                    <a:pt x="1199" y="2114"/>
                  </a:lnTo>
                  <a:lnTo>
                    <a:pt x="1241" y="2098"/>
                  </a:lnTo>
                  <a:lnTo>
                    <a:pt x="1282" y="2087"/>
                  </a:lnTo>
                  <a:lnTo>
                    <a:pt x="1325" y="2079"/>
                  </a:lnTo>
                  <a:lnTo>
                    <a:pt x="1345" y="2077"/>
                  </a:lnTo>
                  <a:lnTo>
                    <a:pt x="1357" y="2077"/>
                  </a:lnTo>
                  <a:lnTo>
                    <a:pt x="1363" y="2079"/>
                  </a:lnTo>
                  <a:lnTo>
                    <a:pt x="1367" y="2079"/>
                  </a:lnTo>
                  <a:lnTo>
                    <a:pt x="1371" y="2081"/>
                  </a:lnTo>
                  <a:lnTo>
                    <a:pt x="1378" y="2081"/>
                  </a:lnTo>
                  <a:lnTo>
                    <a:pt x="1392" y="2081"/>
                  </a:lnTo>
                  <a:lnTo>
                    <a:pt x="1418" y="2079"/>
                  </a:lnTo>
                  <a:lnTo>
                    <a:pt x="1463" y="2075"/>
                  </a:lnTo>
                  <a:lnTo>
                    <a:pt x="1498" y="2071"/>
                  </a:lnTo>
                  <a:lnTo>
                    <a:pt x="1526" y="2065"/>
                  </a:lnTo>
                  <a:lnTo>
                    <a:pt x="1548" y="2059"/>
                  </a:lnTo>
                  <a:lnTo>
                    <a:pt x="1561" y="2053"/>
                  </a:lnTo>
                  <a:lnTo>
                    <a:pt x="1571" y="2045"/>
                  </a:lnTo>
                  <a:lnTo>
                    <a:pt x="1577" y="2035"/>
                  </a:lnTo>
                  <a:lnTo>
                    <a:pt x="1581" y="2030"/>
                  </a:lnTo>
                  <a:lnTo>
                    <a:pt x="1589" y="2024"/>
                  </a:lnTo>
                  <a:lnTo>
                    <a:pt x="1603" y="2018"/>
                  </a:lnTo>
                  <a:lnTo>
                    <a:pt x="1622" y="2014"/>
                  </a:lnTo>
                  <a:lnTo>
                    <a:pt x="1640" y="2006"/>
                  </a:lnTo>
                  <a:lnTo>
                    <a:pt x="1656" y="1994"/>
                  </a:lnTo>
                  <a:lnTo>
                    <a:pt x="1668" y="1974"/>
                  </a:lnTo>
                  <a:lnTo>
                    <a:pt x="1674" y="1957"/>
                  </a:lnTo>
                  <a:lnTo>
                    <a:pt x="1680" y="1941"/>
                  </a:lnTo>
                  <a:lnTo>
                    <a:pt x="1685" y="1927"/>
                  </a:lnTo>
                  <a:lnTo>
                    <a:pt x="1697" y="1913"/>
                  </a:lnTo>
                  <a:lnTo>
                    <a:pt x="1715" y="1900"/>
                  </a:lnTo>
                  <a:lnTo>
                    <a:pt x="1737" y="1888"/>
                  </a:lnTo>
                  <a:lnTo>
                    <a:pt x="1752" y="1878"/>
                  </a:lnTo>
                  <a:lnTo>
                    <a:pt x="1764" y="1872"/>
                  </a:lnTo>
                  <a:lnTo>
                    <a:pt x="1772" y="1866"/>
                  </a:lnTo>
                  <a:lnTo>
                    <a:pt x="1780" y="1860"/>
                  </a:lnTo>
                  <a:lnTo>
                    <a:pt x="1790" y="1854"/>
                  </a:lnTo>
                  <a:lnTo>
                    <a:pt x="1804" y="1848"/>
                  </a:lnTo>
                  <a:lnTo>
                    <a:pt x="1817" y="1841"/>
                  </a:lnTo>
                  <a:lnTo>
                    <a:pt x="1831" y="1831"/>
                  </a:lnTo>
                  <a:lnTo>
                    <a:pt x="1837" y="1821"/>
                  </a:lnTo>
                  <a:lnTo>
                    <a:pt x="1837" y="1811"/>
                  </a:lnTo>
                  <a:lnTo>
                    <a:pt x="1825" y="1795"/>
                  </a:lnTo>
                  <a:lnTo>
                    <a:pt x="1809" y="1780"/>
                  </a:lnTo>
                  <a:lnTo>
                    <a:pt x="1794" y="1762"/>
                  </a:lnTo>
                  <a:lnTo>
                    <a:pt x="1780" y="1744"/>
                  </a:lnTo>
                  <a:lnTo>
                    <a:pt x="1772" y="1726"/>
                  </a:lnTo>
                  <a:lnTo>
                    <a:pt x="1772" y="1707"/>
                  </a:lnTo>
                  <a:lnTo>
                    <a:pt x="1772" y="1679"/>
                  </a:lnTo>
                  <a:lnTo>
                    <a:pt x="1776" y="1652"/>
                  </a:lnTo>
                  <a:lnTo>
                    <a:pt x="1782" y="1628"/>
                  </a:lnTo>
                  <a:lnTo>
                    <a:pt x="1790" y="1608"/>
                  </a:lnTo>
                  <a:lnTo>
                    <a:pt x="1806" y="1593"/>
                  </a:lnTo>
                  <a:lnTo>
                    <a:pt x="1823" y="1585"/>
                  </a:lnTo>
                  <a:lnTo>
                    <a:pt x="1843" y="1581"/>
                  </a:lnTo>
                  <a:lnTo>
                    <a:pt x="1863" y="1585"/>
                  </a:lnTo>
                  <a:lnTo>
                    <a:pt x="1884" y="1597"/>
                  </a:lnTo>
                  <a:lnTo>
                    <a:pt x="1910" y="1606"/>
                  </a:lnTo>
                  <a:lnTo>
                    <a:pt x="1937" y="1614"/>
                  </a:lnTo>
                  <a:lnTo>
                    <a:pt x="1963" y="1616"/>
                  </a:lnTo>
                  <a:lnTo>
                    <a:pt x="1985" y="1614"/>
                  </a:lnTo>
                  <a:lnTo>
                    <a:pt x="2002" y="1614"/>
                  </a:lnTo>
                  <a:lnTo>
                    <a:pt x="2020" y="1612"/>
                  </a:lnTo>
                  <a:lnTo>
                    <a:pt x="2034" y="1608"/>
                  </a:lnTo>
                  <a:lnTo>
                    <a:pt x="2046" y="1597"/>
                  </a:lnTo>
                  <a:lnTo>
                    <a:pt x="2058" y="1581"/>
                  </a:lnTo>
                  <a:lnTo>
                    <a:pt x="2071" y="1561"/>
                  </a:lnTo>
                  <a:lnTo>
                    <a:pt x="2085" y="1538"/>
                  </a:lnTo>
                  <a:lnTo>
                    <a:pt x="2101" y="1518"/>
                  </a:lnTo>
                  <a:lnTo>
                    <a:pt x="2117" y="1502"/>
                  </a:lnTo>
                  <a:lnTo>
                    <a:pt x="2130" y="1494"/>
                  </a:lnTo>
                  <a:lnTo>
                    <a:pt x="2146" y="1490"/>
                  </a:lnTo>
                  <a:lnTo>
                    <a:pt x="2166" y="1488"/>
                  </a:lnTo>
                  <a:lnTo>
                    <a:pt x="2189" y="1486"/>
                  </a:lnTo>
                  <a:lnTo>
                    <a:pt x="2213" y="1484"/>
                  </a:lnTo>
                  <a:lnTo>
                    <a:pt x="2231" y="1482"/>
                  </a:lnTo>
                  <a:lnTo>
                    <a:pt x="2243" y="1477"/>
                  </a:lnTo>
                  <a:lnTo>
                    <a:pt x="2254" y="1469"/>
                  </a:lnTo>
                  <a:lnTo>
                    <a:pt x="2268" y="1455"/>
                  </a:lnTo>
                  <a:lnTo>
                    <a:pt x="2284" y="1437"/>
                  </a:lnTo>
                  <a:lnTo>
                    <a:pt x="2298" y="1421"/>
                  </a:lnTo>
                  <a:lnTo>
                    <a:pt x="2308" y="1408"/>
                  </a:lnTo>
                  <a:lnTo>
                    <a:pt x="2311" y="1388"/>
                  </a:lnTo>
                  <a:lnTo>
                    <a:pt x="2315" y="1364"/>
                  </a:lnTo>
                  <a:lnTo>
                    <a:pt x="2321" y="1343"/>
                  </a:lnTo>
                  <a:lnTo>
                    <a:pt x="2331" y="1323"/>
                  </a:lnTo>
                  <a:lnTo>
                    <a:pt x="2351" y="1303"/>
                  </a:lnTo>
                  <a:lnTo>
                    <a:pt x="2374" y="1286"/>
                  </a:lnTo>
                  <a:lnTo>
                    <a:pt x="2402" y="1276"/>
                  </a:lnTo>
                  <a:lnTo>
                    <a:pt x="2416" y="1270"/>
                  </a:lnTo>
                  <a:lnTo>
                    <a:pt x="2426" y="1262"/>
                  </a:lnTo>
                  <a:lnTo>
                    <a:pt x="2433" y="1250"/>
                  </a:lnTo>
                  <a:lnTo>
                    <a:pt x="2443" y="1240"/>
                  </a:lnTo>
                  <a:lnTo>
                    <a:pt x="2455" y="1232"/>
                  </a:lnTo>
                  <a:lnTo>
                    <a:pt x="2469" y="1227"/>
                  </a:lnTo>
                  <a:lnTo>
                    <a:pt x="2487" y="1217"/>
                  </a:lnTo>
                  <a:lnTo>
                    <a:pt x="2510" y="1205"/>
                  </a:lnTo>
                  <a:lnTo>
                    <a:pt x="2534" y="1195"/>
                  </a:lnTo>
                  <a:lnTo>
                    <a:pt x="2559" y="1189"/>
                  </a:lnTo>
                  <a:lnTo>
                    <a:pt x="2583" y="1187"/>
                  </a:lnTo>
                  <a:lnTo>
                    <a:pt x="2607" y="1189"/>
                  </a:lnTo>
                  <a:lnTo>
                    <a:pt x="2628" y="1195"/>
                  </a:lnTo>
                  <a:lnTo>
                    <a:pt x="2652" y="1199"/>
                  </a:lnTo>
                  <a:lnTo>
                    <a:pt x="2670" y="1203"/>
                  </a:lnTo>
                  <a:lnTo>
                    <a:pt x="2685" y="1203"/>
                  </a:lnTo>
                  <a:lnTo>
                    <a:pt x="2697" y="1197"/>
                  </a:lnTo>
                  <a:lnTo>
                    <a:pt x="2707" y="1183"/>
                  </a:lnTo>
                  <a:lnTo>
                    <a:pt x="2713" y="1171"/>
                  </a:lnTo>
                  <a:lnTo>
                    <a:pt x="2713" y="1158"/>
                  </a:lnTo>
                  <a:lnTo>
                    <a:pt x="2707" y="1140"/>
                  </a:lnTo>
                  <a:lnTo>
                    <a:pt x="2695" y="1126"/>
                  </a:lnTo>
                  <a:lnTo>
                    <a:pt x="2682" y="1108"/>
                  </a:lnTo>
                  <a:lnTo>
                    <a:pt x="2662" y="1089"/>
                  </a:lnTo>
                  <a:lnTo>
                    <a:pt x="2644" y="1071"/>
                  </a:lnTo>
                  <a:lnTo>
                    <a:pt x="2626" y="1055"/>
                  </a:lnTo>
                  <a:lnTo>
                    <a:pt x="2611" y="1042"/>
                  </a:lnTo>
                  <a:lnTo>
                    <a:pt x="2575" y="1016"/>
                  </a:lnTo>
                  <a:lnTo>
                    <a:pt x="2538" y="1004"/>
                  </a:lnTo>
                  <a:lnTo>
                    <a:pt x="2524" y="998"/>
                  </a:lnTo>
                  <a:lnTo>
                    <a:pt x="2510" y="990"/>
                  </a:lnTo>
                  <a:lnTo>
                    <a:pt x="2498" y="986"/>
                  </a:lnTo>
                  <a:lnTo>
                    <a:pt x="2485" y="984"/>
                  </a:lnTo>
                  <a:lnTo>
                    <a:pt x="2469" y="990"/>
                  </a:lnTo>
                  <a:lnTo>
                    <a:pt x="2453" y="1006"/>
                  </a:lnTo>
                  <a:lnTo>
                    <a:pt x="2439" y="1024"/>
                  </a:lnTo>
                  <a:lnTo>
                    <a:pt x="2426" y="1040"/>
                  </a:lnTo>
                  <a:lnTo>
                    <a:pt x="2408" y="1051"/>
                  </a:lnTo>
                  <a:lnTo>
                    <a:pt x="2394" y="1053"/>
                  </a:lnTo>
                  <a:lnTo>
                    <a:pt x="2376" y="1049"/>
                  </a:lnTo>
                  <a:lnTo>
                    <a:pt x="2357" y="1044"/>
                  </a:lnTo>
                  <a:lnTo>
                    <a:pt x="2337" y="1036"/>
                  </a:lnTo>
                  <a:lnTo>
                    <a:pt x="2317" y="1032"/>
                  </a:lnTo>
                  <a:lnTo>
                    <a:pt x="2304" y="1034"/>
                  </a:lnTo>
                  <a:lnTo>
                    <a:pt x="2292" y="1042"/>
                  </a:lnTo>
                  <a:lnTo>
                    <a:pt x="2282" y="1053"/>
                  </a:lnTo>
                  <a:lnTo>
                    <a:pt x="2272" y="1067"/>
                  </a:lnTo>
                  <a:lnTo>
                    <a:pt x="2260" y="1079"/>
                  </a:lnTo>
                  <a:lnTo>
                    <a:pt x="2248" y="1087"/>
                  </a:lnTo>
                  <a:lnTo>
                    <a:pt x="2235" y="1087"/>
                  </a:lnTo>
                  <a:lnTo>
                    <a:pt x="2211" y="1075"/>
                  </a:lnTo>
                  <a:lnTo>
                    <a:pt x="2189" y="1061"/>
                  </a:lnTo>
                  <a:lnTo>
                    <a:pt x="2174" y="1044"/>
                  </a:lnTo>
                  <a:lnTo>
                    <a:pt x="2168" y="1024"/>
                  </a:lnTo>
                  <a:lnTo>
                    <a:pt x="2170" y="1010"/>
                  </a:lnTo>
                  <a:lnTo>
                    <a:pt x="2178" y="1002"/>
                  </a:lnTo>
                  <a:lnTo>
                    <a:pt x="2185" y="992"/>
                  </a:lnTo>
                  <a:lnTo>
                    <a:pt x="2193" y="982"/>
                  </a:lnTo>
                  <a:lnTo>
                    <a:pt x="2197" y="965"/>
                  </a:lnTo>
                  <a:lnTo>
                    <a:pt x="2199" y="935"/>
                  </a:lnTo>
                  <a:lnTo>
                    <a:pt x="2201" y="902"/>
                  </a:lnTo>
                  <a:lnTo>
                    <a:pt x="2207" y="868"/>
                  </a:lnTo>
                  <a:lnTo>
                    <a:pt x="2217" y="839"/>
                  </a:lnTo>
                  <a:lnTo>
                    <a:pt x="2229" y="811"/>
                  </a:lnTo>
                  <a:lnTo>
                    <a:pt x="2239" y="782"/>
                  </a:lnTo>
                  <a:lnTo>
                    <a:pt x="2248" y="754"/>
                  </a:lnTo>
                  <a:lnTo>
                    <a:pt x="2254" y="735"/>
                  </a:lnTo>
                  <a:lnTo>
                    <a:pt x="2262" y="721"/>
                  </a:lnTo>
                  <a:lnTo>
                    <a:pt x="2276" y="713"/>
                  </a:lnTo>
                  <a:lnTo>
                    <a:pt x="2296" y="711"/>
                  </a:lnTo>
                  <a:lnTo>
                    <a:pt x="2317" y="713"/>
                  </a:lnTo>
                  <a:lnTo>
                    <a:pt x="2331" y="719"/>
                  </a:lnTo>
                  <a:lnTo>
                    <a:pt x="2349" y="725"/>
                  </a:lnTo>
                  <a:lnTo>
                    <a:pt x="2365" y="733"/>
                  </a:lnTo>
                  <a:lnTo>
                    <a:pt x="2380" y="736"/>
                  </a:lnTo>
                  <a:lnTo>
                    <a:pt x="2394" y="736"/>
                  </a:lnTo>
                  <a:lnTo>
                    <a:pt x="2406" y="729"/>
                  </a:lnTo>
                  <a:lnTo>
                    <a:pt x="2424" y="703"/>
                  </a:lnTo>
                  <a:lnTo>
                    <a:pt x="2443" y="675"/>
                  </a:lnTo>
                  <a:lnTo>
                    <a:pt x="2463" y="650"/>
                  </a:lnTo>
                  <a:lnTo>
                    <a:pt x="2477" y="640"/>
                  </a:lnTo>
                  <a:lnTo>
                    <a:pt x="2493" y="636"/>
                  </a:lnTo>
                  <a:lnTo>
                    <a:pt x="2506" y="634"/>
                  </a:lnTo>
                  <a:lnTo>
                    <a:pt x="2522" y="630"/>
                  </a:lnTo>
                  <a:lnTo>
                    <a:pt x="2534" y="622"/>
                  </a:lnTo>
                  <a:lnTo>
                    <a:pt x="2540" y="611"/>
                  </a:lnTo>
                  <a:lnTo>
                    <a:pt x="2542" y="595"/>
                  </a:lnTo>
                  <a:lnTo>
                    <a:pt x="2538" y="577"/>
                  </a:lnTo>
                  <a:lnTo>
                    <a:pt x="2534" y="561"/>
                  </a:lnTo>
                  <a:lnTo>
                    <a:pt x="2530" y="548"/>
                  </a:lnTo>
                  <a:lnTo>
                    <a:pt x="2532" y="534"/>
                  </a:lnTo>
                  <a:lnTo>
                    <a:pt x="2536" y="518"/>
                  </a:lnTo>
                  <a:lnTo>
                    <a:pt x="2542" y="498"/>
                  </a:lnTo>
                  <a:lnTo>
                    <a:pt x="2550" y="477"/>
                  </a:lnTo>
                  <a:lnTo>
                    <a:pt x="2556" y="459"/>
                  </a:lnTo>
                  <a:lnTo>
                    <a:pt x="2561" y="443"/>
                  </a:lnTo>
                  <a:lnTo>
                    <a:pt x="2567" y="416"/>
                  </a:lnTo>
                  <a:lnTo>
                    <a:pt x="2571" y="386"/>
                  </a:lnTo>
                  <a:lnTo>
                    <a:pt x="2579" y="355"/>
                  </a:lnTo>
                  <a:lnTo>
                    <a:pt x="2585" y="337"/>
                  </a:lnTo>
                  <a:lnTo>
                    <a:pt x="2589" y="327"/>
                  </a:lnTo>
                  <a:lnTo>
                    <a:pt x="2595" y="317"/>
                  </a:lnTo>
                  <a:lnTo>
                    <a:pt x="2603" y="305"/>
                  </a:lnTo>
                  <a:lnTo>
                    <a:pt x="2615" y="294"/>
                  </a:lnTo>
                  <a:lnTo>
                    <a:pt x="2626" y="276"/>
                  </a:lnTo>
                  <a:lnTo>
                    <a:pt x="2632" y="260"/>
                  </a:lnTo>
                  <a:lnTo>
                    <a:pt x="2634" y="246"/>
                  </a:lnTo>
                  <a:lnTo>
                    <a:pt x="2634" y="231"/>
                  </a:lnTo>
                  <a:lnTo>
                    <a:pt x="2632" y="209"/>
                  </a:lnTo>
                  <a:lnTo>
                    <a:pt x="2632" y="185"/>
                  </a:lnTo>
                  <a:lnTo>
                    <a:pt x="2628" y="164"/>
                  </a:lnTo>
                  <a:lnTo>
                    <a:pt x="2622" y="150"/>
                  </a:lnTo>
                  <a:lnTo>
                    <a:pt x="2615" y="146"/>
                  </a:lnTo>
                  <a:lnTo>
                    <a:pt x="2605" y="148"/>
                  </a:lnTo>
                  <a:lnTo>
                    <a:pt x="2593" y="152"/>
                  </a:lnTo>
                  <a:lnTo>
                    <a:pt x="2581" y="156"/>
                  </a:lnTo>
                  <a:lnTo>
                    <a:pt x="2567" y="158"/>
                  </a:lnTo>
                  <a:lnTo>
                    <a:pt x="2556" y="156"/>
                  </a:lnTo>
                  <a:lnTo>
                    <a:pt x="2548" y="148"/>
                  </a:lnTo>
                  <a:lnTo>
                    <a:pt x="2546" y="136"/>
                  </a:lnTo>
                  <a:lnTo>
                    <a:pt x="2548" y="124"/>
                  </a:lnTo>
                  <a:lnTo>
                    <a:pt x="2550" y="116"/>
                  </a:lnTo>
                  <a:lnTo>
                    <a:pt x="2552" y="115"/>
                  </a:lnTo>
                </a:path>
              </a:pathLst>
            </a:custGeom>
            <a:grpFill/>
            <a:ln w="6350">
              <a:solidFill>
                <a:schemeClr val="bg1"/>
              </a:solidFill>
              <a:prstDash val="solid"/>
              <a:round/>
            </a:ln>
          </p:spPr>
          <p:txBody>
            <a:bodyPr/>
            <a:lstStyle/>
            <a:p>
              <a:endParaRPr lang="zh-CN" altLang="en-US"/>
            </a:p>
          </p:txBody>
        </p:sp>
        <p:sp>
          <p:nvSpPr>
            <p:cNvPr id="64" name="Freeform 107"/>
            <p:cNvSpPr/>
            <p:nvPr/>
          </p:nvSpPr>
          <p:spPr bwMode="gray">
            <a:xfrm>
              <a:off x="2016" y="1899"/>
              <a:ext cx="1007" cy="870"/>
            </a:xfrm>
            <a:custGeom>
              <a:avLst/>
              <a:gdLst>
                <a:gd name="T0" fmla="*/ 92 w 2014"/>
                <a:gd name="T1" fmla="*/ 13 h 1739"/>
                <a:gd name="T2" fmla="*/ 66 w 2014"/>
                <a:gd name="T3" fmla="*/ 38 h 1739"/>
                <a:gd name="T4" fmla="*/ 0 w 2014"/>
                <a:gd name="T5" fmla="*/ 77 h 1739"/>
                <a:gd name="T6" fmla="*/ 45 w 2014"/>
                <a:gd name="T7" fmla="*/ 154 h 1739"/>
                <a:gd name="T8" fmla="*/ 90 w 2014"/>
                <a:gd name="T9" fmla="*/ 171 h 1739"/>
                <a:gd name="T10" fmla="*/ 140 w 2014"/>
                <a:gd name="T11" fmla="*/ 160 h 1739"/>
                <a:gd name="T12" fmla="*/ 188 w 2014"/>
                <a:gd name="T13" fmla="*/ 177 h 1739"/>
                <a:gd name="T14" fmla="*/ 215 w 2014"/>
                <a:gd name="T15" fmla="*/ 193 h 1739"/>
                <a:gd name="T16" fmla="*/ 258 w 2014"/>
                <a:gd name="T17" fmla="*/ 220 h 1739"/>
                <a:gd name="T18" fmla="*/ 284 w 2014"/>
                <a:gd name="T19" fmla="*/ 237 h 1739"/>
                <a:gd name="T20" fmla="*/ 301 w 2014"/>
                <a:gd name="T21" fmla="*/ 275 h 1739"/>
                <a:gd name="T22" fmla="*/ 283 w 2014"/>
                <a:gd name="T23" fmla="*/ 318 h 1739"/>
                <a:gd name="T24" fmla="*/ 270 w 2014"/>
                <a:gd name="T25" fmla="*/ 341 h 1739"/>
                <a:gd name="T26" fmla="*/ 249 w 2014"/>
                <a:gd name="T27" fmla="*/ 367 h 1739"/>
                <a:gd name="T28" fmla="*/ 239 w 2014"/>
                <a:gd name="T29" fmla="*/ 374 h 1739"/>
                <a:gd name="T30" fmla="*/ 281 w 2014"/>
                <a:gd name="T31" fmla="*/ 390 h 1739"/>
                <a:gd name="T32" fmla="*/ 314 w 2014"/>
                <a:gd name="T33" fmla="*/ 373 h 1739"/>
                <a:gd name="T34" fmla="*/ 353 w 2014"/>
                <a:gd name="T35" fmla="*/ 403 h 1739"/>
                <a:gd name="T36" fmla="*/ 385 w 2014"/>
                <a:gd name="T37" fmla="*/ 435 h 1739"/>
                <a:gd name="T38" fmla="*/ 413 w 2014"/>
                <a:gd name="T39" fmla="*/ 401 h 1739"/>
                <a:gd name="T40" fmla="*/ 430 w 2014"/>
                <a:gd name="T41" fmla="*/ 377 h 1739"/>
                <a:gd name="T42" fmla="*/ 425 w 2014"/>
                <a:gd name="T43" fmla="*/ 349 h 1739"/>
                <a:gd name="T44" fmla="*/ 431 w 2014"/>
                <a:gd name="T45" fmla="*/ 341 h 1739"/>
                <a:gd name="T46" fmla="*/ 432 w 2014"/>
                <a:gd name="T47" fmla="*/ 335 h 1739"/>
                <a:gd name="T48" fmla="*/ 432 w 2014"/>
                <a:gd name="T49" fmla="*/ 327 h 1739"/>
                <a:gd name="T50" fmla="*/ 472 w 2014"/>
                <a:gd name="T51" fmla="*/ 329 h 1739"/>
                <a:gd name="T52" fmla="*/ 500 w 2014"/>
                <a:gd name="T53" fmla="*/ 302 h 1739"/>
                <a:gd name="T54" fmla="*/ 501 w 2014"/>
                <a:gd name="T55" fmla="*/ 267 h 1739"/>
                <a:gd name="T56" fmla="*/ 453 w 2014"/>
                <a:gd name="T57" fmla="*/ 241 h 1739"/>
                <a:gd name="T58" fmla="*/ 429 w 2014"/>
                <a:gd name="T59" fmla="*/ 256 h 1739"/>
                <a:gd name="T60" fmla="*/ 444 w 2014"/>
                <a:gd name="T61" fmla="*/ 290 h 1739"/>
                <a:gd name="T62" fmla="*/ 429 w 2014"/>
                <a:gd name="T63" fmla="*/ 315 h 1739"/>
                <a:gd name="T64" fmla="*/ 398 w 2014"/>
                <a:gd name="T65" fmla="*/ 302 h 1739"/>
                <a:gd name="T66" fmla="*/ 391 w 2014"/>
                <a:gd name="T67" fmla="*/ 276 h 1739"/>
                <a:gd name="T68" fmla="*/ 369 w 2014"/>
                <a:gd name="T69" fmla="*/ 243 h 1739"/>
                <a:gd name="T70" fmla="*/ 342 w 2014"/>
                <a:gd name="T71" fmla="*/ 228 h 1739"/>
                <a:gd name="T72" fmla="*/ 343 w 2014"/>
                <a:gd name="T73" fmla="*/ 183 h 1739"/>
                <a:gd name="T74" fmla="*/ 313 w 2014"/>
                <a:gd name="T75" fmla="*/ 148 h 1739"/>
                <a:gd name="T76" fmla="*/ 235 w 2014"/>
                <a:gd name="T77" fmla="*/ 161 h 1739"/>
                <a:gd name="T78" fmla="*/ 200 w 2014"/>
                <a:gd name="T79" fmla="*/ 128 h 1739"/>
                <a:gd name="T80" fmla="*/ 218 w 2014"/>
                <a:gd name="T81" fmla="*/ 91 h 1739"/>
                <a:gd name="T82" fmla="*/ 163 w 2014"/>
                <a:gd name="T83" fmla="*/ 100 h 1739"/>
                <a:gd name="T84" fmla="*/ 124 w 2014"/>
                <a:gd name="T85" fmla="*/ 52 h 1739"/>
                <a:gd name="T86" fmla="*/ 116 w 2014"/>
                <a:gd name="T87" fmla="*/ 3 h 1739"/>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2014"/>
                <a:gd name="T133" fmla="*/ 0 h 1739"/>
                <a:gd name="T134" fmla="*/ 2014 w 2014"/>
                <a:gd name="T135" fmla="*/ 1739 h 1739"/>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2014" h="1739">
                  <a:moveTo>
                    <a:pt x="463" y="9"/>
                  </a:moveTo>
                  <a:lnTo>
                    <a:pt x="398" y="0"/>
                  </a:lnTo>
                  <a:lnTo>
                    <a:pt x="365" y="51"/>
                  </a:lnTo>
                  <a:lnTo>
                    <a:pt x="374" y="92"/>
                  </a:lnTo>
                  <a:lnTo>
                    <a:pt x="347" y="122"/>
                  </a:lnTo>
                  <a:lnTo>
                    <a:pt x="264" y="149"/>
                  </a:lnTo>
                  <a:lnTo>
                    <a:pt x="160" y="181"/>
                  </a:lnTo>
                  <a:lnTo>
                    <a:pt x="81" y="259"/>
                  </a:lnTo>
                  <a:lnTo>
                    <a:pt x="0" y="307"/>
                  </a:lnTo>
                  <a:lnTo>
                    <a:pt x="32" y="570"/>
                  </a:lnTo>
                  <a:lnTo>
                    <a:pt x="115" y="578"/>
                  </a:lnTo>
                  <a:lnTo>
                    <a:pt x="180" y="614"/>
                  </a:lnTo>
                  <a:lnTo>
                    <a:pt x="237" y="625"/>
                  </a:lnTo>
                  <a:lnTo>
                    <a:pt x="298" y="684"/>
                  </a:lnTo>
                  <a:lnTo>
                    <a:pt x="357" y="681"/>
                  </a:lnTo>
                  <a:lnTo>
                    <a:pt x="432" y="637"/>
                  </a:lnTo>
                  <a:lnTo>
                    <a:pt x="504" y="641"/>
                  </a:lnTo>
                  <a:lnTo>
                    <a:pt x="559" y="637"/>
                  </a:lnTo>
                  <a:lnTo>
                    <a:pt x="601" y="612"/>
                  </a:lnTo>
                  <a:lnTo>
                    <a:pt x="674" y="651"/>
                  </a:lnTo>
                  <a:lnTo>
                    <a:pt x="752" y="708"/>
                  </a:lnTo>
                  <a:lnTo>
                    <a:pt x="813" y="669"/>
                  </a:lnTo>
                  <a:lnTo>
                    <a:pt x="829" y="708"/>
                  </a:lnTo>
                  <a:lnTo>
                    <a:pt x="859" y="771"/>
                  </a:lnTo>
                  <a:lnTo>
                    <a:pt x="945" y="807"/>
                  </a:lnTo>
                  <a:lnTo>
                    <a:pt x="998" y="877"/>
                  </a:lnTo>
                  <a:lnTo>
                    <a:pt x="1032" y="879"/>
                  </a:lnTo>
                  <a:lnTo>
                    <a:pt x="1059" y="854"/>
                  </a:lnTo>
                  <a:lnTo>
                    <a:pt x="1101" y="895"/>
                  </a:lnTo>
                  <a:lnTo>
                    <a:pt x="1136" y="946"/>
                  </a:lnTo>
                  <a:lnTo>
                    <a:pt x="1150" y="1015"/>
                  </a:lnTo>
                  <a:lnTo>
                    <a:pt x="1181" y="1051"/>
                  </a:lnTo>
                  <a:lnTo>
                    <a:pt x="1203" y="1100"/>
                  </a:lnTo>
                  <a:lnTo>
                    <a:pt x="1229" y="1129"/>
                  </a:lnTo>
                  <a:lnTo>
                    <a:pt x="1197" y="1234"/>
                  </a:lnTo>
                  <a:lnTo>
                    <a:pt x="1132" y="1271"/>
                  </a:lnTo>
                  <a:lnTo>
                    <a:pt x="1144" y="1326"/>
                  </a:lnTo>
                  <a:lnTo>
                    <a:pt x="1105" y="1358"/>
                  </a:lnTo>
                  <a:lnTo>
                    <a:pt x="1077" y="1362"/>
                  </a:lnTo>
                  <a:lnTo>
                    <a:pt x="1085" y="1448"/>
                  </a:lnTo>
                  <a:lnTo>
                    <a:pt x="1050" y="1478"/>
                  </a:lnTo>
                  <a:lnTo>
                    <a:pt x="996" y="1468"/>
                  </a:lnTo>
                  <a:lnTo>
                    <a:pt x="971" y="1425"/>
                  </a:lnTo>
                  <a:lnTo>
                    <a:pt x="943" y="1444"/>
                  </a:lnTo>
                  <a:lnTo>
                    <a:pt x="953" y="1495"/>
                  </a:lnTo>
                  <a:lnTo>
                    <a:pt x="1018" y="1503"/>
                  </a:lnTo>
                  <a:lnTo>
                    <a:pt x="1073" y="1547"/>
                  </a:lnTo>
                  <a:lnTo>
                    <a:pt x="1124" y="1558"/>
                  </a:lnTo>
                  <a:lnTo>
                    <a:pt x="1126" y="1507"/>
                  </a:lnTo>
                  <a:lnTo>
                    <a:pt x="1223" y="1472"/>
                  </a:lnTo>
                  <a:lnTo>
                    <a:pt x="1256" y="1489"/>
                  </a:lnTo>
                  <a:lnTo>
                    <a:pt x="1282" y="1560"/>
                  </a:lnTo>
                  <a:lnTo>
                    <a:pt x="1363" y="1633"/>
                  </a:lnTo>
                  <a:lnTo>
                    <a:pt x="1410" y="1610"/>
                  </a:lnTo>
                  <a:lnTo>
                    <a:pt x="1437" y="1688"/>
                  </a:lnTo>
                  <a:lnTo>
                    <a:pt x="1493" y="1732"/>
                  </a:lnTo>
                  <a:lnTo>
                    <a:pt x="1540" y="1739"/>
                  </a:lnTo>
                  <a:lnTo>
                    <a:pt x="1587" y="1688"/>
                  </a:lnTo>
                  <a:lnTo>
                    <a:pt x="1654" y="1651"/>
                  </a:lnTo>
                  <a:lnTo>
                    <a:pt x="1650" y="1602"/>
                  </a:lnTo>
                  <a:lnTo>
                    <a:pt x="1634" y="1580"/>
                  </a:lnTo>
                  <a:lnTo>
                    <a:pt x="1731" y="1566"/>
                  </a:lnTo>
                  <a:lnTo>
                    <a:pt x="1719" y="1507"/>
                  </a:lnTo>
                  <a:lnTo>
                    <a:pt x="1744" y="1430"/>
                  </a:lnTo>
                  <a:lnTo>
                    <a:pt x="1697" y="1399"/>
                  </a:lnTo>
                  <a:lnTo>
                    <a:pt x="1699" y="1395"/>
                  </a:lnTo>
                  <a:lnTo>
                    <a:pt x="1707" y="1385"/>
                  </a:lnTo>
                  <a:lnTo>
                    <a:pt x="1715" y="1373"/>
                  </a:lnTo>
                  <a:lnTo>
                    <a:pt x="1723" y="1363"/>
                  </a:lnTo>
                  <a:lnTo>
                    <a:pt x="1727" y="1360"/>
                  </a:lnTo>
                  <a:lnTo>
                    <a:pt x="1727" y="1354"/>
                  </a:lnTo>
                  <a:lnTo>
                    <a:pt x="1725" y="1340"/>
                  </a:lnTo>
                  <a:lnTo>
                    <a:pt x="1725" y="1324"/>
                  </a:lnTo>
                  <a:lnTo>
                    <a:pt x="1725" y="1312"/>
                  </a:lnTo>
                  <a:lnTo>
                    <a:pt x="1725" y="1306"/>
                  </a:lnTo>
                  <a:lnTo>
                    <a:pt x="1788" y="1302"/>
                  </a:lnTo>
                  <a:lnTo>
                    <a:pt x="1835" y="1328"/>
                  </a:lnTo>
                  <a:lnTo>
                    <a:pt x="1888" y="1316"/>
                  </a:lnTo>
                  <a:lnTo>
                    <a:pt x="1888" y="1267"/>
                  </a:lnTo>
                  <a:lnTo>
                    <a:pt x="1996" y="1259"/>
                  </a:lnTo>
                  <a:lnTo>
                    <a:pt x="2000" y="1206"/>
                  </a:lnTo>
                  <a:lnTo>
                    <a:pt x="1989" y="1155"/>
                  </a:lnTo>
                  <a:lnTo>
                    <a:pt x="2014" y="1112"/>
                  </a:lnTo>
                  <a:lnTo>
                    <a:pt x="2002" y="1068"/>
                  </a:lnTo>
                  <a:lnTo>
                    <a:pt x="1882" y="1015"/>
                  </a:lnTo>
                  <a:lnTo>
                    <a:pt x="1811" y="993"/>
                  </a:lnTo>
                  <a:lnTo>
                    <a:pt x="1809" y="962"/>
                  </a:lnTo>
                  <a:lnTo>
                    <a:pt x="1758" y="960"/>
                  </a:lnTo>
                  <a:lnTo>
                    <a:pt x="1727" y="944"/>
                  </a:lnTo>
                  <a:lnTo>
                    <a:pt x="1713" y="1023"/>
                  </a:lnTo>
                  <a:lnTo>
                    <a:pt x="1701" y="1102"/>
                  </a:lnTo>
                  <a:lnTo>
                    <a:pt x="1754" y="1121"/>
                  </a:lnTo>
                  <a:lnTo>
                    <a:pt x="1774" y="1157"/>
                  </a:lnTo>
                  <a:lnTo>
                    <a:pt x="1756" y="1198"/>
                  </a:lnTo>
                  <a:lnTo>
                    <a:pt x="1717" y="1214"/>
                  </a:lnTo>
                  <a:lnTo>
                    <a:pt x="1713" y="1259"/>
                  </a:lnTo>
                  <a:lnTo>
                    <a:pt x="1678" y="1271"/>
                  </a:lnTo>
                  <a:lnTo>
                    <a:pt x="1613" y="1241"/>
                  </a:lnTo>
                  <a:lnTo>
                    <a:pt x="1589" y="1206"/>
                  </a:lnTo>
                  <a:lnTo>
                    <a:pt x="1546" y="1190"/>
                  </a:lnTo>
                  <a:lnTo>
                    <a:pt x="1546" y="1145"/>
                  </a:lnTo>
                  <a:lnTo>
                    <a:pt x="1563" y="1104"/>
                  </a:lnTo>
                  <a:lnTo>
                    <a:pt x="1524" y="1047"/>
                  </a:lnTo>
                  <a:lnTo>
                    <a:pt x="1528" y="1011"/>
                  </a:lnTo>
                  <a:lnTo>
                    <a:pt x="1475" y="970"/>
                  </a:lnTo>
                  <a:lnTo>
                    <a:pt x="1447" y="932"/>
                  </a:lnTo>
                  <a:lnTo>
                    <a:pt x="1437" y="915"/>
                  </a:lnTo>
                  <a:lnTo>
                    <a:pt x="1365" y="911"/>
                  </a:lnTo>
                  <a:lnTo>
                    <a:pt x="1306" y="856"/>
                  </a:lnTo>
                  <a:lnTo>
                    <a:pt x="1313" y="767"/>
                  </a:lnTo>
                  <a:lnTo>
                    <a:pt x="1370" y="732"/>
                  </a:lnTo>
                  <a:lnTo>
                    <a:pt x="1370" y="627"/>
                  </a:lnTo>
                  <a:lnTo>
                    <a:pt x="1325" y="588"/>
                  </a:lnTo>
                  <a:lnTo>
                    <a:pt x="1250" y="592"/>
                  </a:lnTo>
                  <a:lnTo>
                    <a:pt x="1154" y="684"/>
                  </a:lnTo>
                  <a:lnTo>
                    <a:pt x="1020" y="684"/>
                  </a:lnTo>
                  <a:lnTo>
                    <a:pt x="937" y="641"/>
                  </a:lnTo>
                  <a:lnTo>
                    <a:pt x="941" y="580"/>
                  </a:lnTo>
                  <a:lnTo>
                    <a:pt x="874" y="576"/>
                  </a:lnTo>
                  <a:lnTo>
                    <a:pt x="798" y="509"/>
                  </a:lnTo>
                  <a:lnTo>
                    <a:pt x="847" y="440"/>
                  </a:lnTo>
                  <a:lnTo>
                    <a:pt x="892" y="425"/>
                  </a:lnTo>
                  <a:lnTo>
                    <a:pt x="872" y="362"/>
                  </a:lnTo>
                  <a:lnTo>
                    <a:pt x="792" y="334"/>
                  </a:lnTo>
                  <a:lnTo>
                    <a:pt x="699" y="344"/>
                  </a:lnTo>
                  <a:lnTo>
                    <a:pt x="652" y="399"/>
                  </a:lnTo>
                  <a:lnTo>
                    <a:pt x="607" y="393"/>
                  </a:lnTo>
                  <a:lnTo>
                    <a:pt x="530" y="303"/>
                  </a:lnTo>
                  <a:lnTo>
                    <a:pt x="496" y="208"/>
                  </a:lnTo>
                  <a:lnTo>
                    <a:pt x="514" y="149"/>
                  </a:lnTo>
                  <a:lnTo>
                    <a:pt x="506" y="25"/>
                  </a:lnTo>
                  <a:lnTo>
                    <a:pt x="463" y="9"/>
                  </a:lnTo>
                  <a:close/>
                </a:path>
              </a:pathLst>
            </a:custGeom>
            <a:grpFill/>
            <a:ln w="0">
              <a:solidFill>
                <a:schemeClr val="bg1"/>
              </a:solidFill>
              <a:prstDash val="solid"/>
              <a:round/>
            </a:ln>
          </p:spPr>
          <p:txBody>
            <a:bodyPr/>
            <a:lstStyle/>
            <a:p>
              <a:endParaRPr lang="zh-CN" altLang="en-US"/>
            </a:p>
          </p:txBody>
        </p:sp>
        <p:sp>
          <p:nvSpPr>
            <p:cNvPr id="65" name="Freeform 108"/>
            <p:cNvSpPr/>
            <p:nvPr/>
          </p:nvSpPr>
          <p:spPr bwMode="gray">
            <a:xfrm>
              <a:off x="2016" y="1899"/>
              <a:ext cx="1007" cy="870"/>
            </a:xfrm>
            <a:custGeom>
              <a:avLst/>
              <a:gdLst>
                <a:gd name="T0" fmla="*/ 92 w 2014"/>
                <a:gd name="T1" fmla="*/ 13 h 1739"/>
                <a:gd name="T2" fmla="*/ 66 w 2014"/>
                <a:gd name="T3" fmla="*/ 38 h 1739"/>
                <a:gd name="T4" fmla="*/ 0 w 2014"/>
                <a:gd name="T5" fmla="*/ 77 h 1739"/>
                <a:gd name="T6" fmla="*/ 45 w 2014"/>
                <a:gd name="T7" fmla="*/ 154 h 1739"/>
                <a:gd name="T8" fmla="*/ 90 w 2014"/>
                <a:gd name="T9" fmla="*/ 171 h 1739"/>
                <a:gd name="T10" fmla="*/ 140 w 2014"/>
                <a:gd name="T11" fmla="*/ 160 h 1739"/>
                <a:gd name="T12" fmla="*/ 188 w 2014"/>
                <a:gd name="T13" fmla="*/ 177 h 1739"/>
                <a:gd name="T14" fmla="*/ 215 w 2014"/>
                <a:gd name="T15" fmla="*/ 193 h 1739"/>
                <a:gd name="T16" fmla="*/ 258 w 2014"/>
                <a:gd name="T17" fmla="*/ 220 h 1739"/>
                <a:gd name="T18" fmla="*/ 284 w 2014"/>
                <a:gd name="T19" fmla="*/ 237 h 1739"/>
                <a:gd name="T20" fmla="*/ 301 w 2014"/>
                <a:gd name="T21" fmla="*/ 275 h 1739"/>
                <a:gd name="T22" fmla="*/ 283 w 2014"/>
                <a:gd name="T23" fmla="*/ 318 h 1739"/>
                <a:gd name="T24" fmla="*/ 270 w 2014"/>
                <a:gd name="T25" fmla="*/ 341 h 1739"/>
                <a:gd name="T26" fmla="*/ 249 w 2014"/>
                <a:gd name="T27" fmla="*/ 367 h 1739"/>
                <a:gd name="T28" fmla="*/ 239 w 2014"/>
                <a:gd name="T29" fmla="*/ 374 h 1739"/>
                <a:gd name="T30" fmla="*/ 281 w 2014"/>
                <a:gd name="T31" fmla="*/ 390 h 1739"/>
                <a:gd name="T32" fmla="*/ 314 w 2014"/>
                <a:gd name="T33" fmla="*/ 373 h 1739"/>
                <a:gd name="T34" fmla="*/ 353 w 2014"/>
                <a:gd name="T35" fmla="*/ 403 h 1739"/>
                <a:gd name="T36" fmla="*/ 385 w 2014"/>
                <a:gd name="T37" fmla="*/ 435 h 1739"/>
                <a:gd name="T38" fmla="*/ 413 w 2014"/>
                <a:gd name="T39" fmla="*/ 401 h 1739"/>
                <a:gd name="T40" fmla="*/ 430 w 2014"/>
                <a:gd name="T41" fmla="*/ 377 h 1739"/>
                <a:gd name="T42" fmla="*/ 425 w 2014"/>
                <a:gd name="T43" fmla="*/ 349 h 1739"/>
                <a:gd name="T44" fmla="*/ 431 w 2014"/>
                <a:gd name="T45" fmla="*/ 341 h 1739"/>
                <a:gd name="T46" fmla="*/ 432 w 2014"/>
                <a:gd name="T47" fmla="*/ 335 h 1739"/>
                <a:gd name="T48" fmla="*/ 432 w 2014"/>
                <a:gd name="T49" fmla="*/ 327 h 1739"/>
                <a:gd name="T50" fmla="*/ 472 w 2014"/>
                <a:gd name="T51" fmla="*/ 329 h 1739"/>
                <a:gd name="T52" fmla="*/ 500 w 2014"/>
                <a:gd name="T53" fmla="*/ 302 h 1739"/>
                <a:gd name="T54" fmla="*/ 501 w 2014"/>
                <a:gd name="T55" fmla="*/ 267 h 1739"/>
                <a:gd name="T56" fmla="*/ 453 w 2014"/>
                <a:gd name="T57" fmla="*/ 241 h 1739"/>
                <a:gd name="T58" fmla="*/ 429 w 2014"/>
                <a:gd name="T59" fmla="*/ 256 h 1739"/>
                <a:gd name="T60" fmla="*/ 444 w 2014"/>
                <a:gd name="T61" fmla="*/ 290 h 1739"/>
                <a:gd name="T62" fmla="*/ 429 w 2014"/>
                <a:gd name="T63" fmla="*/ 315 h 1739"/>
                <a:gd name="T64" fmla="*/ 398 w 2014"/>
                <a:gd name="T65" fmla="*/ 302 h 1739"/>
                <a:gd name="T66" fmla="*/ 391 w 2014"/>
                <a:gd name="T67" fmla="*/ 276 h 1739"/>
                <a:gd name="T68" fmla="*/ 369 w 2014"/>
                <a:gd name="T69" fmla="*/ 243 h 1739"/>
                <a:gd name="T70" fmla="*/ 342 w 2014"/>
                <a:gd name="T71" fmla="*/ 228 h 1739"/>
                <a:gd name="T72" fmla="*/ 343 w 2014"/>
                <a:gd name="T73" fmla="*/ 183 h 1739"/>
                <a:gd name="T74" fmla="*/ 313 w 2014"/>
                <a:gd name="T75" fmla="*/ 148 h 1739"/>
                <a:gd name="T76" fmla="*/ 235 w 2014"/>
                <a:gd name="T77" fmla="*/ 161 h 1739"/>
                <a:gd name="T78" fmla="*/ 200 w 2014"/>
                <a:gd name="T79" fmla="*/ 128 h 1739"/>
                <a:gd name="T80" fmla="*/ 218 w 2014"/>
                <a:gd name="T81" fmla="*/ 91 h 1739"/>
                <a:gd name="T82" fmla="*/ 163 w 2014"/>
                <a:gd name="T83" fmla="*/ 100 h 1739"/>
                <a:gd name="T84" fmla="*/ 124 w 2014"/>
                <a:gd name="T85" fmla="*/ 52 h 1739"/>
                <a:gd name="T86" fmla="*/ 116 w 2014"/>
                <a:gd name="T87" fmla="*/ 3 h 1739"/>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2014"/>
                <a:gd name="T133" fmla="*/ 0 h 1739"/>
                <a:gd name="T134" fmla="*/ 2014 w 2014"/>
                <a:gd name="T135" fmla="*/ 1739 h 1739"/>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2014" h="1739">
                  <a:moveTo>
                    <a:pt x="463" y="9"/>
                  </a:moveTo>
                  <a:lnTo>
                    <a:pt x="398" y="0"/>
                  </a:lnTo>
                  <a:lnTo>
                    <a:pt x="365" y="51"/>
                  </a:lnTo>
                  <a:lnTo>
                    <a:pt x="374" y="92"/>
                  </a:lnTo>
                  <a:lnTo>
                    <a:pt x="347" y="122"/>
                  </a:lnTo>
                  <a:lnTo>
                    <a:pt x="264" y="149"/>
                  </a:lnTo>
                  <a:lnTo>
                    <a:pt x="160" y="181"/>
                  </a:lnTo>
                  <a:lnTo>
                    <a:pt x="81" y="259"/>
                  </a:lnTo>
                  <a:lnTo>
                    <a:pt x="0" y="307"/>
                  </a:lnTo>
                  <a:lnTo>
                    <a:pt x="32" y="570"/>
                  </a:lnTo>
                  <a:lnTo>
                    <a:pt x="115" y="578"/>
                  </a:lnTo>
                  <a:lnTo>
                    <a:pt x="180" y="614"/>
                  </a:lnTo>
                  <a:lnTo>
                    <a:pt x="237" y="625"/>
                  </a:lnTo>
                  <a:lnTo>
                    <a:pt x="298" y="684"/>
                  </a:lnTo>
                  <a:lnTo>
                    <a:pt x="357" y="681"/>
                  </a:lnTo>
                  <a:lnTo>
                    <a:pt x="432" y="637"/>
                  </a:lnTo>
                  <a:lnTo>
                    <a:pt x="504" y="641"/>
                  </a:lnTo>
                  <a:lnTo>
                    <a:pt x="559" y="637"/>
                  </a:lnTo>
                  <a:lnTo>
                    <a:pt x="601" y="612"/>
                  </a:lnTo>
                  <a:lnTo>
                    <a:pt x="674" y="651"/>
                  </a:lnTo>
                  <a:lnTo>
                    <a:pt x="752" y="708"/>
                  </a:lnTo>
                  <a:lnTo>
                    <a:pt x="813" y="669"/>
                  </a:lnTo>
                  <a:lnTo>
                    <a:pt x="829" y="708"/>
                  </a:lnTo>
                  <a:lnTo>
                    <a:pt x="859" y="771"/>
                  </a:lnTo>
                  <a:lnTo>
                    <a:pt x="945" y="807"/>
                  </a:lnTo>
                  <a:lnTo>
                    <a:pt x="998" y="877"/>
                  </a:lnTo>
                  <a:lnTo>
                    <a:pt x="1032" y="879"/>
                  </a:lnTo>
                  <a:lnTo>
                    <a:pt x="1059" y="854"/>
                  </a:lnTo>
                  <a:lnTo>
                    <a:pt x="1101" y="895"/>
                  </a:lnTo>
                  <a:lnTo>
                    <a:pt x="1136" y="946"/>
                  </a:lnTo>
                  <a:lnTo>
                    <a:pt x="1150" y="1015"/>
                  </a:lnTo>
                  <a:lnTo>
                    <a:pt x="1181" y="1051"/>
                  </a:lnTo>
                  <a:lnTo>
                    <a:pt x="1203" y="1100"/>
                  </a:lnTo>
                  <a:lnTo>
                    <a:pt x="1229" y="1129"/>
                  </a:lnTo>
                  <a:lnTo>
                    <a:pt x="1197" y="1234"/>
                  </a:lnTo>
                  <a:lnTo>
                    <a:pt x="1132" y="1271"/>
                  </a:lnTo>
                  <a:lnTo>
                    <a:pt x="1144" y="1326"/>
                  </a:lnTo>
                  <a:lnTo>
                    <a:pt x="1105" y="1358"/>
                  </a:lnTo>
                  <a:lnTo>
                    <a:pt x="1077" y="1362"/>
                  </a:lnTo>
                  <a:lnTo>
                    <a:pt x="1085" y="1448"/>
                  </a:lnTo>
                  <a:lnTo>
                    <a:pt x="1050" y="1478"/>
                  </a:lnTo>
                  <a:lnTo>
                    <a:pt x="996" y="1468"/>
                  </a:lnTo>
                  <a:lnTo>
                    <a:pt x="971" y="1425"/>
                  </a:lnTo>
                  <a:lnTo>
                    <a:pt x="943" y="1444"/>
                  </a:lnTo>
                  <a:lnTo>
                    <a:pt x="953" y="1495"/>
                  </a:lnTo>
                  <a:lnTo>
                    <a:pt x="1018" y="1503"/>
                  </a:lnTo>
                  <a:lnTo>
                    <a:pt x="1073" y="1547"/>
                  </a:lnTo>
                  <a:lnTo>
                    <a:pt x="1124" y="1558"/>
                  </a:lnTo>
                  <a:lnTo>
                    <a:pt x="1126" y="1507"/>
                  </a:lnTo>
                  <a:lnTo>
                    <a:pt x="1223" y="1472"/>
                  </a:lnTo>
                  <a:lnTo>
                    <a:pt x="1256" y="1489"/>
                  </a:lnTo>
                  <a:lnTo>
                    <a:pt x="1282" y="1560"/>
                  </a:lnTo>
                  <a:lnTo>
                    <a:pt x="1363" y="1633"/>
                  </a:lnTo>
                  <a:lnTo>
                    <a:pt x="1410" y="1610"/>
                  </a:lnTo>
                  <a:lnTo>
                    <a:pt x="1437" y="1688"/>
                  </a:lnTo>
                  <a:lnTo>
                    <a:pt x="1493" y="1732"/>
                  </a:lnTo>
                  <a:lnTo>
                    <a:pt x="1540" y="1739"/>
                  </a:lnTo>
                  <a:lnTo>
                    <a:pt x="1587" y="1688"/>
                  </a:lnTo>
                  <a:lnTo>
                    <a:pt x="1654" y="1651"/>
                  </a:lnTo>
                  <a:lnTo>
                    <a:pt x="1650" y="1602"/>
                  </a:lnTo>
                  <a:lnTo>
                    <a:pt x="1634" y="1580"/>
                  </a:lnTo>
                  <a:lnTo>
                    <a:pt x="1731" y="1566"/>
                  </a:lnTo>
                  <a:lnTo>
                    <a:pt x="1719" y="1507"/>
                  </a:lnTo>
                  <a:lnTo>
                    <a:pt x="1744" y="1430"/>
                  </a:lnTo>
                  <a:lnTo>
                    <a:pt x="1697" y="1399"/>
                  </a:lnTo>
                  <a:lnTo>
                    <a:pt x="1699" y="1395"/>
                  </a:lnTo>
                  <a:lnTo>
                    <a:pt x="1707" y="1385"/>
                  </a:lnTo>
                  <a:lnTo>
                    <a:pt x="1715" y="1373"/>
                  </a:lnTo>
                  <a:lnTo>
                    <a:pt x="1723" y="1363"/>
                  </a:lnTo>
                  <a:lnTo>
                    <a:pt x="1727" y="1360"/>
                  </a:lnTo>
                  <a:lnTo>
                    <a:pt x="1727" y="1354"/>
                  </a:lnTo>
                  <a:lnTo>
                    <a:pt x="1725" y="1340"/>
                  </a:lnTo>
                  <a:lnTo>
                    <a:pt x="1725" y="1324"/>
                  </a:lnTo>
                  <a:lnTo>
                    <a:pt x="1725" y="1312"/>
                  </a:lnTo>
                  <a:lnTo>
                    <a:pt x="1725" y="1306"/>
                  </a:lnTo>
                  <a:lnTo>
                    <a:pt x="1788" y="1302"/>
                  </a:lnTo>
                  <a:lnTo>
                    <a:pt x="1835" y="1328"/>
                  </a:lnTo>
                  <a:lnTo>
                    <a:pt x="1888" y="1316"/>
                  </a:lnTo>
                  <a:lnTo>
                    <a:pt x="1888" y="1267"/>
                  </a:lnTo>
                  <a:lnTo>
                    <a:pt x="1996" y="1259"/>
                  </a:lnTo>
                  <a:lnTo>
                    <a:pt x="2000" y="1206"/>
                  </a:lnTo>
                  <a:lnTo>
                    <a:pt x="1989" y="1155"/>
                  </a:lnTo>
                  <a:lnTo>
                    <a:pt x="2014" y="1112"/>
                  </a:lnTo>
                  <a:lnTo>
                    <a:pt x="2002" y="1068"/>
                  </a:lnTo>
                  <a:lnTo>
                    <a:pt x="1882" y="1015"/>
                  </a:lnTo>
                  <a:lnTo>
                    <a:pt x="1811" y="993"/>
                  </a:lnTo>
                  <a:lnTo>
                    <a:pt x="1809" y="962"/>
                  </a:lnTo>
                  <a:lnTo>
                    <a:pt x="1758" y="960"/>
                  </a:lnTo>
                  <a:lnTo>
                    <a:pt x="1727" y="944"/>
                  </a:lnTo>
                  <a:lnTo>
                    <a:pt x="1713" y="1023"/>
                  </a:lnTo>
                  <a:lnTo>
                    <a:pt x="1701" y="1102"/>
                  </a:lnTo>
                  <a:lnTo>
                    <a:pt x="1754" y="1121"/>
                  </a:lnTo>
                  <a:lnTo>
                    <a:pt x="1774" y="1157"/>
                  </a:lnTo>
                  <a:lnTo>
                    <a:pt x="1756" y="1198"/>
                  </a:lnTo>
                  <a:lnTo>
                    <a:pt x="1717" y="1214"/>
                  </a:lnTo>
                  <a:lnTo>
                    <a:pt x="1713" y="1259"/>
                  </a:lnTo>
                  <a:lnTo>
                    <a:pt x="1678" y="1271"/>
                  </a:lnTo>
                  <a:lnTo>
                    <a:pt x="1613" y="1241"/>
                  </a:lnTo>
                  <a:lnTo>
                    <a:pt x="1589" y="1206"/>
                  </a:lnTo>
                  <a:lnTo>
                    <a:pt x="1546" y="1190"/>
                  </a:lnTo>
                  <a:lnTo>
                    <a:pt x="1546" y="1145"/>
                  </a:lnTo>
                  <a:lnTo>
                    <a:pt x="1563" y="1104"/>
                  </a:lnTo>
                  <a:lnTo>
                    <a:pt x="1524" y="1047"/>
                  </a:lnTo>
                  <a:lnTo>
                    <a:pt x="1528" y="1011"/>
                  </a:lnTo>
                  <a:lnTo>
                    <a:pt x="1475" y="970"/>
                  </a:lnTo>
                  <a:lnTo>
                    <a:pt x="1447" y="932"/>
                  </a:lnTo>
                  <a:lnTo>
                    <a:pt x="1437" y="915"/>
                  </a:lnTo>
                  <a:lnTo>
                    <a:pt x="1365" y="911"/>
                  </a:lnTo>
                  <a:lnTo>
                    <a:pt x="1306" y="856"/>
                  </a:lnTo>
                  <a:lnTo>
                    <a:pt x="1313" y="767"/>
                  </a:lnTo>
                  <a:lnTo>
                    <a:pt x="1370" y="732"/>
                  </a:lnTo>
                  <a:lnTo>
                    <a:pt x="1370" y="627"/>
                  </a:lnTo>
                  <a:lnTo>
                    <a:pt x="1325" y="588"/>
                  </a:lnTo>
                  <a:lnTo>
                    <a:pt x="1250" y="592"/>
                  </a:lnTo>
                  <a:lnTo>
                    <a:pt x="1154" y="684"/>
                  </a:lnTo>
                  <a:lnTo>
                    <a:pt x="1020" y="684"/>
                  </a:lnTo>
                  <a:lnTo>
                    <a:pt x="937" y="641"/>
                  </a:lnTo>
                  <a:lnTo>
                    <a:pt x="941" y="580"/>
                  </a:lnTo>
                  <a:lnTo>
                    <a:pt x="874" y="576"/>
                  </a:lnTo>
                  <a:lnTo>
                    <a:pt x="798" y="509"/>
                  </a:lnTo>
                  <a:lnTo>
                    <a:pt x="847" y="440"/>
                  </a:lnTo>
                  <a:lnTo>
                    <a:pt x="892" y="425"/>
                  </a:lnTo>
                  <a:lnTo>
                    <a:pt x="872" y="362"/>
                  </a:lnTo>
                  <a:lnTo>
                    <a:pt x="792" y="334"/>
                  </a:lnTo>
                  <a:lnTo>
                    <a:pt x="699" y="344"/>
                  </a:lnTo>
                  <a:lnTo>
                    <a:pt x="652" y="399"/>
                  </a:lnTo>
                  <a:lnTo>
                    <a:pt x="607" y="393"/>
                  </a:lnTo>
                  <a:lnTo>
                    <a:pt x="530" y="303"/>
                  </a:lnTo>
                  <a:lnTo>
                    <a:pt x="496" y="208"/>
                  </a:lnTo>
                  <a:lnTo>
                    <a:pt x="514" y="149"/>
                  </a:lnTo>
                  <a:lnTo>
                    <a:pt x="506" y="25"/>
                  </a:lnTo>
                  <a:lnTo>
                    <a:pt x="463" y="9"/>
                  </a:lnTo>
                </a:path>
              </a:pathLst>
            </a:custGeom>
            <a:grpFill/>
            <a:ln w="6350">
              <a:solidFill>
                <a:schemeClr val="bg1"/>
              </a:solidFill>
              <a:prstDash val="solid"/>
              <a:round/>
            </a:ln>
          </p:spPr>
          <p:txBody>
            <a:bodyPr/>
            <a:lstStyle/>
            <a:p>
              <a:endParaRPr lang="zh-CN" altLang="en-US"/>
            </a:p>
          </p:txBody>
        </p:sp>
        <p:sp>
          <p:nvSpPr>
            <p:cNvPr id="66" name="Freeform 109"/>
            <p:cNvSpPr/>
            <p:nvPr/>
          </p:nvSpPr>
          <p:spPr bwMode="gray">
            <a:xfrm>
              <a:off x="1694" y="2177"/>
              <a:ext cx="936" cy="666"/>
            </a:xfrm>
            <a:custGeom>
              <a:avLst/>
              <a:gdLst>
                <a:gd name="T0" fmla="*/ 445 w 1872"/>
                <a:gd name="T1" fmla="*/ 276 h 1330"/>
                <a:gd name="T2" fmla="*/ 426 w 1872"/>
                <a:gd name="T3" fmla="*/ 279 h 1330"/>
                <a:gd name="T4" fmla="*/ 397 w 1872"/>
                <a:gd name="T5" fmla="*/ 279 h 1330"/>
                <a:gd name="T6" fmla="*/ 381 w 1872"/>
                <a:gd name="T7" fmla="*/ 296 h 1330"/>
                <a:gd name="T8" fmla="*/ 343 w 1872"/>
                <a:gd name="T9" fmla="*/ 274 h 1330"/>
                <a:gd name="T10" fmla="*/ 308 w 1872"/>
                <a:gd name="T11" fmla="*/ 269 h 1330"/>
                <a:gd name="T12" fmla="*/ 275 w 1872"/>
                <a:gd name="T13" fmla="*/ 273 h 1330"/>
                <a:gd name="T14" fmla="*/ 262 w 1872"/>
                <a:gd name="T15" fmla="*/ 288 h 1330"/>
                <a:gd name="T16" fmla="*/ 260 w 1872"/>
                <a:gd name="T17" fmla="*/ 309 h 1330"/>
                <a:gd name="T18" fmla="*/ 225 w 1872"/>
                <a:gd name="T19" fmla="*/ 329 h 1330"/>
                <a:gd name="T20" fmla="*/ 204 w 1872"/>
                <a:gd name="T21" fmla="*/ 313 h 1330"/>
                <a:gd name="T22" fmla="*/ 155 w 1872"/>
                <a:gd name="T23" fmla="*/ 287 h 1330"/>
                <a:gd name="T24" fmla="*/ 113 w 1872"/>
                <a:gd name="T25" fmla="*/ 280 h 1330"/>
                <a:gd name="T26" fmla="*/ 85 w 1872"/>
                <a:gd name="T27" fmla="*/ 274 h 1330"/>
                <a:gd name="T28" fmla="*/ 64 w 1872"/>
                <a:gd name="T29" fmla="*/ 264 h 1330"/>
                <a:gd name="T30" fmla="*/ 28 w 1872"/>
                <a:gd name="T31" fmla="*/ 256 h 1330"/>
                <a:gd name="T32" fmla="*/ 2 w 1872"/>
                <a:gd name="T33" fmla="*/ 206 h 1330"/>
                <a:gd name="T34" fmla="*/ 12 w 1872"/>
                <a:gd name="T35" fmla="*/ 185 h 1330"/>
                <a:gd name="T36" fmla="*/ 20 w 1872"/>
                <a:gd name="T37" fmla="*/ 149 h 1330"/>
                <a:gd name="T38" fmla="*/ 11 w 1872"/>
                <a:gd name="T39" fmla="*/ 133 h 1330"/>
                <a:gd name="T40" fmla="*/ 20 w 1872"/>
                <a:gd name="T41" fmla="*/ 117 h 1330"/>
                <a:gd name="T42" fmla="*/ 61 w 1872"/>
                <a:gd name="T43" fmla="*/ 117 h 1330"/>
                <a:gd name="T44" fmla="*/ 53 w 1872"/>
                <a:gd name="T45" fmla="*/ 96 h 1330"/>
                <a:gd name="T46" fmla="*/ 74 w 1872"/>
                <a:gd name="T47" fmla="*/ 75 h 1330"/>
                <a:gd name="T48" fmla="*/ 45 w 1872"/>
                <a:gd name="T49" fmla="*/ 32 h 1330"/>
                <a:gd name="T50" fmla="*/ 99 w 1872"/>
                <a:gd name="T51" fmla="*/ 18 h 1330"/>
                <a:gd name="T52" fmla="*/ 134 w 1872"/>
                <a:gd name="T53" fmla="*/ 10 h 1330"/>
                <a:gd name="T54" fmla="*/ 169 w 1872"/>
                <a:gd name="T55" fmla="*/ 4 h 1330"/>
                <a:gd name="T56" fmla="*/ 206 w 1872"/>
                <a:gd name="T57" fmla="*/ 15 h 1330"/>
                <a:gd name="T58" fmla="*/ 235 w 1872"/>
                <a:gd name="T59" fmla="*/ 32 h 1330"/>
                <a:gd name="T60" fmla="*/ 269 w 1872"/>
                <a:gd name="T61" fmla="*/ 20 h 1330"/>
                <a:gd name="T62" fmla="*/ 301 w 1872"/>
                <a:gd name="T63" fmla="*/ 20 h 1330"/>
                <a:gd name="T64" fmla="*/ 330 w 1872"/>
                <a:gd name="T65" fmla="*/ 24 h 1330"/>
                <a:gd name="T66" fmla="*/ 364 w 1872"/>
                <a:gd name="T67" fmla="*/ 28 h 1330"/>
                <a:gd name="T68" fmla="*/ 376 w 1872"/>
                <a:gd name="T69" fmla="*/ 54 h 1330"/>
                <a:gd name="T70" fmla="*/ 411 w 1872"/>
                <a:gd name="T71" fmla="*/ 80 h 1330"/>
                <a:gd name="T72" fmla="*/ 426 w 1872"/>
                <a:gd name="T73" fmla="*/ 75 h 1330"/>
                <a:gd name="T74" fmla="*/ 445 w 1872"/>
                <a:gd name="T75" fmla="*/ 98 h 1330"/>
                <a:gd name="T76" fmla="*/ 456 w 1872"/>
                <a:gd name="T77" fmla="*/ 124 h 1330"/>
                <a:gd name="T78" fmla="*/ 468 w 1872"/>
                <a:gd name="T79" fmla="*/ 143 h 1330"/>
                <a:gd name="T80" fmla="*/ 444 w 1872"/>
                <a:gd name="T81" fmla="*/ 179 h 1330"/>
                <a:gd name="T82" fmla="*/ 437 w 1872"/>
                <a:gd name="T83" fmla="*/ 201 h 1330"/>
                <a:gd name="T84" fmla="*/ 432 w 1872"/>
                <a:gd name="T85" fmla="*/ 223 h 1330"/>
                <a:gd name="T86" fmla="*/ 410 w 1872"/>
                <a:gd name="T87" fmla="*/ 228 h 1330"/>
                <a:gd name="T88" fmla="*/ 397 w 1872"/>
                <a:gd name="T89" fmla="*/ 222 h 1330"/>
                <a:gd name="T90" fmla="*/ 416 w 1872"/>
                <a:gd name="T91" fmla="*/ 237 h 1330"/>
                <a:gd name="T92" fmla="*/ 442 w 1872"/>
                <a:gd name="T93" fmla="*/ 251 h 1330"/>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872"/>
                <a:gd name="T142" fmla="*/ 0 h 1330"/>
                <a:gd name="T143" fmla="*/ 1872 w 1872"/>
                <a:gd name="T144" fmla="*/ 1330 h 1330"/>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872" h="1330">
                  <a:moveTo>
                    <a:pt x="1801" y="1035"/>
                  </a:moveTo>
                  <a:lnTo>
                    <a:pt x="1779" y="1102"/>
                  </a:lnTo>
                  <a:lnTo>
                    <a:pt x="1736" y="1082"/>
                  </a:lnTo>
                  <a:lnTo>
                    <a:pt x="1702" y="1115"/>
                  </a:lnTo>
                  <a:lnTo>
                    <a:pt x="1655" y="1072"/>
                  </a:lnTo>
                  <a:lnTo>
                    <a:pt x="1586" y="1114"/>
                  </a:lnTo>
                  <a:lnTo>
                    <a:pt x="1588" y="1184"/>
                  </a:lnTo>
                  <a:lnTo>
                    <a:pt x="1521" y="1180"/>
                  </a:lnTo>
                  <a:lnTo>
                    <a:pt x="1421" y="1068"/>
                  </a:lnTo>
                  <a:lnTo>
                    <a:pt x="1372" y="1094"/>
                  </a:lnTo>
                  <a:lnTo>
                    <a:pt x="1279" y="1049"/>
                  </a:lnTo>
                  <a:lnTo>
                    <a:pt x="1232" y="1072"/>
                  </a:lnTo>
                  <a:lnTo>
                    <a:pt x="1138" y="1062"/>
                  </a:lnTo>
                  <a:lnTo>
                    <a:pt x="1100" y="1090"/>
                  </a:lnTo>
                  <a:lnTo>
                    <a:pt x="1092" y="1155"/>
                  </a:lnTo>
                  <a:lnTo>
                    <a:pt x="1045" y="1149"/>
                  </a:lnTo>
                  <a:lnTo>
                    <a:pt x="1055" y="1184"/>
                  </a:lnTo>
                  <a:lnTo>
                    <a:pt x="1039" y="1234"/>
                  </a:lnTo>
                  <a:lnTo>
                    <a:pt x="968" y="1330"/>
                  </a:lnTo>
                  <a:lnTo>
                    <a:pt x="897" y="1314"/>
                  </a:lnTo>
                  <a:lnTo>
                    <a:pt x="821" y="1304"/>
                  </a:lnTo>
                  <a:lnTo>
                    <a:pt x="813" y="1251"/>
                  </a:lnTo>
                  <a:lnTo>
                    <a:pt x="728" y="1190"/>
                  </a:lnTo>
                  <a:lnTo>
                    <a:pt x="618" y="1147"/>
                  </a:lnTo>
                  <a:lnTo>
                    <a:pt x="521" y="1149"/>
                  </a:lnTo>
                  <a:lnTo>
                    <a:pt x="452" y="1117"/>
                  </a:lnTo>
                  <a:lnTo>
                    <a:pt x="389" y="1121"/>
                  </a:lnTo>
                  <a:lnTo>
                    <a:pt x="338" y="1092"/>
                  </a:lnTo>
                  <a:lnTo>
                    <a:pt x="281" y="1056"/>
                  </a:lnTo>
                  <a:lnTo>
                    <a:pt x="256" y="1054"/>
                  </a:lnTo>
                  <a:lnTo>
                    <a:pt x="185" y="1021"/>
                  </a:lnTo>
                  <a:lnTo>
                    <a:pt x="112" y="1023"/>
                  </a:lnTo>
                  <a:lnTo>
                    <a:pt x="61" y="911"/>
                  </a:lnTo>
                  <a:lnTo>
                    <a:pt x="6" y="822"/>
                  </a:lnTo>
                  <a:lnTo>
                    <a:pt x="0" y="740"/>
                  </a:lnTo>
                  <a:lnTo>
                    <a:pt x="45" y="738"/>
                  </a:lnTo>
                  <a:lnTo>
                    <a:pt x="43" y="686"/>
                  </a:lnTo>
                  <a:lnTo>
                    <a:pt x="77" y="594"/>
                  </a:lnTo>
                  <a:lnTo>
                    <a:pt x="78" y="549"/>
                  </a:lnTo>
                  <a:lnTo>
                    <a:pt x="43" y="529"/>
                  </a:lnTo>
                  <a:lnTo>
                    <a:pt x="80" y="501"/>
                  </a:lnTo>
                  <a:lnTo>
                    <a:pt x="77" y="466"/>
                  </a:lnTo>
                  <a:lnTo>
                    <a:pt x="139" y="501"/>
                  </a:lnTo>
                  <a:lnTo>
                    <a:pt x="244" y="466"/>
                  </a:lnTo>
                  <a:lnTo>
                    <a:pt x="206" y="433"/>
                  </a:lnTo>
                  <a:lnTo>
                    <a:pt x="212" y="383"/>
                  </a:lnTo>
                  <a:lnTo>
                    <a:pt x="265" y="364"/>
                  </a:lnTo>
                  <a:lnTo>
                    <a:pt x="293" y="299"/>
                  </a:lnTo>
                  <a:lnTo>
                    <a:pt x="175" y="206"/>
                  </a:lnTo>
                  <a:lnTo>
                    <a:pt x="179" y="126"/>
                  </a:lnTo>
                  <a:lnTo>
                    <a:pt x="252" y="84"/>
                  </a:lnTo>
                  <a:lnTo>
                    <a:pt x="393" y="70"/>
                  </a:lnTo>
                  <a:lnTo>
                    <a:pt x="502" y="41"/>
                  </a:lnTo>
                  <a:lnTo>
                    <a:pt x="533" y="37"/>
                  </a:lnTo>
                  <a:lnTo>
                    <a:pt x="596" y="0"/>
                  </a:lnTo>
                  <a:lnTo>
                    <a:pt x="675" y="13"/>
                  </a:lnTo>
                  <a:lnTo>
                    <a:pt x="758" y="21"/>
                  </a:lnTo>
                  <a:lnTo>
                    <a:pt x="823" y="57"/>
                  </a:lnTo>
                  <a:lnTo>
                    <a:pt x="880" y="68"/>
                  </a:lnTo>
                  <a:lnTo>
                    <a:pt x="941" y="127"/>
                  </a:lnTo>
                  <a:lnTo>
                    <a:pt x="996" y="124"/>
                  </a:lnTo>
                  <a:lnTo>
                    <a:pt x="1075" y="80"/>
                  </a:lnTo>
                  <a:lnTo>
                    <a:pt x="1147" y="84"/>
                  </a:lnTo>
                  <a:lnTo>
                    <a:pt x="1202" y="80"/>
                  </a:lnTo>
                  <a:lnTo>
                    <a:pt x="1244" y="57"/>
                  </a:lnTo>
                  <a:lnTo>
                    <a:pt x="1319" y="96"/>
                  </a:lnTo>
                  <a:lnTo>
                    <a:pt x="1395" y="151"/>
                  </a:lnTo>
                  <a:lnTo>
                    <a:pt x="1456" y="112"/>
                  </a:lnTo>
                  <a:lnTo>
                    <a:pt x="1480" y="171"/>
                  </a:lnTo>
                  <a:lnTo>
                    <a:pt x="1502" y="214"/>
                  </a:lnTo>
                  <a:lnTo>
                    <a:pt x="1588" y="250"/>
                  </a:lnTo>
                  <a:lnTo>
                    <a:pt x="1641" y="320"/>
                  </a:lnTo>
                  <a:lnTo>
                    <a:pt x="1675" y="322"/>
                  </a:lnTo>
                  <a:lnTo>
                    <a:pt x="1702" y="299"/>
                  </a:lnTo>
                  <a:lnTo>
                    <a:pt x="1740" y="334"/>
                  </a:lnTo>
                  <a:lnTo>
                    <a:pt x="1779" y="389"/>
                  </a:lnTo>
                  <a:lnTo>
                    <a:pt x="1793" y="458"/>
                  </a:lnTo>
                  <a:lnTo>
                    <a:pt x="1824" y="494"/>
                  </a:lnTo>
                  <a:lnTo>
                    <a:pt x="1846" y="543"/>
                  </a:lnTo>
                  <a:lnTo>
                    <a:pt x="1872" y="572"/>
                  </a:lnTo>
                  <a:lnTo>
                    <a:pt x="1840" y="677"/>
                  </a:lnTo>
                  <a:lnTo>
                    <a:pt x="1775" y="714"/>
                  </a:lnTo>
                  <a:lnTo>
                    <a:pt x="1787" y="769"/>
                  </a:lnTo>
                  <a:lnTo>
                    <a:pt x="1748" y="801"/>
                  </a:lnTo>
                  <a:lnTo>
                    <a:pt x="1720" y="805"/>
                  </a:lnTo>
                  <a:lnTo>
                    <a:pt x="1726" y="889"/>
                  </a:lnTo>
                  <a:lnTo>
                    <a:pt x="1693" y="921"/>
                  </a:lnTo>
                  <a:lnTo>
                    <a:pt x="1639" y="911"/>
                  </a:lnTo>
                  <a:lnTo>
                    <a:pt x="1614" y="868"/>
                  </a:lnTo>
                  <a:lnTo>
                    <a:pt x="1586" y="887"/>
                  </a:lnTo>
                  <a:lnTo>
                    <a:pt x="1596" y="938"/>
                  </a:lnTo>
                  <a:lnTo>
                    <a:pt x="1661" y="946"/>
                  </a:lnTo>
                  <a:lnTo>
                    <a:pt x="1716" y="990"/>
                  </a:lnTo>
                  <a:lnTo>
                    <a:pt x="1767" y="1001"/>
                  </a:lnTo>
                  <a:lnTo>
                    <a:pt x="1801" y="1035"/>
                  </a:lnTo>
                  <a:close/>
                </a:path>
              </a:pathLst>
            </a:custGeom>
            <a:grpFill/>
            <a:ln w="0">
              <a:solidFill>
                <a:schemeClr val="bg1"/>
              </a:solidFill>
              <a:prstDash val="solid"/>
              <a:round/>
            </a:ln>
          </p:spPr>
          <p:txBody>
            <a:bodyPr/>
            <a:lstStyle/>
            <a:p>
              <a:endParaRPr lang="zh-CN" altLang="en-US"/>
            </a:p>
          </p:txBody>
        </p:sp>
        <p:sp>
          <p:nvSpPr>
            <p:cNvPr id="67" name="Freeform 110"/>
            <p:cNvSpPr/>
            <p:nvPr/>
          </p:nvSpPr>
          <p:spPr bwMode="gray">
            <a:xfrm>
              <a:off x="1694" y="2177"/>
              <a:ext cx="936" cy="666"/>
            </a:xfrm>
            <a:custGeom>
              <a:avLst/>
              <a:gdLst>
                <a:gd name="T0" fmla="*/ 445 w 1872"/>
                <a:gd name="T1" fmla="*/ 276 h 1330"/>
                <a:gd name="T2" fmla="*/ 426 w 1872"/>
                <a:gd name="T3" fmla="*/ 279 h 1330"/>
                <a:gd name="T4" fmla="*/ 397 w 1872"/>
                <a:gd name="T5" fmla="*/ 279 h 1330"/>
                <a:gd name="T6" fmla="*/ 381 w 1872"/>
                <a:gd name="T7" fmla="*/ 296 h 1330"/>
                <a:gd name="T8" fmla="*/ 343 w 1872"/>
                <a:gd name="T9" fmla="*/ 274 h 1330"/>
                <a:gd name="T10" fmla="*/ 308 w 1872"/>
                <a:gd name="T11" fmla="*/ 269 h 1330"/>
                <a:gd name="T12" fmla="*/ 275 w 1872"/>
                <a:gd name="T13" fmla="*/ 273 h 1330"/>
                <a:gd name="T14" fmla="*/ 262 w 1872"/>
                <a:gd name="T15" fmla="*/ 288 h 1330"/>
                <a:gd name="T16" fmla="*/ 260 w 1872"/>
                <a:gd name="T17" fmla="*/ 309 h 1330"/>
                <a:gd name="T18" fmla="*/ 225 w 1872"/>
                <a:gd name="T19" fmla="*/ 329 h 1330"/>
                <a:gd name="T20" fmla="*/ 204 w 1872"/>
                <a:gd name="T21" fmla="*/ 313 h 1330"/>
                <a:gd name="T22" fmla="*/ 155 w 1872"/>
                <a:gd name="T23" fmla="*/ 287 h 1330"/>
                <a:gd name="T24" fmla="*/ 113 w 1872"/>
                <a:gd name="T25" fmla="*/ 280 h 1330"/>
                <a:gd name="T26" fmla="*/ 85 w 1872"/>
                <a:gd name="T27" fmla="*/ 274 h 1330"/>
                <a:gd name="T28" fmla="*/ 64 w 1872"/>
                <a:gd name="T29" fmla="*/ 264 h 1330"/>
                <a:gd name="T30" fmla="*/ 28 w 1872"/>
                <a:gd name="T31" fmla="*/ 256 h 1330"/>
                <a:gd name="T32" fmla="*/ 2 w 1872"/>
                <a:gd name="T33" fmla="*/ 206 h 1330"/>
                <a:gd name="T34" fmla="*/ 12 w 1872"/>
                <a:gd name="T35" fmla="*/ 185 h 1330"/>
                <a:gd name="T36" fmla="*/ 20 w 1872"/>
                <a:gd name="T37" fmla="*/ 149 h 1330"/>
                <a:gd name="T38" fmla="*/ 11 w 1872"/>
                <a:gd name="T39" fmla="*/ 133 h 1330"/>
                <a:gd name="T40" fmla="*/ 20 w 1872"/>
                <a:gd name="T41" fmla="*/ 117 h 1330"/>
                <a:gd name="T42" fmla="*/ 61 w 1872"/>
                <a:gd name="T43" fmla="*/ 117 h 1330"/>
                <a:gd name="T44" fmla="*/ 53 w 1872"/>
                <a:gd name="T45" fmla="*/ 96 h 1330"/>
                <a:gd name="T46" fmla="*/ 74 w 1872"/>
                <a:gd name="T47" fmla="*/ 75 h 1330"/>
                <a:gd name="T48" fmla="*/ 45 w 1872"/>
                <a:gd name="T49" fmla="*/ 32 h 1330"/>
                <a:gd name="T50" fmla="*/ 99 w 1872"/>
                <a:gd name="T51" fmla="*/ 18 h 1330"/>
                <a:gd name="T52" fmla="*/ 134 w 1872"/>
                <a:gd name="T53" fmla="*/ 10 h 1330"/>
                <a:gd name="T54" fmla="*/ 169 w 1872"/>
                <a:gd name="T55" fmla="*/ 4 h 1330"/>
                <a:gd name="T56" fmla="*/ 206 w 1872"/>
                <a:gd name="T57" fmla="*/ 15 h 1330"/>
                <a:gd name="T58" fmla="*/ 235 w 1872"/>
                <a:gd name="T59" fmla="*/ 32 h 1330"/>
                <a:gd name="T60" fmla="*/ 269 w 1872"/>
                <a:gd name="T61" fmla="*/ 20 h 1330"/>
                <a:gd name="T62" fmla="*/ 301 w 1872"/>
                <a:gd name="T63" fmla="*/ 20 h 1330"/>
                <a:gd name="T64" fmla="*/ 330 w 1872"/>
                <a:gd name="T65" fmla="*/ 24 h 1330"/>
                <a:gd name="T66" fmla="*/ 364 w 1872"/>
                <a:gd name="T67" fmla="*/ 28 h 1330"/>
                <a:gd name="T68" fmla="*/ 376 w 1872"/>
                <a:gd name="T69" fmla="*/ 54 h 1330"/>
                <a:gd name="T70" fmla="*/ 411 w 1872"/>
                <a:gd name="T71" fmla="*/ 80 h 1330"/>
                <a:gd name="T72" fmla="*/ 426 w 1872"/>
                <a:gd name="T73" fmla="*/ 75 h 1330"/>
                <a:gd name="T74" fmla="*/ 445 w 1872"/>
                <a:gd name="T75" fmla="*/ 98 h 1330"/>
                <a:gd name="T76" fmla="*/ 456 w 1872"/>
                <a:gd name="T77" fmla="*/ 124 h 1330"/>
                <a:gd name="T78" fmla="*/ 468 w 1872"/>
                <a:gd name="T79" fmla="*/ 143 h 1330"/>
                <a:gd name="T80" fmla="*/ 444 w 1872"/>
                <a:gd name="T81" fmla="*/ 179 h 1330"/>
                <a:gd name="T82" fmla="*/ 437 w 1872"/>
                <a:gd name="T83" fmla="*/ 201 h 1330"/>
                <a:gd name="T84" fmla="*/ 432 w 1872"/>
                <a:gd name="T85" fmla="*/ 223 h 1330"/>
                <a:gd name="T86" fmla="*/ 410 w 1872"/>
                <a:gd name="T87" fmla="*/ 228 h 1330"/>
                <a:gd name="T88" fmla="*/ 397 w 1872"/>
                <a:gd name="T89" fmla="*/ 222 h 1330"/>
                <a:gd name="T90" fmla="*/ 416 w 1872"/>
                <a:gd name="T91" fmla="*/ 237 h 1330"/>
                <a:gd name="T92" fmla="*/ 442 w 1872"/>
                <a:gd name="T93" fmla="*/ 251 h 1330"/>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872"/>
                <a:gd name="T142" fmla="*/ 0 h 1330"/>
                <a:gd name="T143" fmla="*/ 1872 w 1872"/>
                <a:gd name="T144" fmla="*/ 1330 h 1330"/>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872" h="1330">
                  <a:moveTo>
                    <a:pt x="1801" y="1035"/>
                  </a:moveTo>
                  <a:lnTo>
                    <a:pt x="1779" y="1102"/>
                  </a:lnTo>
                  <a:lnTo>
                    <a:pt x="1736" y="1082"/>
                  </a:lnTo>
                  <a:lnTo>
                    <a:pt x="1702" y="1115"/>
                  </a:lnTo>
                  <a:lnTo>
                    <a:pt x="1655" y="1072"/>
                  </a:lnTo>
                  <a:lnTo>
                    <a:pt x="1586" y="1114"/>
                  </a:lnTo>
                  <a:lnTo>
                    <a:pt x="1588" y="1184"/>
                  </a:lnTo>
                  <a:lnTo>
                    <a:pt x="1521" y="1180"/>
                  </a:lnTo>
                  <a:lnTo>
                    <a:pt x="1421" y="1068"/>
                  </a:lnTo>
                  <a:lnTo>
                    <a:pt x="1372" y="1094"/>
                  </a:lnTo>
                  <a:lnTo>
                    <a:pt x="1279" y="1049"/>
                  </a:lnTo>
                  <a:lnTo>
                    <a:pt x="1232" y="1072"/>
                  </a:lnTo>
                  <a:lnTo>
                    <a:pt x="1138" y="1062"/>
                  </a:lnTo>
                  <a:lnTo>
                    <a:pt x="1100" y="1090"/>
                  </a:lnTo>
                  <a:lnTo>
                    <a:pt x="1092" y="1155"/>
                  </a:lnTo>
                  <a:lnTo>
                    <a:pt x="1045" y="1149"/>
                  </a:lnTo>
                  <a:lnTo>
                    <a:pt x="1055" y="1184"/>
                  </a:lnTo>
                  <a:lnTo>
                    <a:pt x="1039" y="1234"/>
                  </a:lnTo>
                  <a:lnTo>
                    <a:pt x="968" y="1330"/>
                  </a:lnTo>
                  <a:lnTo>
                    <a:pt x="897" y="1314"/>
                  </a:lnTo>
                  <a:lnTo>
                    <a:pt x="821" y="1304"/>
                  </a:lnTo>
                  <a:lnTo>
                    <a:pt x="813" y="1251"/>
                  </a:lnTo>
                  <a:lnTo>
                    <a:pt x="728" y="1190"/>
                  </a:lnTo>
                  <a:lnTo>
                    <a:pt x="618" y="1147"/>
                  </a:lnTo>
                  <a:lnTo>
                    <a:pt x="521" y="1149"/>
                  </a:lnTo>
                  <a:lnTo>
                    <a:pt x="452" y="1117"/>
                  </a:lnTo>
                  <a:lnTo>
                    <a:pt x="389" y="1121"/>
                  </a:lnTo>
                  <a:lnTo>
                    <a:pt x="338" y="1092"/>
                  </a:lnTo>
                  <a:lnTo>
                    <a:pt x="281" y="1056"/>
                  </a:lnTo>
                  <a:lnTo>
                    <a:pt x="256" y="1054"/>
                  </a:lnTo>
                  <a:lnTo>
                    <a:pt x="185" y="1021"/>
                  </a:lnTo>
                  <a:lnTo>
                    <a:pt x="112" y="1023"/>
                  </a:lnTo>
                  <a:lnTo>
                    <a:pt x="61" y="911"/>
                  </a:lnTo>
                  <a:lnTo>
                    <a:pt x="6" y="822"/>
                  </a:lnTo>
                  <a:lnTo>
                    <a:pt x="0" y="740"/>
                  </a:lnTo>
                  <a:lnTo>
                    <a:pt x="45" y="738"/>
                  </a:lnTo>
                  <a:lnTo>
                    <a:pt x="43" y="686"/>
                  </a:lnTo>
                  <a:lnTo>
                    <a:pt x="77" y="594"/>
                  </a:lnTo>
                  <a:lnTo>
                    <a:pt x="78" y="549"/>
                  </a:lnTo>
                  <a:lnTo>
                    <a:pt x="43" y="529"/>
                  </a:lnTo>
                  <a:lnTo>
                    <a:pt x="80" y="501"/>
                  </a:lnTo>
                  <a:lnTo>
                    <a:pt x="77" y="466"/>
                  </a:lnTo>
                  <a:lnTo>
                    <a:pt x="139" y="501"/>
                  </a:lnTo>
                  <a:lnTo>
                    <a:pt x="244" y="466"/>
                  </a:lnTo>
                  <a:lnTo>
                    <a:pt x="206" y="433"/>
                  </a:lnTo>
                  <a:lnTo>
                    <a:pt x="212" y="383"/>
                  </a:lnTo>
                  <a:lnTo>
                    <a:pt x="265" y="364"/>
                  </a:lnTo>
                  <a:lnTo>
                    <a:pt x="293" y="299"/>
                  </a:lnTo>
                  <a:lnTo>
                    <a:pt x="175" y="206"/>
                  </a:lnTo>
                  <a:lnTo>
                    <a:pt x="179" y="126"/>
                  </a:lnTo>
                  <a:lnTo>
                    <a:pt x="252" y="84"/>
                  </a:lnTo>
                  <a:lnTo>
                    <a:pt x="393" y="70"/>
                  </a:lnTo>
                  <a:lnTo>
                    <a:pt x="502" y="41"/>
                  </a:lnTo>
                  <a:lnTo>
                    <a:pt x="533" y="37"/>
                  </a:lnTo>
                  <a:lnTo>
                    <a:pt x="596" y="0"/>
                  </a:lnTo>
                  <a:lnTo>
                    <a:pt x="675" y="13"/>
                  </a:lnTo>
                  <a:lnTo>
                    <a:pt x="758" y="21"/>
                  </a:lnTo>
                  <a:lnTo>
                    <a:pt x="823" y="57"/>
                  </a:lnTo>
                  <a:lnTo>
                    <a:pt x="880" y="68"/>
                  </a:lnTo>
                  <a:lnTo>
                    <a:pt x="941" y="127"/>
                  </a:lnTo>
                  <a:lnTo>
                    <a:pt x="996" y="124"/>
                  </a:lnTo>
                  <a:lnTo>
                    <a:pt x="1075" y="80"/>
                  </a:lnTo>
                  <a:lnTo>
                    <a:pt x="1147" y="84"/>
                  </a:lnTo>
                  <a:lnTo>
                    <a:pt x="1202" y="80"/>
                  </a:lnTo>
                  <a:lnTo>
                    <a:pt x="1244" y="57"/>
                  </a:lnTo>
                  <a:lnTo>
                    <a:pt x="1319" y="96"/>
                  </a:lnTo>
                  <a:lnTo>
                    <a:pt x="1395" y="151"/>
                  </a:lnTo>
                  <a:lnTo>
                    <a:pt x="1456" y="112"/>
                  </a:lnTo>
                  <a:lnTo>
                    <a:pt x="1480" y="171"/>
                  </a:lnTo>
                  <a:lnTo>
                    <a:pt x="1502" y="214"/>
                  </a:lnTo>
                  <a:lnTo>
                    <a:pt x="1588" y="250"/>
                  </a:lnTo>
                  <a:lnTo>
                    <a:pt x="1641" y="320"/>
                  </a:lnTo>
                  <a:lnTo>
                    <a:pt x="1675" y="322"/>
                  </a:lnTo>
                  <a:lnTo>
                    <a:pt x="1702" y="299"/>
                  </a:lnTo>
                  <a:lnTo>
                    <a:pt x="1740" y="334"/>
                  </a:lnTo>
                  <a:lnTo>
                    <a:pt x="1779" y="389"/>
                  </a:lnTo>
                  <a:lnTo>
                    <a:pt x="1793" y="458"/>
                  </a:lnTo>
                  <a:lnTo>
                    <a:pt x="1824" y="494"/>
                  </a:lnTo>
                  <a:lnTo>
                    <a:pt x="1846" y="543"/>
                  </a:lnTo>
                  <a:lnTo>
                    <a:pt x="1872" y="572"/>
                  </a:lnTo>
                  <a:lnTo>
                    <a:pt x="1840" y="677"/>
                  </a:lnTo>
                  <a:lnTo>
                    <a:pt x="1775" y="714"/>
                  </a:lnTo>
                  <a:lnTo>
                    <a:pt x="1787" y="769"/>
                  </a:lnTo>
                  <a:lnTo>
                    <a:pt x="1748" y="801"/>
                  </a:lnTo>
                  <a:lnTo>
                    <a:pt x="1720" y="805"/>
                  </a:lnTo>
                  <a:lnTo>
                    <a:pt x="1726" y="889"/>
                  </a:lnTo>
                  <a:lnTo>
                    <a:pt x="1693" y="921"/>
                  </a:lnTo>
                  <a:lnTo>
                    <a:pt x="1639" y="911"/>
                  </a:lnTo>
                  <a:lnTo>
                    <a:pt x="1614" y="868"/>
                  </a:lnTo>
                  <a:lnTo>
                    <a:pt x="1586" y="887"/>
                  </a:lnTo>
                  <a:lnTo>
                    <a:pt x="1596" y="938"/>
                  </a:lnTo>
                  <a:lnTo>
                    <a:pt x="1661" y="946"/>
                  </a:lnTo>
                  <a:lnTo>
                    <a:pt x="1716" y="990"/>
                  </a:lnTo>
                  <a:lnTo>
                    <a:pt x="1767" y="1001"/>
                  </a:lnTo>
                  <a:lnTo>
                    <a:pt x="1801" y="1035"/>
                  </a:lnTo>
                </a:path>
              </a:pathLst>
            </a:custGeom>
            <a:grpFill/>
            <a:ln w="6350">
              <a:solidFill>
                <a:schemeClr val="bg1"/>
              </a:solidFill>
              <a:prstDash val="solid"/>
              <a:round/>
            </a:ln>
          </p:spPr>
          <p:txBody>
            <a:bodyPr/>
            <a:lstStyle/>
            <a:p>
              <a:endParaRPr lang="zh-CN" altLang="en-US"/>
            </a:p>
          </p:txBody>
        </p:sp>
        <p:sp>
          <p:nvSpPr>
            <p:cNvPr id="68" name="Freeform 111"/>
            <p:cNvSpPr/>
            <p:nvPr/>
          </p:nvSpPr>
          <p:spPr bwMode="gray">
            <a:xfrm>
              <a:off x="2241" y="2635"/>
              <a:ext cx="911" cy="693"/>
            </a:xfrm>
            <a:custGeom>
              <a:avLst/>
              <a:gdLst>
                <a:gd name="T0" fmla="*/ 300 w 1823"/>
                <a:gd name="T1" fmla="*/ 274 h 1385"/>
                <a:gd name="T2" fmla="*/ 284 w 1823"/>
                <a:gd name="T3" fmla="*/ 262 h 1385"/>
                <a:gd name="T4" fmla="*/ 269 w 1823"/>
                <a:gd name="T5" fmla="*/ 266 h 1385"/>
                <a:gd name="T6" fmla="*/ 248 w 1823"/>
                <a:gd name="T7" fmla="*/ 249 h 1385"/>
                <a:gd name="T8" fmla="*/ 236 w 1823"/>
                <a:gd name="T9" fmla="*/ 235 h 1385"/>
                <a:gd name="T10" fmla="*/ 232 w 1823"/>
                <a:gd name="T11" fmla="*/ 246 h 1385"/>
                <a:gd name="T12" fmla="*/ 222 w 1823"/>
                <a:gd name="T13" fmla="*/ 252 h 1385"/>
                <a:gd name="T14" fmla="*/ 218 w 1823"/>
                <a:gd name="T15" fmla="*/ 270 h 1385"/>
                <a:gd name="T16" fmla="*/ 195 w 1823"/>
                <a:gd name="T17" fmla="*/ 293 h 1385"/>
                <a:gd name="T18" fmla="*/ 201 w 1823"/>
                <a:gd name="T19" fmla="*/ 318 h 1385"/>
                <a:gd name="T20" fmla="*/ 188 w 1823"/>
                <a:gd name="T21" fmla="*/ 338 h 1385"/>
                <a:gd name="T22" fmla="*/ 167 w 1823"/>
                <a:gd name="T23" fmla="*/ 345 h 1385"/>
                <a:gd name="T24" fmla="*/ 148 w 1823"/>
                <a:gd name="T25" fmla="*/ 338 h 1385"/>
                <a:gd name="T26" fmla="*/ 132 w 1823"/>
                <a:gd name="T27" fmla="*/ 302 h 1385"/>
                <a:gd name="T28" fmla="*/ 111 w 1823"/>
                <a:gd name="T29" fmla="*/ 270 h 1385"/>
                <a:gd name="T30" fmla="*/ 90 w 1823"/>
                <a:gd name="T31" fmla="*/ 257 h 1385"/>
                <a:gd name="T32" fmla="*/ 87 w 1823"/>
                <a:gd name="T33" fmla="*/ 239 h 1385"/>
                <a:gd name="T34" fmla="*/ 65 w 1823"/>
                <a:gd name="T35" fmla="*/ 253 h 1385"/>
                <a:gd name="T36" fmla="*/ 53 w 1823"/>
                <a:gd name="T37" fmla="*/ 209 h 1385"/>
                <a:gd name="T38" fmla="*/ 51 w 1823"/>
                <a:gd name="T39" fmla="*/ 156 h 1385"/>
                <a:gd name="T40" fmla="*/ 40 w 1823"/>
                <a:gd name="T41" fmla="*/ 128 h 1385"/>
                <a:gd name="T42" fmla="*/ 49 w 1823"/>
                <a:gd name="T43" fmla="*/ 117 h 1385"/>
                <a:gd name="T44" fmla="*/ 26 w 1823"/>
                <a:gd name="T45" fmla="*/ 77 h 1385"/>
                <a:gd name="T46" fmla="*/ 2 w 1823"/>
                <a:gd name="T47" fmla="*/ 45 h 1385"/>
                <a:gd name="T48" fmla="*/ 35 w 1823"/>
                <a:gd name="T49" fmla="*/ 40 h 1385"/>
                <a:gd name="T50" fmla="*/ 70 w 1823"/>
                <a:gd name="T51" fmla="*/ 45 h 1385"/>
                <a:gd name="T52" fmla="*/ 107 w 1823"/>
                <a:gd name="T53" fmla="*/ 67 h 1385"/>
                <a:gd name="T54" fmla="*/ 124 w 1823"/>
                <a:gd name="T55" fmla="*/ 50 h 1385"/>
                <a:gd name="T56" fmla="*/ 152 w 1823"/>
                <a:gd name="T57" fmla="*/ 50 h 1385"/>
                <a:gd name="T58" fmla="*/ 171 w 1823"/>
                <a:gd name="T59" fmla="*/ 47 h 1385"/>
                <a:gd name="T60" fmla="*/ 168 w 1823"/>
                <a:gd name="T61" fmla="*/ 22 h 1385"/>
                <a:gd name="T62" fmla="*/ 193 w 1823"/>
                <a:gd name="T63" fmla="*/ 0 h 1385"/>
                <a:gd name="T64" fmla="*/ 208 w 1823"/>
                <a:gd name="T65" fmla="*/ 22 h 1385"/>
                <a:gd name="T66" fmla="*/ 240 w 1823"/>
                <a:gd name="T67" fmla="*/ 35 h 1385"/>
                <a:gd name="T68" fmla="*/ 261 w 1823"/>
                <a:gd name="T69" fmla="*/ 65 h 1385"/>
                <a:gd name="T70" fmla="*/ 284 w 1823"/>
                <a:gd name="T71" fmla="*/ 54 h 1385"/>
                <a:gd name="T72" fmla="*/ 310 w 1823"/>
                <a:gd name="T73" fmla="*/ 64 h 1385"/>
                <a:gd name="T74" fmla="*/ 358 w 1823"/>
                <a:gd name="T75" fmla="*/ 68 h 1385"/>
                <a:gd name="T76" fmla="*/ 390 w 1823"/>
                <a:gd name="T77" fmla="*/ 73 h 1385"/>
                <a:gd name="T78" fmla="*/ 419 w 1823"/>
                <a:gd name="T79" fmla="*/ 84 h 1385"/>
                <a:gd name="T80" fmla="*/ 448 w 1823"/>
                <a:gd name="T81" fmla="*/ 89 h 1385"/>
                <a:gd name="T82" fmla="*/ 455 w 1823"/>
                <a:gd name="T83" fmla="*/ 130 h 1385"/>
                <a:gd name="T84" fmla="*/ 431 w 1823"/>
                <a:gd name="T85" fmla="*/ 144 h 1385"/>
                <a:gd name="T86" fmla="*/ 396 w 1823"/>
                <a:gd name="T87" fmla="*/ 155 h 1385"/>
                <a:gd name="T88" fmla="*/ 417 w 1823"/>
                <a:gd name="T89" fmla="*/ 193 h 1385"/>
                <a:gd name="T90" fmla="*/ 433 w 1823"/>
                <a:gd name="T91" fmla="*/ 227 h 1385"/>
                <a:gd name="T92" fmla="*/ 417 w 1823"/>
                <a:gd name="T93" fmla="*/ 246 h 1385"/>
                <a:gd name="T94" fmla="*/ 397 w 1823"/>
                <a:gd name="T95" fmla="*/ 227 h 1385"/>
                <a:gd name="T96" fmla="*/ 379 w 1823"/>
                <a:gd name="T97" fmla="*/ 214 h 1385"/>
                <a:gd name="T98" fmla="*/ 361 w 1823"/>
                <a:gd name="T99" fmla="*/ 210 h 1385"/>
                <a:gd name="T100" fmla="*/ 355 w 1823"/>
                <a:gd name="T101" fmla="*/ 224 h 1385"/>
                <a:gd name="T102" fmla="*/ 344 w 1823"/>
                <a:gd name="T103" fmla="*/ 240 h 1385"/>
                <a:gd name="T104" fmla="*/ 312 w 1823"/>
                <a:gd name="T105" fmla="*/ 227 h 1385"/>
                <a:gd name="T106" fmla="*/ 300 w 1823"/>
                <a:gd name="T107" fmla="*/ 247 h 1385"/>
                <a:gd name="T108" fmla="*/ 320 w 1823"/>
                <a:gd name="T109" fmla="*/ 253 h 1385"/>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823"/>
                <a:gd name="T166" fmla="*/ 0 h 1385"/>
                <a:gd name="T167" fmla="*/ 1823 w 1823"/>
                <a:gd name="T168" fmla="*/ 1385 h 1385"/>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823" h="1385">
                  <a:moveTo>
                    <a:pt x="1301" y="1068"/>
                  </a:moveTo>
                  <a:lnTo>
                    <a:pt x="1203" y="1096"/>
                  </a:lnTo>
                  <a:lnTo>
                    <a:pt x="1142" y="1088"/>
                  </a:lnTo>
                  <a:lnTo>
                    <a:pt x="1138" y="1047"/>
                  </a:lnTo>
                  <a:lnTo>
                    <a:pt x="1105" y="1025"/>
                  </a:lnTo>
                  <a:lnTo>
                    <a:pt x="1077" y="1061"/>
                  </a:lnTo>
                  <a:lnTo>
                    <a:pt x="1014" y="1066"/>
                  </a:lnTo>
                  <a:lnTo>
                    <a:pt x="992" y="996"/>
                  </a:lnTo>
                  <a:lnTo>
                    <a:pt x="992" y="942"/>
                  </a:lnTo>
                  <a:lnTo>
                    <a:pt x="945" y="939"/>
                  </a:lnTo>
                  <a:lnTo>
                    <a:pt x="916" y="954"/>
                  </a:lnTo>
                  <a:lnTo>
                    <a:pt x="929" y="982"/>
                  </a:lnTo>
                  <a:lnTo>
                    <a:pt x="923" y="1005"/>
                  </a:lnTo>
                  <a:lnTo>
                    <a:pt x="890" y="1007"/>
                  </a:lnTo>
                  <a:lnTo>
                    <a:pt x="866" y="1033"/>
                  </a:lnTo>
                  <a:lnTo>
                    <a:pt x="874" y="1078"/>
                  </a:lnTo>
                  <a:lnTo>
                    <a:pt x="817" y="1149"/>
                  </a:lnTo>
                  <a:lnTo>
                    <a:pt x="780" y="1169"/>
                  </a:lnTo>
                  <a:lnTo>
                    <a:pt x="780" y="1234"/>
                  </a:lnTo>
                  <a:lnTo>
                    <a:pt x="805" y="1271"/>
                  </a:lnTo>
                  <a:lnTo>
                    <a:pt x="801" y="1326"/>
                  </a:lnTo>
                  <a:lnTo>
                    <a:pt x="752" y="1352"/>
                  </a:lnTo>
                  <a:lnTo>
                    <a:pt x="742" y="1330"/>
                  </a:lnTo>
                  <a:lnTo>
                    <a:pt x="670" y="1377"/>
                  </a:lnTo>
                  <a:lnTo>
                    <a:pt x="632" y="1385"/>
                  </a:lnTo>
                  <a:lnTo>
                    <a:pt x="595" y="1352"/>
                  </a:lnTo>
                  <a:lnTo>
                    <a:pt x="563" y="1273"/>
                  </a:lnTo>
                  <a:lnTo>
                    <a:pt x="528" y="1206"/>
                  </a:lnTo>
                  <a:lnTo>
                    <a:pt x="500" y="1163"/>
                  </a:lnTo>
                  <a:lnTo>
                    <a:pt x="445" y="1078"/>
                  </a:lnTo>
                  <a:lnTo>
                    <a:pt x="396" y="1076"/>
                  </a:lnTo>
                  <a:lnTo>
                    <a:pt x="362" y="1025"/>
                  </a:lnTo>
                  <a:lnTo>
                    <a:pt x="378" y="988"/>
                  </a:lnTo>
                  <a:lnTo>
                    <a:pt x="349" y="954"/>
                  </a:lnTo>
                  <a:lnTo>
                    <a:pt x="303" y="1004"/>
                  </a:lnTo>
                  <a:lnTo>
                    <a:pt x="260" y="1011"/>
                  </a:lnTo>
                  <a:lnTo>
                    <a:pt x="227" y="950"/>
                  </a:lnTo>
                  <a:lnTo>
                    <a:pt x="215" y="834"/>
                  </a:lnTo>
                  <a:lnTo>
                    <a:pt x="211" y="712"/>
                  </a:lnTo>
                  <a:lnTo>
                    <a:pt x="205" y="624"/>
                  </a:lnTo>
                  <a:lnTo>
                    <a:pt x="199" y="582"/>
                  </a:lnTo>
                  <a:lnTo>
                    <a:pt x="160" y="509"/>
                  </a:lnTo>
                  <a:lnTo>
                    <a:pt x="193" y="496"/>
                  </a:lnTo>
                  <a:lnTo>
                    <a:pt x="199" y="468"/>
                  </a:lnTo>
                  <a:lnTo>
                    <a:pt x="136" y="401"/>
                  </a:lnTo>
                  <a:lnTo>
                    <a:pt x="105" y="305"/>
                  </a:lnTo>
                  <a:lnTo>
                    <a:pt x="0" y="240"/>
                  </a:lnTo>
                  <a:lnTo>
                    <a:pt x="8" y="177"/>
                  </a:lnTo>
                  <a:lnTo>
                    <a:pt x="49" y="147"/>
                  </a:lnTo>
                  <a:lnTo>
                    <a:pt x="140" y="157"/>
                  </a:lnTo>
                  <a:lnTo>
                    <a:pt x="189" y="134"/>
                  </a:lnTo>
                  <a:lnTo>
                    <a:pt x="280" y="179"/>
                  </a:lnTo>
                  <a:lnTo>
                    <a:pt x="329" y="153"/>
                  </a:lnTo>
                  <a:lnTo>
                    <a:pt x="429" y="265"/>
                  </a:lnTo>
                  <a:lnTo>
                    <a:pt x="496" y="267"/>
                  </a:lnTo>
                  <a:lnTo>
                    <a:pt x="496" y="200"/>
                  </a:lnTo>
                  <a:lnTo>
                    <a:pt x="563" y="157"/>
                  </a:lnTo>
                  <a:lnTo>
                    <a:pt x="610" y="200"/>
                  </a:lnTo>
                  <a:lnTo>
                    <a:pt x="644" y="167"/>
                  </a:lnTo>
                  <a:lnTo>
                    <a:pt x="687" y="187"/>
                  </a:lnTo>
                  <a:lnTo>
                    <a:pt x="709" y="120"/>
                  </a:lnTo>
                  <a:lnTo>
                    <a:pt x="673" y="86"/>
                  </a:lnTo>
                  <a:lnTo>
                    <a:pt x="677" y="35"/>
                  </a:lnTo>
                  <a:lnTo>
                    <a:pt x="774" y="0"/>
                  </a:lnTo>
                  <a:lnTo>
                    <a:pt x="807" y="17"/>
                  </a:lnTo>
                  <a:lnTo>
                    <a:pt x="833" y="88"/>
                  </a:lnTo>
                  <a:lnTo>
                    <a:pt x="914" y="161"/>
                  </a:lnTo>
                  <a:lnTo>
                    <a:pt x="961" y="138"/>
                  </a:lnTo>
                  <a:lnTo>
                    <a:pt x="988" y="216"/>
                  </a:lnTo>
                  <a:lnTo>
                    <a:pt x="1044" y="260"/>
                  </a:lnTo>
                  <a:lnTo>
                    <a:pt x="1091" y="267"/>
                  </a:lnTo>
                  <a:lnTo>
                    <a:pt x="1138" y="216"/>
                  </a:lnTo>
                  <a:lnTo>
                    <a:pt x="1183" y="195"/>
                  </a:lnTo>
                  <a:lnTo>
                    <a:pt x="1242" y="254"/>
                  </a:lnTo>
                  <a:lnTo>
                    <a:pt x="1335" y="228"/>
                  </a:lnTo>
                  <a:lnTo>
                    <a:pt x="1433" y="269"/>
                  </a:lnTo>
                  <a:lnTo>
                    <a:pt x="1496" y="317"/>
                  </a:lnTo>
                  <a:lnTo>
                    <a:pt x="1561" y="291"/>
                  </a:lnTo>
                  <a:lnTo>
                    <a:pt x="1632" y="336"/>
                  </a:lnTo>
                  <a:lnTo>
                    <a:pt x="1679" y="336"/>
                  </a:lnTo>
                  <a:lnTo>
                    <a:pt x="1681" y="368"/>
                  </a:lnTo>
                  <a:lnTo>
                    <a:pt x="1795" y="356"/>
                  </a:lnTo>
                  <a:lnTo>
                    <a:pt x="1823" y="433"/>
                  </a:lnTo>
                  <a:lnTo>
                    <a:pt x="1821" y="519"/>
                  </a:lnTo>
                  <a:lnTo>
                    <a:pt x="1770" y="527"/>
                  </a:lnTo>
                  <a:lnTo>
                    <a:pt x="1727" y="576"/>
                  </a:lnTo>
                  <a:lnTo>
                    <a:pt x="1620" y="584"/>
                  </a:lnTo>
                  <a:lnTo>
                    <a:pt x="1587" y="618"/>
                  </a:lnTo>
                  <a:lnTo>
                    <a:pt x="1610" y="693"/>
                  </a:lnTo>
                  <a:lnTo>
                    <a:pt x="1669" y="771"/>
                  </a:lnTo>
                  <a:lnTo>
                    <a:pt x="1721" y="815"/>
                  </a:lnTo>
                  <a:lnTo>
                    <a:pt x="1732" y="905"/>
                  </a:lnTo>
                  <a:lnTo>
                    <a:pt x="1731" y="956"/>
                  </a:lnTo>
                  <a:lnTo>
                    <a:pt x="1669" y="984"/>
                  </a:lnTo>
                  <a:lnTo>
                    <a:pt x="1616" y="913"/>
                  </a:lnTo>
                  <a:lnTo>
                    <a:pt x="1591" y="905"/>
                  </a:lnTo>
                  <a:lnTo>
                    <a:pt x="1575" y="838"/>
                  </a:lnTo>
                  <a:lnTo>
                    <a:pt x="1516" y="856"/>
                  </a:lnTo>
                  <a:lnTo>
                    <a:pt x="1463" y="818"/>
                  </a:lnTo>
                  <a:lnTo>
                    <a:pt x="1445" y="838"/>
                  </a:lnTo>
                  <a:lnTo>
                    <a:pt x="1457" y="880"/>
                  </a:lnTo>
                  <a:lnTo>
                    <a:pt x="1421" y="895"/>
                  </a:lnTo>
                  <a:lnTo>
                    <a:pt x="1362" y="909"/>
                  </a:lnTo>
                  <a:lnTo>
                    <a:pt x="1378" y="958"/>
                  </a:lnTo>
                  <a:lnTo>
                    <a:pt x="1313" y="950"/>
                  </a:lnTo>
                  <a:lnTo>
                    <a:pt x="1248" y="907"/>
                  </a:lnTo>
                  <a:lnTo>
                    <a:pt x="1197" y="944"/>
                  </a:lnTo>
                  <a:lnTo>
                    <a:pt x="1201" y="986"/>
                  </a:lnTo>
                  <a:lnTo>
                    <a:pt x="1252" y="1009"/>
                  </a:lnTo>
                  <a:lnTo>
                    <a:pt x="1280" y="1009"/>
                  </a:lnTo>
                  <a:lnTo>
                    <a:pt x="1301" y="1068"/>
                  </a:lnTo>
                  <a:close/>
                </a:path>
              </a:pathLst>
            </a:custGeom>
            <a:grpFill/>
            <a:ln w="0">
              <a:solidFill>
                <a:schemeClr val="bg1"/>
              </a:solidFill>
              <a:prstDash val="solid"/>
              <a:round/>
            </a:ln>
          </p:spPr>
          <p:txBody>
            <a:bodyPr/>
            <a:lstStyle/>
            <a:p>
              <a:endParaRPr lang="zh-CN" altLang="en-US"/>
            </a:p>
          </p:txBody>
        </p:sp>
        <p:sp>
          <p:nvSpPr>
            <p:cNvPr id="69" name="Freeform 112"/>
            <p:cNvSpPr/>
            <p:nvPr/>
          </p:nvSpPr>
          <p:spPr bwMode="gray">
            <a:xfrm>
              <a:off x="2241" y="2635"/>
              <a:ext cx="911" cy="693"/>
            </a:xfrm>
            <a:custGeom>
              <a:avLst/>
              <a:gdLst>
                <a:gd name="T0" fmla="*/ 300 w 1823"/>
                <a:gd name="T1" fmla="*/ 274 h 1385"/>
                <a:gd name="T2" fmla="*/ 284 w 1823"/>
                <a:gd name="T3" fmla="*/ 262 h 1385"/>
                <a:gd name="T4" fmla="*/ 269 w 1823"/>
                <a:gd name="T5" fmla="*/ 266 h 1385"/>
                <a:gd name="T6" fmla="*/ 248 w 1823"/>
                <a:gd name="T7" fmla="*/ 249 h 1385"/>
                <a:gd name="T8" fmla="*/ 236 w 1823"/>
                <a:gd name="T9" fmla="*/ 235 h 1385"/>
                <a:gd name="T10" fmla="*/ 232 w 1823"/>
                <a:gd name="T11" fmla="*/ 246 h 1385"/>
                <a:gd name="T12" fmla="*/ 222 w 1823"/>
                <a:gd name="T13" fmla="*/ 252 h 1385"/>
                <a:gd name="T14" fmla="*/ 218 w 1823"/>
                <a:gd name="T15" fmla="*/ 270 h 1385"/>
                <a:gd name="T16" fmla="*/ 195 w 1823"/>
                <a:gd name="T17" fmla="*/ 293 h 1385"/>
                <a:gd name="T18" fmla="*/ 201 w 1823"/>
                <a:gd name="T19" fmla="*/ 318 h 1385"/>
                <a:gd name="T20" fmla="*/ 188 w 1823"/>
                <a:gd name="T21" fmla="*/ 338 h 1385"/>
                <a:gd name="T22" fmla="*/ 167 w 1823"/>
                <a:gd name="T23" fmla="*/ 345 h 1385"/>
                <a:gd name="T24" fmla="*/ 148 w 1823"/>
                <a:gd name="T25" fmla="*/ 338 h 1385"/>
                <a:gd name="T26" fmla="*/ 132 w 1823"/>
                <a:gd name="T27" fmla="*/ 302 h 1385"/>
                <a:gd name="T28" fmla="*/ 111 w 1823"/>
                <a:gd name="T29" fmla="*/ 270 h 1385"/>
                <a:gd name="T30" fmla="*/ 90 w 1823"/>
                <a:gd name="T31" fmla="*/ 257 h 1385"/>
                <a:gd name="T32" fmla="*/ 87 w 1823"/>
                <a:gd name="T33" fmla="*/ 239 h 1385"/>
                <a:gd name="T34" fmla="*/ 65 w 1823"/>
                <a:gd name="T35" fmla="*/ 253 h 1385"/>
                <a:gd name="T36" fmla="*/ 53 w 1823"/>
                <a:gd name="T37" fmla="*/ 209 h 1385"/>
                <a:gd name="T38" fmla="*/ 51 w 1823"/>
                <a:gd name="T39" fmla="*/ 156 h 1385"/>
                <a:gd name="T40" fmla="*/ 40 w 1823"/>
                <a:gd name="T41" fmla="*/ 128 h 1385"/>
                <a:gd name="T42" fmla="*/ 49 w 1823"/>
                <a:gd name="T43" fmla="*/ 117 h 1385"/>
                <a:gd name="T44" fmla="*/ 26 w 1823"/>
                <a:gd name="T45" fmla="*/ 77 h 1385"/>
                <a:gd name="T46" fmla="*/ 2 w 1823"/>
                <a:gd name="T47" fmla="*/ 45 h 1385"/>
                <a:gd name="T48" fmla="*/ 35 w 1823"/>
                <a:gd name="T49" fmla="*/ 40 h 1385"/>
                <a:gd name="T50" fmla="*/ 70 w 1823"/>
                <a:gd name="T51" fmla="*/ 45 h 1385"/>
                <a:gd name="T52" fmla="*/ 107 w 1823"/>
                <a:gd name="T53" fmla="*/ 67 h 1385"/>
                <a:gd name="T54" fmla="*/ 124 w 1823"/>
                <a:gd name="T55" fmla="*/ 50 h 1385"/>
                <a:gd name="T56" fmla="*/ 152 w 1823"/>
                <a:gd name="T57" fmla="*/ 50 h 1385"/>
                <a:gd name="T58" fmla="*/ 171 w 1823"/>
                <a:gd name="T59" fmla="*/ 47 h 1385"/>
                <a:gd name="T60" fmla="*/ 168 w 1823"/>
                <a:gd name="T61" fmla="*/ 22 h 1385"/>
                <a:gd name="T62" fmla="*/ 193 w 1823"/>
                <a:gd name="T63" fmla="*/ 0 h 1385"/>
                <a:gd name="T64" fmla="*/ 208 w 1823"/>
                <a:gd name="T65" fmla="*/ 22 h 1385"/>
                <a:gd name="T66" fmla="*/ 240 w 1823"/>
                <a:gd name="T67" fmla="*/ 35 h 1385"/>
                <a:gd name="T68" fmla="*/ 261 w 1823"/>
                <a:gd name="T69" fmla="*/ 65 h 1385"/>
                <a:gd name="T70" fmla="*/ 284 w 1823"/>
                <a:gd name="T71" fmla="*/ 54 h 1385"/>
                <a:gd name="T72" fmla="*/ 310 w 1823"/>
                <a:gd name="T73" fmla="*/ 64 h 1385"/>
                <a:gd name="T74" fmla="*/ 358 w 1823"/>
                <a:gd name="T75" fmla="*/ 68 h 1385"/>
                <a:gd name="T76" fmla="*/ 390 w 1823"/>
                <a:gd name="T77" fmla="*/ 73 h 1385"/>
                <a:gd name="T78" fmla="*/ 419 w 1823"/>
                <a:gd name="T79" fmla="*/ 84 h 1385"/>
                <a:gd name="T80" fmla="*/ 448 w 1823"/>
                <a:gd name="T81" fmla="*/ 89 h 1385"/>
                <a:gd name="T82" fmla="*/ 455 w 1823"/>
                <a:gd name="T83" fmla="*/ 130 h 1385"/>
                <a:gd name="T84" fmla="*/ 431 w 1823"/>
                <a:gd name="T85" fmla="*/ 144 h 1385"/>
                <a:gd name="T86" fmla="*/ 396 w 1823"/>
                <a:gd name="T87" fmla="*/ 155 h 1385"/>
                <a:gd name="T88" fmla="*/ 417 w 1823"/>
                <a:gd name="T89" fmla="*/ 193 h 1385"/>
                <a:gd name="T90" fmla="*/ 433 w 1823"/>
                <a:gd name="T91" fmla="*/ 227 h 1385"/>
                <a:gd name="T92" fmla="*/ 417 w 1823"/>
                <a:gd name="T93" fmla="*/ 246 h 1385"/>
                <a:gd name="T94" fmla="*/ 397 w 1823"/>
                <a:gd name="T95" fmla="*/ 227 h 1385"/>
                <a:gd name="T96" fmla="*/ 379 w 1823"/>
                <a:gd name="T97" fmla="*/ 214 h 1385"/>
                <a:gd name="T98" fmla="*/ 361 w 1823"/>
                <a:gd name="T99" fmla="*/ 210 h 1385"/>
                <a:gd name="T100" fmla="*/ 355 w 1823"/>
                <a:gd name="T101" fmla="*/ 224 h 1385"/>
                <a:gd name="T102" fmla="*/ 344 w 1823"/>
                <a:gd name="T103" fmla="*/ 240 h 1385"/>
                <a:gd name="T104" fmla="*/ 312 w 1823"/>
                <a:gd name="T105" fmla="*/ 227 h 1385"/>
                <a:gd name="T106" fmla="*/ 300 w 1823"/>
                <a:gd name="T107" fmla="*/ 247 h 1385"/>
                <a:gd name="T108" fmla="*/ 320 w 1823"/>
                <a:gd name="T109" fmla="*/ 253 h 1385"/>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823"/>
                <a:gd name="T166" fmla="*/ 0 h 1385"/>
                <a:gd name="T167" fmla="*/ 1823 w 1823"/>
                <a:gd name="T168" fmla="*/ 1385 h 1385"/>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823" h="1385">
                  <a:moveTo>
                    <a:pt x="1301" y="1068"/>
                  </a:moveTo>
                  <a:lnTo>
                    <a:pt x="1203" y="1096"/>
                  </a:lnTo>
                  <a:lnTo>
                    <a:pt x="1142" y="1088"/>
                  </a:lnTo>
                  <a:lnTo>
                    <a:pt x="1138" y="1047"/>
                  </a:lnTo>
                  <a:lnTo>
                    <a:pt x="1105" y="1025"/>
                  </a:lnTo>
                  <a:lnTo>
                    <a:pt x="1077" y="1061"/>
                  </a:lnTo>
                  <a:lnTo>
                    <a:pt x="1014" y="1066"/>
                  </a:lnTo>
                  <a:lnTo>
                    <a:pt x="992" y="996"/>
                  </a:lnTo>
                  <a:lnTo>
                    <a:pt x="992" y="942"/>
                  </a:lnTo>
                  <a:lnTo>
                    <a:pt x="945" y="939"/>
                  </a:lnTo>
                  <a:lnTo>
                    <a:pt x="916" y="954"/>
                  </a:lnTo>
                  <a:lnTo>
                    <a:pt x="929" y="982"/>
                  </a:lnTo>
                  <a:lnTo>
                    <a:pt x="923" y="1005"/>
                  </a:lnTo>
                  <a:lnTo>
                    <a:pt x="890" y="1007"/>
                  </a:lnTo>
                  <a:lnTo>
                    <a:pt x="866" y="1033"/>
                  </a:lnTo>
                  <a:lnTo>
                    <a:pt x="874" y="1078"/>
                  </a:lnTo>
                  <a:lnTo>
                    <a:pt x="817" y="1149"/>
                  </a:lnTo>
                  <a:lnTo>
                    <a:pt x="780" y="1169"/>
                  </a:lnTo>
                  <a:lnTo>
                    <a:pt x="780" y="1234"/>
                  </a:lnTo>
                  <a:lnTo>
                    <a:pt x="805" y="1271"/>
                  </a:lnTo>
                  <a:lnTo>
                    <a:pt x="801" y="1326"/>
                  </a:lnTo>
                  <a:lnTo>
                    <a:pt x="752" y="1352"/>
                  </a:lnTo>
                  <a:lnTo>
                    <a:pt x="742" y="1330"/>
                  </a:lnTo>
                  <a:lnTo>
                    <a:pt x="670" y="1377"/>
                  </a:lnTo>
                  <a:lnTo>
                    <a:pt x="632" y="1385"/>
                  </a:lnTo>
                  <a:lnTo>
                    <a:pt x="595" y="1352"/>
                  </a:lnTo>
                  <a:lnTo>
                    <a:pt x="563" y="1273"/>
                  </a:lnTo>
                  <a:lnTo>
                    <a:pt x="528" y="1206"/>
                  </a:lnTo>
                  <a:lnTo>
                    <a:pt x="500" y="1163"/>
                  </a:lnTo>
                  <a:lnTo>
                    <a:pt x="445" y="1078"/>
                  </a:lnTo>
                  <a:lnTo>
                    <a:pt x="396" y="1076"/>
                  </a:lnTo>
                  <a:lnTo>
                    <a:pt x="362" y="1025"/>
                  </a:lnTo>
                  <a:lnTo>
                    <a:pt x="378" y="988"/>
                  </a:lnTo>
                  <a:lnTo>
                    <a:pt x="349" y="954"/>
                  </a:lnTo>
                  <a:lnTo>
                    <a:pt x="303" y="1004"/>
                  </a:lnTo>
                  <a:lnTo>
                    <a:pt x="260" y="1011"/>
                  </a:lnTo>
                  <a:lnTo>
                    <a:pt x="227" y="950"/>
                  </a:lnTo>
                  <a:lnTo>
                    <a:pt x="215" y="834"/>
                  </a:lnTo>
                  <a:lnTo>
                    <a:pt x="211" y="712"/>
                  </a:lnTo>
                  <a:lnTo>
                    <a:pt x="205" y="624"/>
                  </a:lnTo>
                  <a:lnTo>
                    <a:pt x="199" y="582"/>
                  </a:lnTo>
                  <a:lnTo>
                    <a:pt x="160" y="509"/>
                  </a:lnTo>
                  <a:lnTo>
                    <a:pt x="193" y="496"/>
                  </a:lnTo>
                  <a:lnTo>
                    <a:pt x="199" y="468"/>
                  </a:lnTo>
                  <a:lnTo>
                    <a:pt x="136" y="401"/>
                  </a:lnTo>
                  <a:lnTo>
                    <a:pt x="105" y="305"/>
                  </a:lnTo>
                  <a:lnTo>
                    <a:pt x="0" y="240"/>
                  </a:lnTo>
                  <a:lnTo>
                    <a:pt x="8" y="177"/>
                  </a:lnTo>
                  <a:lnTo>
                    <a:pt x="49" y="147"/>
                  </a:lnTo>
                  <a:lnTo>
                    <a:pt x="140" y="157"/>
                  </a:lnTo>
                  <a:lnTo>
                    <a:pt x="189" y="134"/>
                  </a:lnTo>
                  <a:lnTo>
                    <a:pt x="280" y="179"/>
                  </a:lnTo>
                  <a:lnTo>
                    <a:pt x="329" y="153"/>
                  </a:lnTo>
                  <a:lnTo>
                    <a:pt x="429" y="265"/>
                  </a:lnTo>
                  <a:lnTo>
                    <a:pt x="496" y="267"/>
                  </a:lnTo>
                  <a:lnTo>
                    <a:pt x="496" y="200"/>
                  </a:lnTo>
                  <a:lnTo>
                    <a:pt x="563" y="157"/>
                  </a:lnTo>
                  <a:lnTo>
                    <a:pt x="610" y="200"/>
                  </a:lnTo>
                  <a:lnTo>
                    <a:pt x="644" y="167"/>
                  </a:lnTo>
                  <a:lnTo>
                    <a:pt x="687" y="187"/>
                  </a:lnTo>
                  <a:lnTo>
                    <a:pt x="709" y="120"/>
                  </a:lnTo>
                  <a:lnTo>
                    <a:pt x="673" y="86"/>
                  </a:lnTo>
                  <a:lnTo>
                    <a:pt x="677" y="35"/>
                  </a:lnTo>
                  <a:lnTo>
                    <a:pt x="774" y="0"/>
                  </a:lnTo>
                  <a:lnTo>
                    <a:pt x="807" y="17"/>
                  </a:lnTo>
                  <a:lnTo>
                    <a:pt x="833" y="88"/>
                  </a:lnTo>
                  <a:lnTo>
                    <a:pt x="914" y="161"/>
                  </a:lnTo>
                  <a:lnTo>
                    <a:pt x="961" y="138"/>
                  </a:lnTo>
                  <a:lnTo>
                    <a:pt x="988" y="216"/>
                  </a:lnTo>
                  <a:lnTo>
                    <a:pt x="1044" y="260"/>
                  </a:lnTo>
                  <a:lnTo>
                    <a:pt x="1091" y="267"/>
                  </a:lnTo>
                  <a:lnTo>
                    <a:pt x="1138" y="216"/>
                  </a:lnTo>
                  <a:lnTo>
                    <a:pt x="1183" y="195"/>
                  </a:lnTo>
                  <a:lnTo>
                    <a:pt x="1242" y="254"/>
                  </a:lnTo>
                  <a:lnTo>
                    <a:pt x="1335" y="228"/>
                  </a:lnTo>
                  <a:lnTo>
                    <a:pt x="1433" y="269"/>
                  </a:lnTo>
                  <a:lnTo>
                    <a:pt x="1496" y="317"/>
                  </a:lnTo>
                  <a:lnTo>
                    <a:pt x="1561" y="291"/>
                  </a:lnTo>
                  <a:lnTo>
                    <a:pt x="1632" y="336"/>
                  </a:lnTo>
                  <a:lnTo>
                    <a:pt x="1679" y="336"/>
                  </a:lnTo>
                  <a:lnTo>
                    <a:pt x="1681" y="368"/>
                  </a:lnTo>
                  <a:lnTo>
                    <a:pt x="1795" y="356"/>
                  </a:lnTo>
                  <a:lnTo>
                    <a:pt x="1823" y="433"/>
                  </a:lnTo>
                  <a:lnTo>
                    <a:pt x="1821" y="519"/>
                  </a:lnTo>
                  <a:lnTo>
                    <a:pt x="1770" y="527"/>
                  </a:lnTo>
                  <a:lnTo>
                    <a:pt x="1727" y="576"/>
                  </a:lnTo>
                  <a:lnTo>
                    <a:pt x="1620" y="584"/>
                  </a:lnTo>
                  <a:lnTo>
                    <a:pt x="1587" y="618"/>
                  </a:lnTo>
                  <a:lnTo>
                    <a:pt x="1610" y="693"/>
                  </a:lnTo>
                  <a:lnTo>
                    <a:pt x="1669" y="771"/>
                  </a:lnTo>
                  <a:lnTo>
                    <a:pt x="1721" y="815"/>
                  </a:lnTo>
                  <a:lnTo>
                    <a:pt x="1732" y="905"/>
                  </a:lnTo>
                  <a:lnTo>
                    <a:pt x="1731" y="956"/>
                  </a:lnTo>
                  <a:lnTo>
                    <a:pt x="1669" y="984"/>
                  </a:lnTo>
                  <a:lnTo>
                    <a:pt x="1616" y="913"/>
                  </a:lnTo>
                  <a:lnTo>
                    <a:pt x="1591" y="905"/>
                  </a:lnTo>
                  <a:lnTo>
                    <a:pt x="1575" y="838"/>
                  </a:lnTo>
                  <a:lnTo>
                    <a:pt x="1516" y="856"/>
                  </a:lnTo>
                  <a:lnTo>
                    <a:pt x="1463" y="818"/>
                  </a:lnTo>
                  <a:lnTo>
                    <a:pt x="1445" y="838"/>
                  </a:lnTo>
                  <a:lnTo>
                    <a:pt x="1457" y="880"/>
                  </a:lnTo>
                  <a:lnTo>
                    <a:pt x="1421" y="895"/>
                  </a:lnTo>
                  <a:lnTo>
                    <a:pt x="1362" y="909"/>
                  </a:lnTo>
                  <a:lnTo>
                    <a:pt x="1378" y="958"/>
                  </a:lnTo>
                  <a:lnTo>
                    <a:pt x="1313" y="950"/>
                  </a:lnTo>
                  <a:lnTo>
                    <a:pt x="1248" y="907"/>
                  </a:lnTo>
                  <a:lnTo>
                    <a:pt x="1197" y="944"/>
                  </a:lnTo>
                  <a:lnTo>
                    <a:pt x="1201" y="986"/>
                  </a:lnTo>
                  <a:lnTo>
                    <a:pt x="1252" y="1009"/>
                  </a:lnTo>
                  <a:lnTo>
                    <a:pt x="1280" y="1009"/>
                  </a:lnTo>
                  <a:lnTo>
                    <a:pt x="1301" y="1068"/>
                  </a:lnTo>
                </a:path>
              </a:pathLst>
            </a:custGeom>
            <a:grpFill/>
            <a:ln w="6350">
              <a:solidFill>
                <a:schemeClr val="bg1"/>
              </a:solidFill>
              <a:prstDash val="solid"/>
              <a:round/>
            </a:ln>
          </p:spPr>
          <p:txBody>
            <a:bodyPr/>
            <a:lstStyle/>
            <a:p>
              <a:endParaRPr lang="zh-CN" altLang="en-US"/>
            </a:p>
          </p:txBody>
        </p:sp>
        <p:sp>
          <p:nvSpPr>
            <p:cNvPr id="71" name="Freeform 113"/>
            <p:cNvSpPr/>
            <p:nvPr/>
          </p:nvSpPr>
          <p:spPr bwMode="gray">
            <a:xfrm>
              <a:off x="2685" y="3045"/>
              <a:ext cx="453" cy="398"/>
            </a:xfrm>
            <a:custGeom>
              <a:avLst/>
              <a:gdLst>
                <a:gd name="T0" fmla="*/ 221 w 907"/>
                <a:gd name="T1" fmla="*/ 85 h 796"/>
                <a:gd name="T2" fmla="*/ 221 w 907"/>
                <a:gd name="T3" fmla="*/ 106 h 796"/>
                <a:gd name="T4" fmla="*/ 226 w 907"/>
                <a:gd name="T5" fmla="*/ 130 h 796"/>
                <a:gd name="T6" fmla="*/ 217 w 907"/>
                <a:gd name="T7" fmla="*/ 139 h 796"/>
                <a:gd name="T8" fmla="*/ 209 w 907"/>
                <a:gd name="T9" fmla="*/ 152 h 796"/>
                <a:gd name="T10" fmla="*/ 195 w 907"/>
                <a:gd name="T11" fmla="*/ 160 h 796"/>
                <a:gd name="T12" fmla="*/ 179 w 907"/>
                <a:gd name="T13" fmla="*/ 159 h 796"/>
                <a:gd name="T14" fmla="*/ 165 w 907"/>
                <a:gd name="T15" fmla="*/ 174 h 796"/>
                <a:gd name="T16" fmla="*/ 150 w 907"/>
                <a:gd name="T17" fmla="*/ 168 h 796"/>
                <a:gd name="T18" fmla="*/ 134 w 907"/>
                <a:gd name="T19" fmla="*/ 164 h 796"/>
                <a:gd name="T20" fmla="*/ 120 w 907"/>
                <a:gd name="T21" fmla="*/ 174 h 796"/>
                <a:gd name="T22" fmla="*/ 105 w 907"/>
                <a:gd name="T23" fmla="*/ 184 h 796"/>
                <a:gd name="T24" fmla="*/ 98 w 907"/>
                <a:gd name="T25" fmla="*/ 196 h 796"/>
                <a:gd name="T26" fmla="*/ 70 w 907"/>
                <a:gd name="T27" fmla="*/ 185 h 796"/>
                <a:gd name="T28" fmla="*/ 48 w 907"/>
                <a:gd name="T29" fmla="*/ 199 h 796"/>
                <a:gd name="T30" fmla="*/ 44 w 907"/>
                <a:gd name="T31" fmla="*/ 187 h 796"/>
                <a:gd name="T32" fmla="*/ 34 w 907"/>
                <a:gd name="T33" fmla="*/ 168 h 796"/>
                <a:gd name="T34" fmla="*/ 41 w 907"/>
                <a:gd name="T35" fmla="*/ 126 h 796"/>
                <a:gd name="T36" fmla="*/ 27 w 907"/>
                <a:gd name="T37" fmla="*/ 116 h 796"/>
                <a:gd name="T38" fmla="*/ 6 w 907"/>
                <a:gd name="T39" fmla="*/ 118 h 796"/>
                <a:gd name="T40" fmla="*/ 0 w 907"/>
                <a:gd name="T41" fmla="*/ 98 h 796"/>
                <a:gd name="T42" fmla="*/ 21 w 907"/>
                <a:gd name="T43" fmla="*/ 88 h 796"/>
                <a:gd name="T44" fmla="*/ 30 w 907"/>
                <a:gd name="T45" fmla="*/ 86 h 796"/>
                <a:gd name="T46" fmla="*/ 59 w 907"/>
                <a:gd name="T47" fmla="*/ 83 h 796"/>
                <a:gd name="T48" fmla="*/ 78 w 907"/>
                <a:gd name="T49" fmla="*/ 69 h 796"/>
                <a:gd name="T50" fmla="*/ 98 w 907"/>
                <a:gd name="T51" fmla="*/ 48 h 796"/>
                <a:gd name="T52" fmla="*/ 78 w 907"/>
                <a:gd name="T53" fmla="*/ 42 h 796"/>
                <a:gd name="T54" fmla="*/ 90 w 907"/>
                <a:gd name="T55" fmla="*/ 22 h 796"/>
                <a:gd name="T56" fmla="*/ 122 w 907"/>
                <a:gd name="T57" fmla="*/ 35 h 796"/>
                <a:gd name="T58" fmla="*/ 132 w 907"/>
                <a:gd name="T59" fmla="*/ 19 h 796"/>
                <a:gd name="T60" fmla="*/ 139 w 907"/>
                <a:gd name="T61" fmla="*/ 5 h 796"/>
                <a:gd name="T62" fmla="*/ 157 w 907"/>
                <a:gd name="T63" fmla="*/ 9 h 796"/>
                <a:gd name="T64" fmla="*/ 175 w 907"/>
                <a:gd name="T65" fmla="*/ 22 h 796"/>
                <a:gd name="T66" fmla="*/ 195 w 907"/>
                <a:gd name="T67" fmla="*/ 41 h 796"/>
                <a:gd name="T68" fmla="*/ 216 w 907"/>
                <a:gd name="T69" fmla="*/ 52 h 796"/>
                <a:gd name="T70" fmla="*/ 208 w 907"/>
                <a:gd name="T71" fmla="*/ 78 h 79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907"/>
                <a:gd name="T109" fmla="*/ 0 h 796"/>
                <a:gd name="T110" fmla="*/ 907 w 907"/>
                <a:gd name="T111" fmla="*/ 796 h 79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907" h="796">
                  <a:moveTo>
                    <a:pt x="817" y="333"/>
                  </a:moveTo>
                  <a:lnTo>
                    <a:pt x="884" y="339"/>
                  </a:lnTo>
                  <a:lnTo>
                    <a:pt x="905" y="372"/>
                  </a:lnTo>
                  <a:lnTo>
                    <a:pt x="884" y="424"/>
                  </a:lnTo>
                  <a:lnTo>
                    <a:pt x="880" y="475"/>
                  </a:lnTo>
                  <a:lnTo>
                    <a:pt x="907" y="520"/>
                  </a:lnTo>
                  <a:lnTo>
                    <a:pt x="882" y="569"/>
                  </a:lnTo>
                  <a:lnTo>
                    <a:pt x="870" y="555"/>
                  </a:lnTo>
                  <a:lnTo>
                    <a:pt x="837" y="567"/>
                  </a:lnTo>
                  <a:lnTo>
                    <a:pt x="837" y="607"/>
                  </a:lnTo>
                  <a:lnTo>
                    <a:pt x="801" y="607"/>
                  </a:lnTo>
                  <a:lnTo>
                    <a:pt x="783" y="640"/>
                  </a:lnTo>
                  <a:lnTo>
                    <a:pt x="746" y="620"/>
                  </a:lnTo>
                  <a:lnTo>
                    <a:pt x="717" y="636"/>
                  </a:lnTo>
                  <a:lnTo>
                    <a:pt x="709" y="670"/>
                  </a:lnTo>
                  <a:lnTo>
                    <a:pt x="663" y="695"/>
                  </a:lnTo>
                  <a:lnTo>
                    <a:pt x="640" y="674"/>
                  </a:lnTo>
                  <a:lnTo>
                    <a:pt x="600" y="670"/>
                  </a:lnTo>
                  <a:lnTo>
                    <a:pt x="579" y="630"/>
                  </a:lnTo>
                  <a:lnTo>
                    <a:pt x="539" y="654"/>
                  </a:lnTo>
                  <a:lnTo>
                    <a:pt x="530" y="683"/>
                  </a:lnTo>
                  <a:lnTo>
                    <a:pt x="480" y="695"/>
                  </a:lnTo>
                  <a:lnTo>
                    <a:pt x="449" y="725"/>
                  </a:lnTo>
                  <a:lnTo>
                    <a:pt x="421" y="735"/>
                  </a:lnTo>
                  <a:lnTo>
                    <a:pt x="417" y="756"/>
                  </a:lnTo>
                  <a:lnTo>
                    <a:pt x="392" y="782"/>
                  </a:lnTo>
                  <a:lnTo>
                    <a:pt x="337" y="774"/>
                  </a:lnTo>
                  <a:lnTo>
                    <a:pt x="283" y="740"/>
                  </a:lnTo>
                  <a:lnTo>
                    <a:pt x="246" y="742"/>
                  </a:lnTo>
                  <a:lnTo>
                    <a:pt x="193" y="794"/>
                  </a:lnTo>
                  <a:lnTo>
                    <a:pt x="142" y="796"/>
                  </a:lnTo>
                  <a:lnTo>
                    <a:pt x="179" y="746"/>
                  </a:lnTo>
                  <a:lnTo>
                    <a:pt x="177" y="691"/>
                  </a:lnTo>
                  <a:lnTo>
                    <a:pt x="136" y="672"/>
                  </a:lnTo>
                  <a:lnTo>
                    <a:pt x="114" y="628"/>
                  </a:lnTo>
                  <a:lnTo>
                    <a:pt x="165" y="504"/>
                  </a:lnTo>
                  <a:lnTo>
                    <a:pt x="130" y="459"/>
                  </a:lnTo>
                  <a:lnTo>
                    <a:pt x="108" y="465"/>
                  </a:lnTo>
                  <a:lnTo>
                    <a:pt x="67" y="485"/>
                  </a:lnTo>
                  <a:lnTo>
                    <a:pt x="26" y="473"/>
                  </a:lnTo>
                  <a:lnTo>
                    <a:pt x="22" y="418"/>
                  </a:lnTo>
                  <a:lnTo>
                    <a:pt x="0" y="390"/>
                  </a:lnTo>
                  <a:lnTo>
                    <a:pt x="55" y="329"/>
                  </a:lnTo>
                  <a:lnTo>
                    <a:pt x="85" y="351"/>
                  </a:lnTo>
                  <a:lnTo>
                    <a:pt x="108" y="325"/>
                  </a:lnTo>
                  <a:lnTo>
                    <a:pt x="122" y="341"/>
                  </a:lnTo>
                  <a:lnTo>
                    <a:pt x="191" y="341"/>
                  </a:lnTo>
                  <a:lnTo>
                    <a:pt x="238" y="331"/>
                  </a:lnTo>
                  <a:lnTo>
                    <a:pt x="254" y="266"/>
                  </a:lnTo>
                  <a:lnTo>
                    <a:pt x="315" y="276"/>
                  </a:lnTo>
                  <a:lnTo>
                    <a:pt x="413" y="248"/>
                  </a:lnTo>
                  <a:lnTo>
                    <a:pt x="392" y="189"/>
                  </a:lnTo>
                  <a:lnTo>
                    <a:pt x="364" y="189"/>
                  </a:lnTo>
                  <a:lnTo>
                    <a:pt x="313" y="166"/>
                  </a:lnTo>
                  <a:lnTo>
                    <a:pt x="309" y="124"/>
                  </a:lnTo>
                  <a:lnTo>
                    <a:pt x="360" y="87"/>
                  </a:lnTo>
                  <a:lnTo>
                    <a:pt x="421" y="128"/>
                  </a:lnTo>
                  <a:lnTo>
                    <a:pt x="490" y="138"/>
                  </a:lnTo>
                  <a:lnTo>
                    <a:pt x="476" y="89"/>
                  </a:lnTo>
                  <a:lnTo>
                    <a:pt x="531" y="75"/>
                  </a:lnTo>
                  <a:lnTo>
                    <a:pt x="569" y="60"/>
                  </a:lnTo>
                  <a:lnTo>
                    <a:pt x="557" y="18"/>
                  </a:lnTo>
                  <a:lnTo>
                    <a:pt x="577" y="0"/>
                  </a:lnTo>
                  <a:lnTo>
                    <a:pt x="628" y="36"/>
                  </a:lnTo>
                  <a:lnTo>
                    <a:pt x="687" y="18"/>
                  </a:lnTo>
                  <a:lnTo>
                    <a:pt x="703" y="85"/>
                  </a:lnTo>
                  <a:lnTo>
                    <a:pt x="728" y="93"/>
                  </a:lnTo>
                  <a:lnTo>
                    <a:pt x="781" y="164"/>
                  </a:lnTo>
                  <a:lnTo>
                    <a:pt x="843" y="136"/>
                  </a:lnTo>
                  <a:lnTo>
                    <a:pt x="864" y="209"/>
                  </a:lnTo>
                  <a:lnTo>
                    <a:pt x="884" y="280"/>
                  </a:lnTo>
                  <a:lnTo>
                    <a:pt x="833" y="309"/>
                  </a:lnTo>
                  <a:lnTo>
                    <a:pt x="817" y="333"/>
                  </a:lnTo>
                  <a:close/>
                </a:path>
              </a:pathLst>
            </a:custGeom>
            <a:grpFill/>
            <a:ln w="0">
              <a:solidFill>
                <a:schemeClr val="bg1"/>
              </a:solidFill>
              <a:prstDash val="solid"/>
              <a:round/>
            </a:ln>
          </p:spPr>
          <p:txBody>
            <a:bodyPr/>
            <a:lstStyle/>
            <a:p>
              <a:endParaRPr lang="zh-CN" altLang="en-US"/>
            </a:p>
          </p:txBody>
        </p:sp>
        <p:sp>
          <p:nvSpPr>
            <p:cNvPr id="73" name="Freeform 114"/>
            <p:cNvSpPr/>
            <p:nvPr/>
          </p:nvSpPr>
          <p:spPr bwMode="gray">
            <a:xfrm>
              <a:off x="2685" y="3045"/>
              <a:ext cx="453" cy="398"/>
            </a:xfrm>
            <a:custGeom>
              <a:avLst/>
              <a:gdLst>
                <a:gd name="T0" fmla="*/ 221 w 907"/>
                <a:gd name="T1" fmla="*/ 85 h 796"/>
                <a:gd name="T2" fmla="*/ 221 w 907"/>
                <a:gd name="T3" fmla="*/ 106 h 796"/>
                <a:gd name="T4" fmla="*/ 226 w 907"/>
                <a:gd name="T5" fmla="*/ 130 h 796"/>
                <a:gd name="T6" fmla="*/ 217 w 907"/>
                <a:gd name="T7" fmla="*/ 139 h 796"/>
                <a:gd name="T8" fmla="*/ 209 w 907"/>
                <a:gd name="T9" fmla="*/ 152 h 796"/>
                <a:gd name="T10" fmla="*/ 195 w 907"/>
                <a:gd name="T11" fmla="*/ 160 h 796"/>
                <a:gd name="T12" fmla="*/ 179 w 907"/>
                <a:gd name="T13" fmla="*/ 159 h 796"/>
                <a:gd name="T14" fmla="*/ 165 w 907"/>
                <a:gd name="T15" fmla="*/ 174 h 796"/>
                <a:gd name="T16" fmla="*/ 150 w 907"/>
                <a:gd name="T17" fmla="*/ 168 h 796"/>
                <a:gd name="T18" fmla="*/ 134 w 907"/>
                <a:gd name="T19" fmla="*/ 164 h 796"/>
                <a:gd name="T20" fmla="*/ 120 w 907"/>
                <a:gd name="T21" fmla="*/ 174 h 796"/>
                <a:gd name="T22" fmla="*/ 105 w 907"/>
                <a:gd name="T23" fmla="*/ 184 h 796"/>
                <a:gd name="T24" fmla="*/ 98 w 907"/>
                <a:gd name="T25" fmla="*/ 196 h 796"/>
                <a:gd name="T26" fmla="*/ 70 w 907"/>
                <a:gd name="T27" fmla="*/ 185 h 796"/>
                <a:gd name="T28" fmla="*/ 48 w 907"/>
                <a:gd name="T29" fmla="*/ 199 h 796"/>
                <a:gd name="T30" fmla="*/ 44 w 907"/>
                <a:gd name="T31" fmla="*/ 187 h 796"/>
                <a:gd name="T32" fmla="*/ 34 w 907"/>
                <a:gd name="T33" fmla="*/ 168 h 796"/>
                <a:gd name="T34" fmla="*/ 41 w 907"/>
                <a:gd name="T35" fmla="*/ 126 h 796"/>
                <a:gd name="T36" fmla="*/ 27 w 907"/>
                <a:gd name="T37" fmla="*/ 116 h 796"/>
                <a:gd name="T38" fmla="*/ 6 w 907"/>
                <a:gd name="T39" fmla="*/ 118 h 796"/>
                <a:gd name="T40" fmla="*/ 0 w 907"/>
                <a:gd name="T41" fmla="*/ 98 h 796"/>
                <a:gd name="T42" fmla="*/ 21 w 907"/>
                <a:gd name="T43" fmla="*/ 88 h 796"/>
                <a:gd name="T44" fmla="*/ 30 w 907"/>
                <a:gd name="T45" fmla="*/ 86 h 796"/>
                <a:gd name="T46" fmla="*/ 59 w 907"/>
                <a:gd name="T47" fmla="*/ 83 h 796"/>
                <a:gd name="T48" fmla="*/ 78 w 907"/>
                <a:gd name="T49" fmla="*/ 69 h 796"/>
                <a:gd name="T50" fmla="*/ 98 w 907"/>
                <a:gd name="T51" fmla="*/ 48 h 796"/>
                <a:gd name="T52" fmla="*/ 78 w 907"/>
                <a:gd name="T53" fmla="*/ 42 h 796"/>
                <a:gd name="T54" fmla="*/ 90 w 907"/>
                <a:gd name="T55" fmla="*/ 22 h 796"/>
                <a:gd name="T56" fmla="*/ 122 w 907"/>
                <a:gd name="T57" fmla="*/ 35 h 796"/>
                <a:gd name="T58" fmla="*/ 132 w 907"/>
                <a:gd name="T59" fmla="*/ 19 h 796"/>
                <a:gd name="T60" fmla="*/ 139 w 907"/>
                <a:gd name="T61" fmla="*/ 5 h 796"/>
                <a:gd name="T62" fmla="*/ 157 w 907"/>
                <a:gd name="T63" fmla="*/ 9 h 796"/>
                <a:gd name="T64" fmla="*/ 175 w 907"/>
                <a:gd name="T65" fmla="*/ 22 h 796"/>
                <a:gd name="T66" fmla="*/ 195 w 907"/>
                <a:gd name="T67" fmla="*/ 41 h 796"/>
                <a:gd name="T68" fmla="*/ 216 w 907"/>
                <a:gd name="T69" fmla="*/ 52 h 796"/>
                <a:gd name="T70" fmla="*/ 208 w 907"/>
                <a:gd name="T71" fmla="*/ 78 h 79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907"/>
                <a:gd name="T109" fmla="*/ 0 h 796"/>
                <a:gd name="T110" fmla="*/ 907 w 907"/>
                <a:gd name="T111" fmla="*/ 796 h 79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907" h="796">
                  <a:moveTo>
                    <a:pt x="817" y="333"/>
                  </a:moveTo>
                  <a:lnTo>
                    <a:pt x="884" y="339"/>
                  </a:lnTo>
                  <a:lnTo>
                    <a:pt x="905" y="372"/>
                  </a:lnTo>
                  <a:lnTo>
                    <a:pt x="884" y="424"/>
                  </a:lnTo>
                  <a:lnTo>
                    <a:pt x="880" y="475"/>
                  </a:lnTo>
                  <a:lnTo>
                    <a:pt x="907" y="520"/>
                  </a:lnTo>
                  <a:lnTo>
                    <a:pt x="882" y="569"/>
                  </a:lnTo>
                  <a:lnTo>
                    <a:pt x="870" y="555"/>
                  </a:lnTo>
                  <a:lnTo>
                    <a:pt x="837" y="567"/>
                  </a:lnTo>
                  <a:lnTo>
                    <a:pt x="837" y="607"/>
                  </a:lnTo>
                  <a:lnTo>
                    <a:pt x="801" y="607"/>
                  </a:lnTo>
                  <a:lnTo>
                    <a:pt x="783" y="640"/>
                  </a:lnTo>
                  <a:lnTo>
                    <a:pt x="746" y="620"/>
                  </a:lnTo>
                  <a:lnTo>
                    <a:pt x="717" y="636"/>
                  </a:lnTo>
                  <a:lnTo>
                    <a:pt x="709" y="670"/>
                  </a:lnTo>
                  <a:lnTo>
                    <a:pt x="663" y="695"/>
                  </a:lnTo>
                  <a:lnTo>
                    <a:pt x="640" y="674"/>
                  </a:lnTo>
                  <a:lnTo>
                    <a:pt x="600" y="670"/>
                  </a:lnTo>
                  <a:lnTo>
                    <a:pt x="579" y="630"/>
                  </a:lnTo>
                  <a:lnTo>
                    <a:pt x="539" y="654"/>
                  </a:lnTo>
                  <a:lnTo>
                    <a:pt x="530" y="683"/>
                  </a:lnTo>
                  <a:lnTo>
                    <a:pt x="480" y="695"/>
                  </a:lnTo>
                  <a:lnTo>
                    <a:pt x="449" y="725"/>
                  </a:lnTo>
                  <a:lnTo>
                    <a:pt x="421" y="735"/>
                  </a:lnTo>
                  <a:lnTo>
                    <a:pt x="417" y="756"/>
                  </a:lnTo>
                  <a:lnTo>
                    <a:pt x="392" y="782"/>
                  </a:lnTo>
                  <a:lnTo>
                    <a:pt x="337" y="774"/>
                  </a:lnTo>
                  <a:lnTo>
                    <a:pt x="283" y="740"/>
                  </a:lnTo>
                  <a:lnTo>
                    <a:pt x="246" y="742"/>
                  </a:lnTo>
                  <a:lnTo>
                    <a:pt x="193" y="794"/>
                  </a:lnTo>
                  <a:lnTo>
                    <a:pt x="142" y="796"/>
                  </a:lnTo>
                  <a:lnTo>
                    <a:pt x="179" y="746"/>
                  </a:lnTo>
                  <a:lnTo>
                    <a:pt x="177" y="691"/>
                  </a:lnTo>
                  <a:lnTo>
                    <a:pt x="136" y="672"/>
                  </a:lnTo>
                  <a:lnTo>
                    <a:pt x="114" y="628"/>
                  </a:lnTo>
                  <a:lnTo>
                    <a:pt x="165" y="504"/>
                  </a:lnTo>
                  <a:lnTo>
                    <a:pt x="130" y="459"/>
                  </a:lnTo>
                  <a:lnTo>
                    <a:pt x="108" y="465"/>
                  </a:lnTo>
                  <a:lnTo>
                    <a:pt x="67" y="485"/>
                  </a:lnTo>
                  <a:lnTo>
                    <a:pt x="26" y="473"/>
                  </a:lnTo>
                  <a:lnTo>
                    <a:pt x="22" y="418"/>
                  </a:lnTo>
                  <a:lnTo>
                    <a:pt x="0" y="390"/>
                  </a:lnTo>
                  <a:lnTo>
                    <a:pt x="55" y="329"/>
                  </a:lnTo>
                  <a:lnTo>
                    <a:pt x="85" y="351"/>
                  </a:lnTo>
                  <a:lnTo>
                    <a:pt x="108" y="325"/>
                  </a:lnTo>
                  <a:lnTo>
                    <a:pt x="122" y="341"/>
                  </a:lnTo>
                  <a:lnTo>
                    <a:pt x="191" y="341"/>
                  </a:lnTo>
                  <a:lnTo>
                    <a:pt x="238" y="331"/>
                  </a:lnTo>
                  <a:lnTo>
                    <a:pt x="254" y="266"/>
                  </a:lnTo>
                  <a:lnTo>
                    <a:pt x="315" y="276"/>
                  </a:lnTo>
                  <a:lnTo>
                    <a:pt x="413" y="248"/>
                  </a:lnTo>
                  <a:lnTo>
                    <a:pt x="392" y="189"/>
                  </a:lnTo>
                  <a:lnTo>
                    <a:pt x="364" y="189"/>
                  </a:lnTo>
                  <a:lnTo>
                    <a:pt x="313" y="166"/>
                  </a:lnTo>
                  <a:lnTo>
                    <a:pt x="309" y="124"/>
                  </a:lnTo>
                  <a:lnTo>
                    <a:pt x="360" y="87"/>
                  </a:lnTo>
                  <a:lnTo>
                    <a:pt x="421" y="128"/>
                  </a:lnTo>
                  <a:lnTo>
                    <a:pt x="490" y="138"/>
                  </a:lnTo>
                  <a:lnTo>
                    <a:pt x="476" y="89"/>
                  </a:lnTo>
                  <a:lnTo>
                    <a:pt x="531" y="75"/>
                  </a:lnTo>
                  <a:lnTo>
                    <a:pt x="569" y="60"/>
                  </a:lnTo>
                  <a:lnTo>
                    <a:pt x="557" y="18"/>
                  </a:lnTo>
                  <a:lnTo>
                    <a:pt x="577" y="0"/>
                  </a:lnTo>
                  <a:lnTo>
                    <a:pt x="628" y="36"/>
                  </a:lnTo>
                  <a:lnTo>
                    <a:pt x="687" y="18"/>
                  </a:lnTo>
                  <a:lnTo>
                    <a:pt x="703" y="85"/>
                  </a:lnTo>
                  <a:lnTo>
                    <a:pt x="728" y="93"/>
                  </a:lnTo>
                  <a:lnTo>
                    <a:pt x="781" y="164"/>
                  </a:lnTo>
                  <a:lnTo>
                    <a:pt x="843" y="136"/>
                  </a:lnTo>
                  <a:lnTo>
                    <a:pt x="864" y="209"/>
                  </a:lnTo>
                  <a:lnTo>
                    <a:pt x="884" y="280"/>
                  </a:lnTo>
                  <a:lnTo>
                    <a:pt x="833" y="309"/>
                  </a:lnTo>
                  <a:lnTo>
                    <a:pt x="817" y="333"/>
                  </a:lnTo>
                </a:path>
              </a:pathLst>
            </a:custGeom>
            <a:grpFill/>
            <a:ln w="6350">
              <a:solidFill>
                <a:schemeClr val="bg1"/>
              </a:solidFill>
              <a:prstDash val="solid"/>
              <a:round/>
            </a:ln>
          </p:spPr>
          <p:txBody>
            <a:bodyPr/>
            <a:lstStyle/>
            <a:p>
              <a:endParaRPr lang="zh-CN" altLang="en-US"/>
            </a:p>
          </p:txBody>
        </p:sp>
        <p:sp>
          <p:nvSpPr>
            <p:cNvPr id="74" name="Freeform 115"/>
            <p:cNvSpPr/>
            <p:nvPr/>
          </p:nvSpPr>
          <p:spPr bwMode="gray">
            <a:xfrm>
              <a:off x="3094" y="2950"/>
              <a:ext cx="402" cy="458"/>
            </a:xfrm>
            <a:custGeom>
              <a:avLst/>
              <a:gdLst>
                <a:gd name="T0" fmla="*/ 186 w 805"/>
                <a:gd name="T1" fmla="*/ 44 h 917"/>
                <a:gd name="T2" fmla="*/ 191 w 805"/>
                <a:gd name="T3" fmla="*/ 62 h 917"/>
                <a:gd name="T4" fmla="*/ 185 w 805"/>
                <a:gd name="T5" fmla="*/ 74 h 917"/>
                <a:gd name="T6" fmla="*/ 176 w 805"/>
                <a:gd name="T7" fmla="*/ 80 h 917"/>
                <a:gd name="T8" fmla="*/ 171 w 805"/>
                <a:gd name="T9" fmla="*/ 98 h 917"/>
                <a:gd name="T10" fmla="*/ 184 w 805"/>
                <a:gd name="T11" fmla="*/ 111 h 917"/>
                <a:gd name="T12" fmla="*/ 186 w 805"/>
                <a:gd name="T13" fmla="*/ 132 h 917"/>
                <a:gd name="T14" fmla="*/ 196 w 805"/>
                <a:gd name="T15" fmla="*/ 139 h 917"/>
                <a:gd name="T16" fmla="*/ 201 w 805"/>
                <a:gd name="T17" fmla="*/ 156 h 917"/>
                <a:gd name="T18" fmla="*/ 194 w 805"/>
                <a:gd name="T19" fmla="*/ 172 h 917"/>
                <a:gd name="T20" fmla="*/ 195 w 805"/>
                <a:gd name="T21" fmla="*/ 186 h 917"/>
                <a:gd name="T22" fmla="*/ 181 w 805"/>
                <a:gd name="T23" fmla="*/ 194 h 917"/>
                <a:gd name="T24" fmla="*/ 168 w 805"/>
                <a:gd name="T25" fmla="*/ 186 h 917"/>
                <a:gd name="T26" fmla="*/ 143 w 805"/>
                <a:gd name="T27" fmla="*/ 204 h 917"/>
                <a:gd name="T28" fmla="*/ 129 w 805"/>
                <a:gd name="T29" fmla="*/ 206 h 917"/>
                <a:gd name="T30" fmla="*/ 129 w 805"/>
                <a:gd name="T31" fmla="*/ 220 h 917"/>
                <a:gd name="T32" fmla="*/ 123 w 805"/>
                <a:gd name="T33" fmla="*/ 223 h 917"/>
                <a:gd name="T34" fmla="*/ 114 w 805"/>
                <a:gd name="T35" fmla="*/ 223 h 917"/>
                <a:gd name="T36" fmla="*/ 104 w 805"/>
                <a:gd name="T37" fmla="*/ 229 h 917"/>
                <a:gd name="T38" fmla="*/ 104 w 805"/>
                <a:gd name="T39" fmla="*/ 218 h 917"/>
                <a:gd name="T40" fmla="*/ 100 w 805"/>
                <a:gd name="T41" fmla="*/ 212 h 917"/>
                <a:gd name="T42" fmla="*/ 83 w 805"/>
                <a:gd name="T43" fmla="*/ 212 h 917"/>
                <a:gd name="T44" fmla="*/ 96 w 805"/>
                <a:gd name="T45" fmla="*/ 196 h 917"/>
                <a:gd name="T46" fmla="*/ 97 w 805"/>
                <a:gd name="T47" fmla="*/ 181 h 917"/>
                <a:gd name="T48" fmla="*/ 90 w 805"/>
                <a:gd name="T49" fmla="*/ 176 h 917"/>
                <a:gd name="T50" fmla="*/ 90 w 805"/>
                <a:gd name="T51" fmla="*/ 161 h 917"/>
                <a:gd name="T52" fmla="*/ 82 w 805"/>
                <a:gd name="T53" fmla="*/ 159 h 917"/>
                <a:gd name="T54" fmla="*/ 74 w 805"/>
                <a:gd name="T55" fmla="*/ 163 h 917"/>
                <a:gd name="T56" fmla="*/ 64 w 805"/>
                <a:gd name="T57" fmla="*/ 160 h 917"/>
                <a:gd name="T58" fmla="*/ 53 w 805"/>
                <a:gd name="T59" fmla="*/ 175 h 917"/>
                <a:gd name="T60" fmla="*/ 47 w 805"/>
                <a:gd name="T61" fmla="*/ 168 h 917"/>
                <a:gd name="T62" fmla="*/ 40 w 805"/>
                <a:gd name="T63" fmla="*/ 166 h 917"/>
                <a:gd name="T64" fmla="*/ 37 w 805"/>
                <a:gd name="T65" fmla="*/ 178 h 917"/>
                <a:gd name="T66" fmla="*/ 22 w 805"/>
                <a:gd name="T67" fmla="*/ 177 h 917"/>
                <a:gd name="T68" fmla="*/ 15 w 805"/>
                <a:gd name="T69" fmla="*/ 166 h 917"/>
                <a:gd name="T70" fmla="*/ 16 w 805"/>
                <a:gd name="T71" fmla="*/ 153 h 917"/>
                <a:gd name="T72" fmla="*/ 21 w 805"/>
                <a:gd name="T73" fmla="*/ 140 h 917"/>
                <a:gd name="T74" fmla="*/ 16 w 805"/>
                <a:gd name="T75" fmla="*/ 132 h 917"/>
                <a:gd name="T76" fmla="*/ 0 w 805"/>
                <a:gd name="T77" fmla="*/ 130 h 917"/>
                <a:gd name="T78" fmla="*/ 3 w 805"/>
                <a:gd name="T79" fmla="*/ 124 h 917"/>
                <a:gd name="T80" fmla="*/ 15 w 805"/>
                <a:gd name="T81" fmla="*/ 117 h 917"/>
                <a:gd name="T82" fmla="*/ 6 w 805"/>
                <a:gd name="T83" fmla="*/ 81 h 917"/>
                <a:gd name="T84" fmla="*/ 6 w 805"/>
                <a:gd name="T85" fmla="*/ 68 h 917"/>
                <a:gd name="T86" fmla="*/ 3 w 805"/>
                <a:gd name="T87" fmla="*/ 46 h 917"/>
                <a:gd name="T88" fmla="*/ 10 w 805"/>
                <a:gd name="T89" fmla="*/ 30 h 917"/>
                <a:gd name="T90" fmla="*/ 25 w 805"/>
                <a:gd name="T91" fmla="*/ 17 h 917"/>
                <a:gd name="T92" fmla="*/ 49 w 805"/>
                <a:gd name="T93" fmla="*/ 21 h 917"/>
                <a:gd name="T94" fmla="*/ 53 w 805"/>
                <a:gd name="T95" fmla="*/ 14 h 917"/>
                <a:gd name="T96" fmla="*/ 45 w 805"/>
                <a:gd name="T97" fmla="*/ 4 h 917"/>
                <a:gd name="T98" fmla="*/ 63 w 805"/>
                <a:gd name="T99" fmla="*/ 0 h 917"/>
                <a:gd name="T100" fmla="*/ 85 w 805"/>
                <a:gd name="T101" fmla="*/ 6 h 917"/>
                <a:gd name="T102" fmla="*/ 102 w 805"/>
                <a:gd name="T103" fmla="*/ 7 h 917"/>
                <a:gd name="T104" fmla="*/ 117 w 805"/>
                <a:gd name="T105" fmla="*/ 17 h 917"/>
                <a:gd name="T106" fmla="*/ 132 w 805"/>
                <a:gd name="T107" fmla="*/ 8 h 917"/>
                <a:gd name="T108" fmla="*/ 140 w 805"/>
                <a:gd name="T109" fmla="*/ 10 h 917"/>
                <a:gd name="T110" fmla="*/ 141 w 805"/>
                <a:gd name="T111" fmla="*/ 18 h 917"/>
                <a:gd name="T112" fmla="*/ 159 w 805"/>
                <a:gd name="T113" fmla="*/ 6 h 917"/>
                <a:gd name="T114" fmla="*/ 167 w 805"/>
                <a:gd name="T115" fmla="*/ 14 h 917"/>
                <a:gd name="T116" fmla="*/ 166 w 805"/>
                <a:gd name="T117" fmla="*/ 28 h 917"/>
                <a:gd name="T118" fmla="*/ 178 w 805"/>
                <a:gd name="T119" fmla="*/ 31 h 917"/>
                <a:gd name="T120" fmla="*/ 186 w 805"/>
                <a:gd name="T121" fmla="*/ 44 h 91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805"/>
                <a:gd name="T184" fmla="*/ 0 h 917"/>
                <a:gd name="T185" fmla="*/ 805 w 805"/>
                <a:gd name="T186" fmla="*/ 917 h 917"/>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805" h="917">
                  <a:moveTo>
                    <a:pt x="746" y="177"/>
                  </a:moveTo>
                  <a:lnTo>
                    <a:pt x="766" y="251"/>
                  </a:lnTo>
                  <a:lnTo>
                    <a:pt x="740" y="299"/>
                  </a:lnTo>
                  <a:lnTo>
                    <a:pt x="707" y="322"/>
                  </a:lnTo>
                  <a:lnTo>
                    <a:pt x="685" y="393"/>
                  </a:lnTo>
                  <a:lnTo>
                    <a:pt x="736" y="446"/>
                  </a:lnTo>
                  <a:lnTo>
                    <a:pt x="746" y="531"/>
                  </a:lnTo>
                  <a:lnTo>
                    <a:pt x="787" y="557"/>
                  </a:lnTo>
                  <a:lnTo>
                    <a:pt x="805" y="627"/>
                  </a:lnTo>
                  <a:lnTo>
                    <a:pt x="777" y="688"/>
                  </a:lnTo>
                  <a:lnTo>
                    <a:pt x="781" y="747"/>
                  </a:lnTo>
                  <a:lnTo>
                    <a:pt x="724" y="777"/>
                  </a:lnTo>
                  <a:lnTo>
                    <a:pt x="673" y="747"/>
                  </a:lnTo>
                  <a:lnTo>
                    <a:pt x="573" y="816"/>
                  </a:lnTo>
                  <a:lnTo>
                    <a:pt x="518" y="824"/>
                  </a:lnTo>
                  <a:lnTo>
                    <a:pt x="518" y="881"/>
                  </a:lnTo>
                  <a:lnTo>
                    <a:pt x="492" y="895"/>
                  </a:lnTo>
                  <a:lnTo>
                    <a:pt x="457" y="895"/>
                  </a:lnTo>
                  <a:lnTo>
                    <a:pt x="419" y="917"/>
                  </a:lnTo>
                  <a:lnTo>
                    <a:pt x="419" y="873"/>
                  </a:lnTo>
                  <a:lnTo>
                    <a:pt x="403" y="848"/>
                  </a:lnTo>
                  <a:lnTo>
                    <a:pt x="333" y="850"/>
                  </a:lnTo>
                  <a:lnTo>
                    <a:pt x="384" y="787"/>
                  </a:lnTo>
                  <a:lnTo>
                    <a:pt x="388" y="726"/>
                  </a:lnTo>
                  <a:lnTo>
                    <a:pt x="362" y="706"/>
                  </a:lnTo>
                  <a:lnTo>
                    <a:pt x="362" y="647"/>
                  </a:lnTo>
                  <a:lnTo>
                    <a:pt x="329" y="637"/>
                  </a:lnTo>
                  <a:lnTo>
                    <a:pt x="297" y="655"/>
                  </a:lnTo>
                  <a:lnTo>
                    <a:pt x="256" y="643"/>
                  </a:lnTo>
                  <a:lnTo>
                    <a:pt x="214" y="700"/>
                  </a:lnTo>
                  <a:lnTo>
                    <a:pt x="191" y="673"/>
                  </a:lnTo>
                  <a:lnTo>
                    <a:pt x="163" y="667"/>
                  </a:lnTo>
                  <a:lnTo>
                    <a:pt x="148" y="714"/>
                  </a:lnTo>
                  <a:lnTo>
                    <a:pt x="88" y="708"/>
                  </a:lnTo>
                  <a:lnTo>
                    <a:pt x="61" y="667"/>
                  </a:lnTo>
                  <a:lnTo>
                    <a:pt x="65" y="614"/>
                  </a:lnTo>
                  <a:lnTo>
                    <a:pt x="86" y="562"/>
                  </a:lnTo>
                  <a:lnTo>
                    <a:pt x="65" y="529"/>
                  </a:lnTo>
                  <a:lnTo>
                    <a:pt x="0" y="523"/>
                  </a:lnTo>
                  <a:lnTo>
                    <a:pt x="14" y="499"/>
                  </a:lnTo>
                  <a:lnTo>
                    <a:pt x="63" y="468"/>
                  </a:lnTo>
                  <a:lnTo>
                    <a:pt x="24" y="326"/>
                  </a:lnTo>
                  <a:lnTo>
                    <a:pt x="25" y="275"/>
                  </a:lnTo>
                  <a:lnTo>
                    <a:pt x="14" y="185"/>
                  </a:lnTo>
                  <a:lnTo>
                    <a:pt x="41" y="120"/>
                  </a:lnTo>
                  <a:lnTo>
                    <a:pt x="100" y="68"/>
                  </a:lnTo>
                  <a:lnTo>
                    <a:pt x="199" y="84"/>
                  </a:lnTo>
                  <a:lnTo>
                    <a:pt x="212" y="59"/>
                  </a:lnTo>
                  <a:lnTo>
                    <a:pt x="183" y="17"/>
                  </a:lnTo>
                  <a:lnTo>
                    <a:pt x="252" y="0"/>
                  </a:lnTo>
                  <a:lnTo>
                    <a:pt x="340" y="27"/>
                  </a:lnTo>
                  <a:lnTo>
                    <a:pt x="411" y="31"/>
                  </a:lnTo>
                  <a:lnTo>
                    <a:pt x="468" y="70"/>
                  </a:lnTo>
                  <a:lnTo>
                    <a:pt x="529" y="35"/>
                  </a:lnTo>
                  <a:lnTo>
                    <a:pt x="561" y="41"/>
                  </a:lnTo>
                  <a:lnTo>
                    <a:pt x="567" y="74"/>
                  </a:lnTo>
                  <a:lnTo>
                    <a:pt x="638" y="25"/>
                  </a:lnTo>
                  <a:lnTo>
                    <a:pt x="671" y="59"/>
                  </a:lnTo>
                  <a:lnTo>
                    <a:pt x="665" y="112"/>
                  </a:lnTo>
                  <a:lnTo>
                    <a:pt x="712" y="126"/>
                  </a:lnTo>
                  <a:lnTo>
                    <a:pt x="746" y="177"/>
                  </a:lnTo>
                  <a:close/>
                </a:path>
              </a:pathLst>
            </a:custGeom>
            <a:grpFill/>
            <a:ln w="0">
              <a:solidFill>
                <a:schemeClr val="bg1"/>
              </a:solidFill>
              <a:prstDash val="solid"/>
              <a:round/>
            </a:ln>
          </p:spPr>
          <p:txBody>
            <a:bodyPr/>
            <a:lstStyle/>
            <a:p>
              <a:endParaRPr lang="zh-CN" altLang="en-US"/>
            </a:p>
          </p:txBody>
        </p:sp>
        <p:sp>
          <p:nvSpPr>
            <p:cNvPr id="75" name="Freeform 116"/>
            <p:cNvSpPr/>
            <p:nvPr/>
          </p:nvSpPr>
          <p:spPr bwMode="gray">
            <a:xfrm>
              <a:off x="3094" y="2950"/>
              <a:ext cx="402" cy="458"/>
            </a:xfrm>
            <a:custGeom>
              <a:avLst/>
              <a:gdLst>
                <a:gd name="T0" fmla="*/ 186 w 805"/>
                <a:gd name="T1" fmla="*/ 44 h 917"/>
                <a:gd name="T2" fmla="*/ 191 w 805"/>
                <a:gd name="T3" fmla="*/ 62 h 917"/>
                <a:gd name="T4" fmla="*/ 185 w 805"/>
                <a:gd name="T5" fmla="*/ 74 h 917"/>
                <a:gd name="T6" fmla="*/ 176 w 805"/>
                <a:gd name="T7" fmla="*/ 80 h 917"/>
                <a:gd name="T8" fmla="*/ 171 w 805"/>
                <a:gd name="T9" fmla="*/ 98 h 917"/>
                <a:gd name="T10" fmla="*/ 184 w 805"/>
                <a:gd name="T11" fmla="*/ 111 h 917"/>
                <a:gd name="T12" fmla="*/ 186 w 805"/>
                <a:gd name="T13" fmla="*/ 132 h 917"/>
                <a:gd name="T14" fmla="*/ 196 w 805"/>
                <a:gd name="T15" fmla="*/ 139 h 917"/>
                <a:gd name="T16" fmla="*/ 201 w 805"/>
                <a:gd name="T17" fmla="*/ 156 h 917"/>
                <a:gd name="T18" fmla="*/ 194 w 805"/>
                <a:gd name="T19" fmla="*/ 172 h 917"/>
                <a:gd name="T20" fmla="*/ 195 w 805"/>
                <a:gd name="T21" fmla="*/ 186 h 917"/>
                <a:gd name="T22" fmla="*/ 181 w 805"/>
                <a:gd name="T23" fmla="*/ 194 h 917"/>
                <a:gd name="T24" fmla="*/ 168 w 805"/>
                <a:gd name="T25" fmla="*/ 186 h 917"/>
                <a:gd name="T26" fmla="*/ 143 w 805"/>
                <a:gd name="T27" fmla="*/ 204 h 917"/>
                <a:gd name="T28" fmla="*/ 129 w 805"/>
                <a:gd name="T29" fmla="*/ 206 h 917"/>
                <a:gd name="T30" fmla="*/ 129 w 805"/>
                <a:gd name="T31" fmla="*/ 220 h 917"/>
                <a:gd name="T32" fmla="*/ 123 w 805"/>
                <a:gd name="T33" fmla="*/ 223 h 917"/>
                <a:gd name="T34" fmla="*/ 114 w 805"/>
                <a:gd name="T35" fmla="*/ 223 h 917"/>
                <a:gd name="T36" fmla="*/ 104 w 805"/>
                <a:gd name="T37" fmla="*/ 229 h 917"/>
                <a:gd name="T38" fmla="*/ 104 w 805"/>
                <a:gd name="T39" fmla="*/ 218 h 917"/>
                <a:gd name="T40" fmla="*/ 100 w 805"/>
                <a:gd name="T41" fmla="*/ 212 h 917"/>
                <a:gd name="T42" fmla="*/ 83 w 805"/>
                <a:gd name="T43" fmla="*/ 212 h 917"/>
                <a:gd name="T44" fmla="*/ 96 w 805"/>
                <a:gd name="T45" fmla="*/ 196 h 917"/>
                <a:gd name="T46" fmla="*/ 97 w 805"/>
                <a:gd name="T47" fmla="*/ 181 h 917"/>
                <a:gd name="T48" fmla="*/ 90 w 805"/>
                <a:gd name="T49" fmla="*/ 176 h 917"/>
                <a:gd name="T50" fmla="*/ 90 w 805"/>
                <a:gd name="T51" fmla="*/ 161 h 917"/>
                <a:gd name="T52" fmla="*/ 82 w 805"/>
                <a:gd name="T53" fmla="*/ 159 h 917"/>
                <a:gd name="T54" fmla="*/ 74 w 805"/>
                <a:gd name="T55" fmla="*/ 163 h 917"/>
                <a:gd name="T56" fmla="*/ 64 w 805"/>
                <a:gd name="T57" fmla="*/ 160 h 917"/>
                <a:gd name="T58" fmla="*/ 53 w 805"/>
                <a:gd name="T59" fmla="*/ 175 h 917"/>
                <a:gd name="T60" fmla="*/ 47 w 805"/>
                <a:gd name="T61" fmla="*/ 168 h 917"/>
                <a:gd name="T62" fmla="*/ 40 w 805"/>
                <a:gd name="T63" fmla="*/ 166 h 917"/>
                <a:gd name="T64" fmla="*/ 37 w 805"/>
                <a:gd name="T65" fmla="*/ 178 h 917"/>
                <a:gd name="T66" fmla="*/ 22 w 805"/>
                <a:gd name="T67" fmla="*/ 177 h 917"/>
                <a:gd name="T68" fmla="*/ 15 w 805"/>
                <a:gd name="T69" fmla="*/ 166 h 917"/>
                <a:gd name="T70" fmla="*/ 16 w 805"/>
                <a:gd name="T71" fmla="*/ 153 h 917"/>
                <a:gd name="T72" fmla="*/ 21 w 805"/>
                <a:gd name="T73" fmla="*/ 140 h 917"/>
                <a:gd name="T74" fmla="*/ 16 w 805"/>
                <a:gd name="T75" fmla="*/ 132 h 917"/>
                <a:gd name="T76" fmla="*/ 0 w 805"/>
                <a:gd name="T77" fmla="*/ 130 h 917"/>
                <a:gd name="T78" fmla="*/ 3 w 805"/>
                <a:gd name="T79" fmla="*/ 124 h 917"/>
                <a:gd name="T80" fmla="*/ 15 w 805"/>
                <a:gd name="T81" fmla="*/ 117 h 917"/>
                <a:gd name="T82" fmla="*/ 6 w 805"/>
                <a:gd name="T83" fmla="*/ 81 h 917"/>
                <a:gd name="T84" fmla="*/ 6 w 805"/>
                <a:gd name="T85" fmla="*/ 68 h 917"/>
                <a:gd name="T86" fmla="*/ 3 w 805"/>
                <a:gd name="T87" fmla="*/ 46 h 917"/>
                <a:gd name="T88" fmla="*/ 10 w 805"/>
                <a:gd name="T89" fmla="*/ 30 h 917"/>
                <a:gd name="T90" fmla="*/ 25 w 805"/>
                <a:gd name="T91" fmla="*/ 17 h 917"/>
                <a:gd name="T92" fmla="*/ 49 w 805"/>
                <a:gd name="T93" fmla="*/ 21 h 917"/>
                <a:gd name="T94" fmla="*/ 53 w 805"/>
                <a:gd name="T95" fmla="*/ 14 h 917"/>
                <a:gd name="T96" fmla="*/ 45 w 805"/>
                <a:gd name="T97" fmla="*/ 4 h 917"/>
                <a:gd name="T98" fmla="*/ 63 w 805"/>
                <a:gd name="T99" fmla="*/ 0 h 917"/>
                <a:gd name="T100" fmla="*/ 85 w 805"/>
                <a:gd name="T101" fmla="*/ 6 h 917"/>
                <a:gd name="T102" fmla="*/ 102 w 805"/>
                <a:gd name="T103" fmla="*/ 7 h 917"/>
                <a:gd name="T104" fmla="*/ 117 w 805"/>
                <a:gd name="T105" fmla="*/ 17 h 917"/>
                <a:gd name="T106" fmla="*/ 132 w 805"/>
                <a:gd name="T107" fmla="*/ 8 h 917"/>
                <a:gd name="T108" fmla="*/ 140 w 805"/>
                <a:gd name="T109" fmla="*/ 10 h 917"/>
                <a:gd name="T110" fmla="*/ 141 w 805"/>
                <a:gd name="T111" fmla="*/ 18 h 917"/>
                <a:gd name="T112" fmla="*/ 159 w 805"/>
                <a:gd name="T113" fmla="*/ 6 h 917"/>
                <a:gd name="T114" fmla="*/ 167 w 805"/>
                <a:gd name="T115" fmla="*/ 14 h 917"/>
                <a:gd name="T116" fmla="*/ 166 w 805"/>
                <a:gd name="T117" fmla="*/ 28 h 917"/>
                <a:gd name="T118" fmla="*/ 178 w 805"/>
                <a:gd name="T119" fmla="*/ 31 h 917"/>
                <a:gd name="T120" fmla="*/ 186 w 805"/>
                <a:gd name="T121" fmla="*/ 44 h 91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805"/>
                <a:gd name="T184" fmla="*/ 0 h 917"/>
                <a:gd name="T185" fmla="*/ 805 w 805"/>
                <a:gd name="T186" fmla="*/ 917 h 917"/>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805" h="917">
                  <a:moveTo>
                    <a:pt x="746" y="177"/>
                  </a:moveTo>
                  <a:lnTo>
                    <a:pt x="766" y="251"/>
                  </a:lnTo>
                  <a:lnTo>
                    <a:pt x="740" y="299"/>
                  </a:lnTo>
                  <a:lnTo>
                    <a:pt x="707" y="322"/>
                  </a:lnTo>
                  <a:lnTo>
                    <a:pt x="685" y="393"/>
                  </a:lnTo>
                  <a:lnTo>
                    <a:pt x="736" y="446"/>
                  </a:lnTo>
                  <a:lnTo>
                    <a:pt x="746" y="531"/>
                  </a:lnTo>
                  <a:lnTo>
                    <a:pt x="787" y="557"/>
                  </a:lnTo>
                  <a:lnTo>
                    <a:pt x="805" y="627"/>
                  </a:lnTo>
                  <a:lnTo>
                    <a:pt x="777" y="688"/>
                  </a:lnTo>
                  <a:lnTo>
                    <a:pt x="781" y="747"/>
                  </a:lnTo>
                  <a:lnTo>
                    <a:pt x="724" y="777"/>
                  </a:lnTo>
                  <a:lnTo>
                    <a:pt x="673" y="747"/>
                  </a:lnTo>
                  <a:lnTo>
                    <a:pt x="573" y="816"/>
                  </a:lnTo>
                  <a:lnTo>
                    <a:pt x="518" y="824"/>
                  </a:lnTo>
                  <a:lnTo>
                    <a:pt x="518" y="881"/>
                  </a:lnTo>
                  <a:lnTo>
                    <a:pt x="492" y="895"/>
                  </a:lnTo>
                  <a:lnTo>
                    <a:pt x="457" y="895"/>
                  </a:lnTo>
                  <a:lnTo>
                    <a:pt x="419" y="917"/>
                  </a:lnTo>
                  <a:lnTo>
                    <a:pt x="419" y="873"/>
                  </a:lnTo>
                  <a:lnTo>
                    <a:pt x="403" y="848"/>
                  </a:lnTo>
                  <a:lnTo>
                    <a:pt x="333" y="850"/>
                  </a:lnTo>
                  <a:lnTo>
                    <a:pt x="384" y="787"/>
                  </a:lnTo>
                  <a:lnTo>
                    <a:pt x="388" y="726"/>
                  </a:lnTo>
                  <a:lnTo>
                    <a:pt x="362" y="706"/>
                  </a:lnTo>
                  <a:lnTo>
                    <a:pt x="362" y="647"/>
                  </a:lnTo>
                  <a:lnTo>
                    <a:pt x="329" y="637"/>
                  </a:lnTo>
                  <a:lnTo>
                    <a:pt x="297" y="655"/>
                  </a:lnTo>
                  <a:lnTo>
                    <a:pt x="256" y="643"/>
                  </a:lnTo>
                  <a:lnTo>
                    <a:pt x="214" y="700"/>
                  </a:lnTo>
                  <a:lnTo>
                    <a:pt x="191" y="673"/>
                  </a:lnTo>
                  <a:lnTo>
                    <a:pt x="163" y="667"/>
                  </a:lnTo>
                  <a:lnTo>
                    <a:pt x="148" y="714"/>
                  </a:lnTo>
                  <a:lnTo>
                    <a:pt x="88" y="708"/>
                  </a:lnTo>
                  <a:lnTo>
                    <a:pt x="61" y="667"/>
                  </a:lnTo>
                  <a:lnTo>
                    <a:pt x="65" y="614"/>
                  </a:lnTo>
                  <a:lnTo>
                    <a:pt x="86" y="562"/>
                  </a:lnTo>
                  <a:lnTo>
                    <a:pt x="65" y="529"/>
                  </a:lnTo>
                  <a:lnTo>
                    <a:pt x="0" y="523"/>
                  </a:lnTo>
                  <a:lnTo>
                    <a:pt x="14" y="499"/>
                  </a:lnTo>
                  <a:lnTo>
                    <a:pt x="63" y="468"/>
                  </a:lnTo>
                  <a:lnTo>
                    <a:pt x="24" y="326"/>
                  </a:lnTo>
                  <a:lnTo>
                    <a:pt x="25" y="275"/>
                  </a:lnTo>
                  <a:lnTo>
                    <a:pt x="14" y="185"/>
                  </a:lnTo>
                  <a:lnTo>
                    <a:pt x="41" y="120"/>
                  </a:lnTo>
                  <a:lnTo>
                    <a:pt x="100" y="68"/>
                  </a:lnTo>
                  <a:lnTo>
                    <a:pt x="199" y="84"/>
                  </a:lnTo>
                  <a:lnTo>
                    <a:pt x="212" y="59"/>
                  </a:lnTo>
                  <a:lnTo>
                    <a:pt x="183" y="17"/>
                  </a:lnTo>
                  <a:lnTo>
                    <a:pt x="252" y="0"/>
                  </a:lnTo>
                  <a:lnTo>
                    <a:pt x="340" y="27"/>
                  </a:lnTo>
                  <a:lnTo>
                    <a:pt x="411" y="31"/>
                  </a:lnTo>
                  <a:lnTo>
                    <a:pt x="468" y="70"/>
                  </a:lnTo>
                  <a:lnTo>
                    <a:pt x="529" y="35"/>
                  </a:lnTo>
                  <a:lnTo>
                    <a:pt x="561" y="41"/>
                  </a:lnTo>
                  <a:lnTo>
                    <a:pt x="567" y="74"/>
                  </a:lnTo>
                  <a:lnTo>
                    <a:pt x="638" y="25"/>
                  </a:lnTo>
                  <a:lnTo>
                    <a:pt x="671" y="59"/>
                  </a:lnTo>
                  <a:lnTo>
                    <a:pt x="665" y="112"/>
                  </a:lnTo>
                  <a:lnTo>
                    <a:pt x="712" y="126"/>
                  </a:lnTo>
                  <a:lnTo>
                    <a:pt x="746" y="177"/>
                  </a:lnTo>
                </a:path>
              </a:pathLst>
            </a:custGeom>
            <a:grpFill/>
            <a:ln w="6350">
              <a:solidFill>
                <a:schemeClr val="bg1"/>
              </a:solidFill>
              <a:prstDash val="solid"/>
              <a:round/>
            </a:ln>
          </p:spPr>
          <p:txBody>
            <a:bodyPr/>
            <a:lstStyle/>
            <a:p>
              <a:endParaRPr lang="zh-CN" altLang="en-US"/>
            </a:p>
          </p:txBody>
        </p:sp>
        <p:sp>
          <p:nvSpPr>
            <p:cNvPr id="76" name="Freeform 117"/>
            <p:cNvSpPr/>
            <p:nvPr/>
          </p:nvSpPr>
          <p:spPr bwMode="gray">
            <a:xfrm>
              <a:off x="3436" y="2904"/>
              <a:ext cx="356" cy="491"/>
            </a:xfrm>
            <a:custGeom>
              <a:avLst/>
              <a:gdLst>
                <a:gd name="T0" fmla="*/ 20 w 711"/>
                <a:gd name="T1" fmla="*/ 44 h 982"/>
                <a:gd name="T2" fmla="*/ 7 w 711"/>
                <a:gd name="T3" fmla="*/ 55 h 982"/>
                <a:gd name="T4" fmla="*/ 16 w 711"/>
                <a:gd name="T5" fmla="*/ 68 h 982"/>
                <a:gd name="T6" fmla="*/ 21 w 711"/>
                <a:gd name="T7" fmla="*/ 86 h 982"/>
                <a:gd name="T8" fmla="*/ 14 w 711"/>
                <a:gd name="T9" fmla="*/ 98 h 982"/>
                <a:gd name="T10" fmla="*/ 6 w 711"/>
                <a:gd name="T11" fmla="*/ 104 h 982"/>
                <a:gd name="T12" fmla="*/ 0 w 711"/>
                <a:gd name="T13" fmla="*/ 122 h 982"/>
                <a:gd name="T14" fmla="*/ 13 w 711"/>
                <a:gd name="T15" fmla="*/ 135 h 982"/>
                <a:gd name="T16" fmla="*/ 16 w 711"/>
                <a:gd name="T17" fmla="*/ 156 h 982"/>
                <a:gd name="T18" fmla="*/ 26 w 711"/>
                <a:gd name="T19" fmla="*/ 163 h 982"/>
                <a:gd name="T20" fmla="*/ 30 w 711"/>
                <a:gd name="T21" fmla="*/ 179 h 982"/>
                <a:gd name="T22" fmla="*/ 23 w 711"/>
                <a:gd name="T23" fmla="*/ 196 h 982"/>
                <a:gd name="T24" fmla="*/ 24 w 711"/>
                <a:gd name="T25" fmla="*/ 210 h 982"/>
                <a:gd name="T26" fmla="*/ 32 w 711"/>
                <a:gd name="T27" fmla="*/ 215 h 982"/>
                <a:gd name="T28" fmla="*/ 50 w 711"/>
                <a:gd name="T29" fmla="*/ 209 h 982"/>
                <a:gd name="T30" fmla="*/ 56 w 711"/>
                <a:gd name="T31" fmla="*/ 215 h 982"/>
                <a:gd name="T32" fmla="*/ 47 w 711"/>
                <a:gd name="T33" fmla="*/ 232 h 982"/>
                <a:gd name="T34" fmla="*/ 39 w 711"/>
                <a:gd name="T35" fmla="*/ 241 h 982"/>
                <a:gd name="T36" fmla="*/ 46 w 711"/>
                <a:gd name="T37" fmla="*/ 246 h 982"/>
                <a:gd name="T38" fmla="*/ 82 w 711"/>
                <a:gd name="T39" fmla="*/ 231 h 982"/>
                <a:gd name="T40" fmla="*/ 96 w 711"/>
                <a:gd name="T41" fmla="*/ 238 h 982"/>
                <a:gd name="T42" fmla="*/ 101 w 711"/>
                <a:gd name="T43" fmla="*/ 222 h 982"/>
                <a:gd name="T44" fmla="*/ 100 w 711"/>
                <a:gd name="T45" fmla="*/ 209 h 982"/>
                <a:gd name="T46" fmla="*/ 107 w 711"/>
                <a:gd name="T47" fmla="*/ 182 h 982"/>
                <a:gd name="T48" fmla="*/ 115 w 711"/>
                <a:gd name="T49" fmla="*/ 170 h 982"/>
                <a:gd name="T50" fmla="*/ 115 w 711"/>
                <a:gd name="T51" fmla="*/ 157 h 982"/>
                <a:gd name="T52" fmla="*/ 119 w 711"/>
                <a:gd name="T53" fmla="*/ 151 h 982"/>
                <a:gd name="T54" fmla="*/ 116 w 711"/>
                <a:gd name="T55" fmla="*/ 143 h 982"/>
                <a:gd name="T56" fmla="*/ 117 w 711"/>
                <a:gd name="T57" fmla="*/ 130 h 982"/>
                <a:gd name="T58" fmla="*/ 132 w 711"/>
                <a:gd name="T59" fmla="*/ 124 h 982"/>
                <a:gd name="T60" fmla="*/ 134 w 711"/>
                <a:gd name="T61" fmla="*/ 106 h 982"/>
                <a:gd name="T62" fmla="*/ 135 w 711"/>
                <a:gd name="T63" fmla="*/ 92 h 982"/>
                <a:gd name="T64" fmla="*/ 143 w 711"/>
                <a:gd name="T65" fmla="*/ 87 h 982"/>
                <a:gd name="T66" fmla="*/ 151 w 711"/>
                <a:gd name="T67" fmla="*/ 87 h 982"/>
                <a:gd name="T68" fmla="*/ 164 w 711"/>
                <a:gd name="T69" fmla="*/ 80 h 982"/>
                <a:gd name="T70" fmla="*/ 175 w 711"/>
                <a:gd name="T71" fmla="*/ 75 h 982"/>
                <a:gd name="T72" fmla="*/ 175 w 711"/>
                <a:gd name="T73" fmla="*/ 64 h 982"/>
                <a:gd name="T74" fmla="*/ 178 w 711"/>
                <a:gd name="T75" fmla="*/ 63 h 982"/>
                <a:gd name="T76" fmla="*/ 175 w 711"/>
                <a:gd name="T77" fmla="*/ 49 h 982"/>
                <a:gd name="T78" fmla="*/ 155 w 711"/>
                <a:gd name="T79" fmla="*/ 34 h 982"/>
                <a:gd name="T80" fmla="*/ 160 w 711"/>
                <a:gd name="T81" fmla="*/ 19 h 982"/>
                <a:gd name="T82" fmla="*/ 153 w 711"/>
                <a:gd name="T83" fmla="*/ 15 h 982"/>
                <a:gd name="T84" fmla="*/ 134 w 711"/>
                <a:gd name="T85" fmla="*/ 14 h 982"/>
                <a:gd name="T86" fmla="*/ 127 w 711"/>
                <a:gd name="T87" fmla="*/ 5 h 982"/>
                <a:gd name="T88" fmla="*/ 112 w 711"/>
                <a:gd name="T89" fmla="*/ 21 h 982"/>
                <a:gd name="T90" fmla="*/ 102 w 711"/>
                <a:gd name="T91" fmla="*/ 17 h 982"/>
                <a:gd name="T92" fmla="*/ 110 w 711"/>
                <a:gd name="T93" fmla="*/ 7 h 982"/>
                <a:gd name="T94" fmla="*/ 105 w 711"/>
                <a:gd name="T95" fmla="*/ 0 h 982"/>
                <a:gd name="T96" fmla="*/ 96 w 711"/>
                <a:gd name="T97" fmla="*/ 4 h 982"/>
                <a:gd name="T98" fmla="*/ 87 w 711"/>
                <a:gd name="T99" fmla="*/ 15 h 982"/>
                <a:gd name="T100" fmla="*/ 83 w 711"/>
                <a:gd name="T101" fmla="*/ 14 h 982"/>
                <a:gd name="T102" fmla="*/ 76 w 711"/>
                <a:gd name="T103" fmla="*/ 21 h 982"/>
                <a:gd name="T104" fmla="*/ 63 w 711"/>
                <a:gd name="T105" fmla="*/ 15 h 982"/>
                <a:gd name="T106" fmla="*/ 54 w 711"/>
                <a:gd name="T107" fmla="*/ 25 h 982"/>
                <a:gd name="T108" fmla="*/ 46 w 711"/>
                <a:gd name="T109" fmla="*/ 27 h 982"/>
                <a:gd name="T110" fmla="*/ 35 w 711"/>
                <a:gd name="T111" fmla="*/ 40 h 982"/>
                <a:gd name="T112" fmla="*/ 20 w 711"/>
                <a:gd name="T113" fmla="*/ 44 h 982"/>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711"/>
                <a:gd name="T172" fmla="*/ 0 h 982"/>
                <a:gd name="T173" fmla="*/ 711 w 711"/>
                <a:gd name="T174" fmla="*/ 982 h 982"/>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711" h="982">
                  <a:moveTo>
                    <a:pt x="77" y="173"/>
                  </a:moveTo>
                  <a:lnTo>
                    <a:pt x="27" y="219"/>
                  </a:lnTo>
                  <a:lnTo>
                    <a:pt x="61" y="270"/>
                  </a:lnTo>
                  <a:lnTo>
                    <a:pt x="81" y="344"/>
                  </a:lnTo>
                  <a:lnTo>
                    <a:pt x="55" y="392"/>
                  </a:lnTo>
                  <a:lnTo>
                    <a:pt x="22" y="415"/>
                  </a:lnTo>
                  <a:lnTo>
                    <a:pt x="0" y="486"/>
                  </a:lnTo>
                  <a:lnTo>
                    <a:pt x="51" y="539"/>
                  </a:lnTo>
                  <a:lnTo>
                    <a:pt x="61" y="624"/>
                  </a:lnTo>
                  <a:lnTo>
                    <a:pt x="102" y="650"/>
                  </a:lnTo>
                  <a:lnTo>
                    <a:pt x="120" y="716"/>
                  </a:lnTo>
                  <a:lnTo>
                    <a:pt x="92" y="783"/>
                  </a:lnTo>
                  <a:lnTo>
                    <a:pt x="96" y="840"/>
                  </a:lnTo>
                  <a:lnTo>
                    <a:pt x="128" y="860"/>
                  </a:lnTo>
                  <a:lnTo>
                    <a:pt x="197" y="833"/>
                  </a:lnTo>
                  <a:lnTo>
                    <a:pt x="224" y="858"/>
                  </a:lnTo>
                  <a:lnTo>
                    <a:pt x="185" y="927"/>
                  </a:lnTo>
                  <a:lnTo>
                    <a:pt x="155" y="961"/>
                  </a:lnTo>
                  <a:lnTo>
                    <a:pt x="183" y="982"/>
                  </a:lnTo>
                  <a:lnTo>
                    <a:pt x="327" y="923"/>
                  </a:lnTo>
                  <a:lnTo>
                    <a:pt x="382" y="949"/>
                  </a:lnTo>
                  <a:lnTo>
                    <a:pt x="403" y="888"/>
                  </a:lnTo>
                  <a:lnTo>
                    <a:pt x="398" y="833"/>
                  </a:lnTo>
                  <a:lnTo>
                    <a:pt x="425" y="726"/>
                  </a:lnTo>
                  <a:lnTo>
                    <a:pt x="459" y="677"/>
                  </a:lnTo>
                  <a:lnTo>
                    <a:pt x="457" y="628"/>
                  </a:lnTo>
                  <a:lnTo>
                    <a:pt x="476" y="604"/>
                  </a:lnTo>
                  <a:lnTo>
                    <a:pt x="462" y="569"/>
                  </a:lnTo>
                  <a:lnTo>
                    <a:pt x="468" y="518"/>
                  </a:lnTo>
                  <a:lnTo>
                    <a:pt x="525" y="496"/>
                  </a:lnTo>
                  <a:lnTo>
                    <a:pt x="535" y="423"/>
                  </a:lnTo>
                  <a:lnTo>
                    <a:pt x="539" y="368"/>
                  </a:lnTo>
                  <a:lnTo>
                    <a:pt x="569" y="346"/>
                  </a:lnTo>
                  <a:lnTo>
                    <a:pt x="602" y="346"/>
                  </a:lnTo>
                  <a:lnTo>
                    <a:pt x="653" y="317"/>
                  </a:lnTo>
                  <a:lnTo>
                    <a:pt x="697" y="297"/>
                  </a:lnTo>
                  <a:lnTo>
                    <a:pt x="697" y="256"/>
                  </a:lnTo>
                  <a:lnTo>
                    <a:pt x="711" y="254"/>
                  </a:lnTo>
                  <a:lnTo>
                    <a:pt x="697" y="193"/>
                  </a:lnTo>
                  <a:lnTo>
                    <a:pt x="620" y="134"/>
                  </a:lnTo>
                  <a:lnTo>
                    <a:pt x="638" y="73"/>
                  </a:lnTo>
                  <a:lnTo>
                    <a:pt x="612" y="57"/>
                  </a:lnTo>
                  <a:lnTo>
                    <a:pt x="535" y="55"/>
                  </a:lnTo>
                  <a:lnTo>
                    <a:pt x="506" y="20"/>
                  </a:lnTo>
                  <a:lnTo>
                    <a:pt x="447" y="81"/>
                  </a:lnTo>
                  <a:lnTo>
                    <a:pt x="407" y="67"/>
                  </a:lnTo>
                  <a:lnTo>
                    <a:pt x="439" y="28"/>
                  </a:lnTo>
                  <a:lnTo>
                    <a:pt x="417" y="0"/>
                  </a:lnTo>
                  <a:lnTo>
                    <a:pt x="384" y="14"/>
                  </a:lnTo>
                  <a:lnTo>
                    <a:pt x="348" y="59"/>
                  </a:lnTo>
                  <a:lnTo>
                    <a:pt x="331" y="55"/>
                  </a:lnTo>
                  <a:lnTo>
                    <a:pt x="301" y="81"/>
                  </a:lnTo>
                  <a:lnTo>
                    <a:pt x="250" y="61"/>
                  </a:lnTo>
                  <a:lnTo>
                    <a:pt x="214" y="98"/>
                  </a:lnTo>
                  <a:lnTo>
                    <a:pt x="183" y="108"/>
                  </a:lnTo>
                  <a:lnTo>
                    <a:pt x="140" y="159"/>
                  </a:lnTo>
                  <a:lnTo>
                    <a:pt x="77" y="173"/>
                  </a:lnTo>
                  <a:close/>
                </a:path>
              </a:pathLst>
            </a:custGeom>
            <a:grpFill/>
            <a:ln w="0">
              <a:solidFill>
                <a:schemeClr val="bg1"/>
              </a:solidFill>
              <a:prstDash val="solid"/>
              <a:round/>
            </a:ln>
          </p:spPr>
          <p:txBody>
            <a:bodyPr/>
            <a:lstStyle/>
            <a:p>
              <a:endParaRPr lang="zh-CN" altLang="en-US"/>
            </a:p>
          </p:txBody>
        </p:sp>
        <p:sp>
          <p:nvSpPr>
            <p:cNvPr id="77" name="Freeform 118"/>
            <p:cNvSpPr/>
            <p:nvPr/>
          </p:nvSpPr>
          <p:spPr bwMode="gray">
            <a:xfrm>
              <a:off x="3436" y="2904"/>
              <a:ext cx="356" cy="491"/>
            </a:xfrm>
            <a:custGeom>
              <a:avLst/>
              <a:gdLst>
                <a:gd name="T0" fmla="*/ 20 w 711"/>
                <a:gd name="T1" fmla="*/ 44 h 982"/>
                <a:gd name="T2" fmla="*/ 7 w 711"/>
                <a:gd name="T3" fmla="*/ 55 h 982"/>
                <a:gd name="T4" fmla="*/ 16 w 711"/>
                <a:gd name="T5" fmla="*/ 68 h 982"/>
                <a:gd name="T6" fmla="*/ 21 w 711"/>
                <a:gd name="T7" fmla="*/ 86 h 982"/>
                <a:gd name="T8" fmla="*/ 14 w 711"/>
                <a:gd name="T9" fmla="*/ 98 h 982"/>
                <a:gd name="T10" fmla="*/ 6 w 711"/>
                <a:gd name="T11" fmla="*/ 104 h 982"/>
                <a:gd name="T12" fmla="*/ 0 w 711"/>
                <a:gd name="T13" fmla="*/ 122 h 982"/>
                <a:gd name="T14" fmla="*/ 13 w 711"/>
                <a:gd name="T15" fmla="*/ 135 h 982"/>
                <a:gd name="T16" fmla="*/ 16 w 711"/>
                <a:gd name="T17" fmla="*/ 156 h 982"/>
                <a:gd name="T18" fmla="*/ 26 w 711"/>
                <a:gd name="T19" fmla="*/ 163 h 982"/>
                <a:gd name="T20" fmla="*/ 30 w 711"/>
                <a:gd name="T21" fmla="*/ 179 h 982"/>
                <a:gd name="T22" fmla="*/ 23 w 711"/>
                <a:gd name="T23" fmla="*/ 196 h 982"/>
                <a:gd name="T24" fmla="*/ 24 w 711"/>
                <a:gd name="T25" fmla="*/ 210 h 982"/>
                <a:gd name="T26" fmla="*/ 32 w 711"/>
                <a:gd name="T27" fmla="*/ 215 h 982"/>
                <a:gd name="T28" fmla="*/ 50 w 711"/>
                <a:gd name="T29" fmla="*/ 209 h 982"/>
                <a:gd name="T30" fmla="*/ 56 w 711"/>
                <a:gd name="T31" fmla="*/ 215 h 982"/>
                <a:gd name="T32" fmla="*/ 47 w 711"/>
                <a:gd name="T33" fmla="*/ 232 h 982"/>
                <a:gd name="T34" fmla="*/ 39 w 711"/>
                <a:gd name="T35" fmla="*/ 241 h 982"/>
                <a:gd name="T36" fmla="*/ 46 w 711"/>
                <a:gd name="T37" fmla="*/ 246 h 982"/>
                <a:gd name="T38" fmla="*/ 82 w 711"/>
                <a:gd name="T39" fmla="*/ 231 h 982"/>
                <a:gd name="T40" fmla="*/ 96 w 711"/>
                <a:gd name="T41" fmla="*/ 238 h 982"/>
                <a:gd name="T42" fmla="*/ 101 w 711"/>
                <a:gd name="T43" fmla="*/ 222 h 982"/>
                <a:gd name="T44" fmla="*/ 100 w 711"/>
                <a:gd name="T45" fmla="*/ 209 h 982"/>
                <a:gd name="T46" fmla="*/ 107 w 711"/>
                <a:gd name="T47" fmla="*/ 182 h 982"/>
                <a:gd name="T48" fmla="*/ 115 w 711"/>
                <a:gd name="T49" fmla="*/ 170 h 982"/>
                <a:gd name="T50" fmla="*/ 115 w 711"/>
                <a:gd name="T51" fmla="*/ 157 h 982"/>
                <a:gd name="T52" fmla="*/ 119 w 711"/>
                <a:gd name="T53" fmla="*/ 151 h 982"/>
                <a:gd name="T54" fmla="*/ 116 w 711"/>
                <a:gd name="T55" fmla="*/ 143 h 982"/>
                <a:gd name="T56" fmla="*/ 117 w 711"/>
                <a:gd name="T57" fmla="*/ 130 h 982"/>
                <a:gd name="T58" fmla="*/ 132 w 711"/>
                <a:gd name="T59" fmla="*/ 124 h 982"/>
                <a:gd name="T60" fmla="*/ 134 w 711"/>
                <a:gd name="T61" fmla="*/ 106 h 982"/>
                <a:gd name="T62" fmla="*/ 135 w 711"/>
                <a:gd name="T63" fmla="*/ 92 h 982"/>
                <a:gd name="T64" fmla="*/ 143 w 711"/>
                <a:gd name="T65" fmla="*/ 87 h 982"/>
                <a:gd name="T66" fmla="*/ 151 w 711"/>
                <a:gd name="T67" fmla="*/ 87 h 982"/>
                <a:gd name="T68" fmla="*/ 164 w 711"/>
                <a:gd name="T69" fmla="*/ 80 h 982"/>
                <a:gd name="T70" fmla="*/ 175 w 711"/>
                <a:gd name="T71" fmla="*/ 75 h 982"/>
                <a:gd name="T72" fmla="*/ 175 w 711"/>
                <a:gd name="T73" fmla="*/ 64 h 982"/>
                <a:gd name="T74" fmla="*/ 178 w 711"/>
                <a:gd name="T75" fmla="*/ 63 h 982"/>
                <a:gd name="T76" fmla="*/ 175 w 711"/>
                <a:gd name="T77" fmla="*/ 49 h 982"/>
                <a:gd name="T78" fmla="*/ 155 w 711"/>
                <a:gd name="T79" fmla="*/ 34 h 982"/>
                <a:gd name="T80" fmla="*/ 160 w 711"/>
                <a:gd name="T81" fmla="*/ 19 h 982"/>
                <a:gd name="T82" fmla="*/ 153 w 711"/>
                <a:gd name="T83" fmla="*/ 15 h 982"/>
                <a:gd name="T84" fmla="*/ 134 w 711"/>
                <a:gd name="T85" fmla="*/ 14 h 982"/>
                <a:gd name="T86" fmla="*/ 127 w 711"/>
                <a:gd name="T87" fmla="*/ 5 h 982"/>
                <a:gd name="T88" fmla="*/ 112 w 711"/>
                <a:gd name="T89" fmla="*/ 21 h 982"/>
                <a:gd name="T90" fmla="*/ 102 w 711"/>
                <a:gd name="T91" fmla="*/ 17 h 982"/>
                <a:gd name="T92" fmla="*/ 110 w 711"/>
                <a:gd name="T93" fmla="*/ 7 h 982"/>
                <a:gd name="T94" fmla="*/ 105 w 711"/>
                <a:gd name="T95" fmla="*/ 0 h 982"/>
                <a:gd name="T96" fmla="*/ 96 w 711"/>
                <a:gd name="T97" fmla="*/ 4 h 982"/>
                <a:gd name="T98" fmla="*/ 87 w 711"/>
                <a:gd name="T99" fmla="*/ 15 h 982"/>
                <a:gd name="T100" fmla="*/ 83 w 711"/>
                <a:gd name="T101" fmla="*/ 14 h 982"/>
                <a:gd name="T102" fmla="*/ 76 w 711"/>
                <a:gd name="T103" fmla="*/ 21 h 982"/>
                <a:gd name="T104" fmla="*/ 63 w 711"/>
                <a:gd name="T105" fmla="*/ 15 h 982"/>
                <a:gd name="T106" fmla="*/ 54 w 711"/>
                <a:gd name="T107" fmla="*/ 25 h 982"/>
                <a:gd name="T108" fmla="*/ 46 w 711"/>
                <a:gd name="T109" fmla="*/ 27 h 982"/>
                <a:gd name="T110" fmla="*/ 35 w 711"/>
                <a:gd name="T111" fmla="*/ 40 h 982"/>
                <a:gd name="T112" fmla="*/ 20 w 711"/>
                <a:gd name="T113" fmla="*/ 44 h 982"/>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711"/>
                <a:gd name="T172" fmla="*/ 0 h 982"/>
                <a:gd name="T173" fmla="*/ 711 w 711"/>
                <a:gd name="T174" fmla="*/ 982 h 982"/>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711" h="982">
                  <a:moveTo>
                    <a:pt x="77" y="173"/>
                  </a:moveTo>
                  <a:lnTo>
                    <a:pt x="27" y="219"/>
                  </a:lnTo>
                  <a:lnTo>
                    <a:pt x="61" y="270"/>
                  </a:lnTo>
                  <a:lnTo>
                    <a:pt x="81" y="344"/>
                  </a:lnTo>
                  <a:lnTo>
                    <a:pt x="55" y="392"/>
                  </a:lnTo>
                  <a:lnTo>
                    <a:pt x="22" y="415"/>
                  </a:lnTo>
                  <a:lnTo>
                    <a:pt x="0" y="486"/>
                  </a:lnTo>
                  <a:lnTo>
                    <a:pt x="51" y="539"/>
                  </a:lnTo>
                  <a:lnTo>
                    <a:pt x="61" y="624"/>
                  </a:lnTo>
                  <a:lnTo>
                    <a:pt x="102" y="650"/>
                  </a:lnTo>
                  <a:lnTo>
                    <a:pt x="120" y="716"/>
                  </a:lnTo>
                  <a:lnTo>
                    <a:pt x="92" y="783"/>
                  </a:lnTo>
                  <a:lnTo>
                    <a:pt x="96" y="840"/>
                  </a:lnTo>
                  <a:lnTo>
                    <a:pt x="128" y="860"/>
                  </a:lnTo>
                  <a:lnTo>
                    <a:pt x="197" y="833"/>
                  </a:lnTo>
                  <a:lnTo>
                    <a:pt x="224" y="858"/>
                  </a:lnTo>
                  <a:lnTo>
                    <a:pt x="185" y="927"/>
                  </a:lnTo>
                  <a:lnTo>
                    <a:pt x="155" y="961"/>
                  </a:lnTo>
                  <a:lnTo>
                    <a:pt x="183" y="982"/>
                  </a:lnTo>
                  <a:lnTo>
                    <a:pt x="327" y="923"/>
                  </a:lnTo>
                  <a:lnTo>
                    <a:pt x="382" y="949"/>
                  </a:lnTo>
                  <a:lnTo>
                    <a:pt x="403" y="888"/>
                  </a:lnTo>
                  <a:lnTo>
                    <a:pt x="398" y="833"/>
                  </a:lnTo>
                  <a:lnTo>
                    <a:pt x="425" y="726"/>
                  </a:lnTo>
                  <a:lnTo>
                    <a:pt x="459" y="677"/>
                  </a:lnTo>
                  <a:lnTo>
                    <a:pt x="457" y="628"/>
                  </a:lnTo>
                  <a:lnTo>
                    <a:pt x="476" y="604"/>
                  </a:lnTo>
                  <a:lnTo>
                    <a:pt x="462" y="569"/>
                  </a:lnTo>
                  <a:lnTo>
                    <a:pt x="468" y="518"/>
                  </a:lnTo>
                  <a:lnTo>
                    <a:pt x="525" y="496"/>
                  </a:lnTo>
                  <a:lnTo>
                    <a:pt x="535" y="423"/>
                  </a:lnTo>
                  <a:lnTo>
                    <a:pt x="539" y="368"/>
                  </a:lnTo>
                  <a:lnTo>
                    <a:pt x="569" y="346"/>
                  </a:lnTo>
                  <a:lnTo>
                    <a:pt x="602" y="346"/>
                  </a:lnTo>
                  <a:lnTo>
                    <a:pt x="653" y="317"/>
                  </a:lnTo>
                  <a:lnTo>
                    <a:pt x="697" y="297"/>
                  </a:lnTo>
                  <a:lnTo>
                    <a:pt x="697" y="256"/>
                  </a:lnTo>
                  <a:lnTo>
                    <a:pt x="711" y="254"/>
                  </a:lnTo>
                  <a:lnTo>
                    <a:pt x="697" y="193"/>
                  </a:lnTo>
                  <a:lnTo>
                    <a:pt x="620" y="134"/>
                  </a:lnTo>
                  <a:lnTo>
                    <a:pt x="638" y="73"/>
                  </a:lnTo>
                  <a:lnTo>
                    <a:pt x="612" y="57"/>
                  </a:lnTo>
                  <a:lnTo>
                    <a:pt x="535" y="55"/>
                  </a:lnTo>
                  <a:lnTo>
                    <a:pt x="506" y="20"/>
                  </a:lnTo>
                  <a:lnTo>
                    <a:pt x="447" y="81"/>
                  </a:lnTo>
                  <a:lnTo>
                    <a:pt x="407" y="67"/>
                  </a:lnTo>
                  <a:lnTo>
                    <a:pt x="439" y="28"/>
                  </a:lnTo>
                  <a:lnTo>
                    <a:pt x="417" y="0"/>
                  </a:lnTo>
                  <a:lnTo>
                    <a:pt x="384" y="14"/>
                  </a:lnTo>
                  <a:lnTo>
                    <a:pt x="348" y="59"/>
                  </a:lnTo>
                  <a:lnTo>
                    <a:pt x="331" y="55"/>
                  </a:lnTo>
                  <a:lnTo>
                    <a:pt x="301" y="81"/>
                  </a:lnTo>
                  <a:lnTo>
                    <a:pt x="250" y="61"/>
                  </a:lnTo>
                  <a:lnTo>
                    <a:pt x="214" y="98"/>
                  </a:lnTo>
                  <a:lnTo>
                    <a:pt x="183" y="108"/>
                  </a:lnTo>
                  <a:lnTo>
                    <a:pt x="140" y="159"/>
                  </a:lnTo>
                  <a:lnTo>
                    <a:pt x="77" y="173"/>
                  </a:lnTo>
                </a:path>
              </a:pathLst>
            </a:custGeom>
            <a:grpFill/>
            <a:ln w="6350">
              <a:solidFill>
                <a:schemeClr val="bg1"/>
              </a:solidFill>
              <a:prstDash val="solid"/>
              <a:round/>
            </a:ln>
          </p:spPr>
          <p:txBody>
            <a:bodyPr/>
            <a:lstStyle/>
            <a:p>
              <a:endParaRPr lang="zh-CN" altLang="en-US"/>
            </a:p>
          </p:txBody>
        </p:sp>
        <p:sp>
          <p:nvSpPr>
            <p:cNvPr id="78" name="Freeform 119"/>
            <p:cNvSpPr/>
            <p:nvPr/>
          </p:nvSpPr>
          <p:spPr bwMode="gray">
            <a:xfrm>
              <a:off x="3477" y="2497"/>
              <a:ext cx="361" cy="447"/>
            </a:xfrm>
            <a:custGeom>
              <a:avLst/>
              <a:gdLst>
                <a:gd name="T0" fmla="*/ 19 w 722"/>
                <a:gd name="T1" fmla="*/ 148 h 894"/>
                <a:gd name="T2" fmla="*/ 23 w 722"/>
                <a:gd name="T3" fmla="*/ 155 h 894"/>
                <a:gd name="T4" fmla="*/ 34 w 722"/>
                <a:gd name="T5" fmla="*/ 163 h 894"/>
                <a:gd name="T6" fmla="*/ 42 w 722"/>
                <a:gd name="T7" fmla="*/ 163 h 894"/>
                <a:gd name="T8" fmla="*/ 50 w 722"/>
                <a:gd name="T9" fmla="*/ 168 h 894"/>
                <a:gd name="T10" fmla="*/ 50 w 722"/>
                <a:gd name="T11" fmla="*/ 192 h 894"/>
                <a:gd name="T12" fmla="*/ 58 w 722"/>
                <a:gd name="T13" fmla="*/ 202 h 894"/>
                <a:gd name="T14" fmla="*/ 62 w 722"/>
                <a:gd name="T15" fmla="*/ 217 h 894"/>
                <a:gd name="T16" fmla="*/ 67 w 722"/>
                <a:gd name="T17" fmla="*/ 218 h 894"/>
                <a:gd name="T18" fmla="*/ 76 w 722"/>
                <a:gd name="T19" fmla="*/ 207 h 894"/>
                <a:gd name="T20" fmla="*/ 85 w 722"/>
                <a:gd name="T21" fmla="*/ 204 h 894"/>
                <a:gd name="T22" fmla="*/ 90 w 722"/>
                <a:gd name="T23" fmla="*/ 211 h 894"/>
                <a:gd name="T24" fmla="*/ 82 w 722"/>
                <a:gd name="T25" fmla="*/ 220 h 894"/>
                <a:gd name="T26" fmla="*/ 91 w 722"/>
                <a:gd name="T27" fmla="*/ 224 h 894"/>
                <a:gd name="T28" fmla="*/ 106 w 722"/>
                <a:gd name="T29" fmla="*/ 209 h 894"/>
                <a:gd name="T30" fmla="*/ 113 w 722"/>
                <a:gd name="T31" fmla="*/ 217 h 894"/>
                <a:gd name="T32" fmla="*/ 133 w 722"/>
                <a:gd name="T33" fmla="*/ 218 h 894"/>
                <a:gd name="T34" fmla="*/ 140 w 722"/>
                <a:gd name="T35" fmla="*/ 222 h 894"/>
                <a:gd name="T36" fmla="*/ 154 w 722"/>
                <a:gd name="T37" fmla="*/ 207 h 894"/>
                <a:gd name="T38" fmla="*/ 162 w 722"/>
                <a:gd name="T39" fmla="*/ 188 h 894"/>
                <a:gd name="T40" fmla="*/ 169 w 722"/>
                <a:gd name="T41" fmla="*/ 178 h 894"/>
                <a:gd name="T42" fmla="*/ 176 w 722"/>
                <a:gd name="T43" fmla="*/ 175 h 894"/>
                <a:gd name="T44" fmla="*/ 171 w 722"/>
                <a:gd name="T45" fmla="*/ 164 h 894"/>
                <a:gd name="T46" fmla="*/ 181 w 722"/>
                <a:gd name="T47" fmla="*/ 151 h 894"/>
                <a:gd name="T48" fmla="*/ 180 w 722"/>
                <a:gd name="T49" fmla="*/ 141 h 894"/>
                <a:gd name="T50" fmla="*/ 173 w 722"/>
                <a:gd name="T51" fmla="*/ 142 h 894"/>
                <a:gd name="T52" fmla="*/ 162 w 722"/>
                <a:gd name="T53" fmla="*/ 138 h 894"/>
                <a:gd name="T54" fmla="*/ 150 w 722"/>
                <a:gd name="T55" fmla="*/ 142 h 894"/>
                <a:gd name="T56" fmla="*/ 147 w 722"/>
                <a:gd name="T57" fmla="*/ 127 h 894"/>
                <a:gd name="T58" fmla="*/ 134 w 722"/>
                <a:gd name="T59" fmla="*/ 120 h 894"/>
                <a:gd name="T60" fmla="*/ 131 w 722"/>
                <a:gd name="T61" fmla="*/ 108 h 894"/>
                <a:gd name="T62" fmla="*/ 138 w 722"/>
                <a:gd name="T63" fmla="*/ 97 h 894"/>
                <a:gd name="T64" fmla="*/ 124 w 722"/>
                <a:gd name="T65" fmla="*/ 83 h 894"/>
                <a:gd name="T66" fmla="*/ 108 w 722"/>
                <a:gd name="T67" fmla="*/ 63 h 894"/>
                <a:gd name="T68" fmla="*/ 109 w 722"/>
                <a:gd name="T69" fmla="*/ 47 h 894"/>
                <a:gd name="T70" fmla="*/ 101 w 722"/>
                <a:gd name="T71" fmla="*/ 42 h 894"/>
                <a:gd name="T72" fmla="*/ 93 w 722"/>
                <a:gd name="T73" fmla="*/ 44 h 894"/>
                <a:gd name="T74" fmla="*/ 90 w 722"/>
                <a:gd name="T75" fmla="*/ 35 h 894"/>
                <a:gd name="T76" fmla="*/ 73 w 722"/>
                <a:gd name="T77" fmla="*/ 34 h 894"/>
                <a:gd name="T78" fmla="*/ 77 w 722"/>
                <a:gd name="T79" fmla="*/ 12 h 894"/>
                <a:gd name="T80" fmla="*/ 69 w 722"/>
                <a:gd name="T81" fmla="*/ 15 h 894"/>
                <a:gd name="T82" fmla="*/ 53 w 722"/>
                <a:gd name="T83" fmla="*/ 0 h 894"/>
                <a:gd name="T84" fmla="*/ 45 w 722"/>
                <a:gd name="T85" fmla="*/ 4 h 894"/>
                <a:gd name="T86" fmla="*/ 40 w 722"/>
                <a:gd name="T87" fmla="*/ 16 h 894"/>
                <a:gd name="T88" fmla="*/ 35 w 722"/>
                <a:gd name="T89" fmla="*/ 17 h 894"/>
                <a:gd name="T90" fmla="*/ 38 w 722"/>
                <a:gd name="T91" fmla="*/ 26 h 894"/>
                <a:gd name="T92" fmla="*/ 51 w 722"/>
                <a:gd name="T93" fmla="*/ 30 h 894"/>
                <a:gd name="T94" fmla="*/ 55 w 722"/>
                <a:gd name="T95" fmla="*/ 46 h 894"/>
                <a:gd name="T96" fmla="*/ 42 w 722"/>
                <a:gd name="T97" fmla="*/ 54 h 894"/>
                <a:gd name="T98" fmla="*/ 28 w 722"/>
                <a:gd name="T99" fmla="*/ 42 h 894"/>
                <a:gd name="T100" fmla="*/ 17 w 722"/>
                <a:gd name="T101" fmla="*/ 49 h 894"/>
                <a:gd name="T102" fmla="*/ 22 w 722"/>
                <a:gd name="T103" fmla="*/ 62 h 894"/>
                <a:gd name="T104" fmla="*/ 12 w 722"/>
                <a:gd name="T105" fmla="*/ 71 h 894"/>
                <a:gd name="T106" fmla="*/ 13 w 722"/>
                <a:gd name="T107" fmla="*/ 84 h 894"/>
                <a:gd name="T108" fmla="*/ 0 w 722"/>
                <a:gd name="T109" fmla="*/ 88 h 894"/>
                <a:gd name="T110" fmla="*/ 11 w 722"/>
                <a:gd name="T111" fmla="*/ 96 h 894"/>
                <a:gd name="T112" fmla="*/ 24 w 722"/>
                <a:gd name="T113" fmla="*/ 112 h 894"/>
                <a:gd name="T114" fmla="*/ 40 w 722"/>
                <a:gd name="T115" fmla="*/ 103 h 894"/>
                <a:gd name="T116" fmla="*/ 44 w 722"/>
                <a:gd name="T117" fmla="*/ 118 h 894"/>
                <a:gd name="T118" fmla="*/ 43 w 722"/>
                <a:gd name="T119" fmla="*/ 134 h 894"/>
                <a:gd name="T120" fmla="*/ 24 w 722"/>
                <a:gd name="T121" fmla="*/ 144 h 894"/>
                <a:gd name="T122" fmla="*/ 19 w 722"/>
                <a:gd name="T123" fmla="*/ 148 h 894"/>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722"/>
                <a:gd name="T187" fmla="*/ 0 h 894"/>
                <a:gd name="T188" fmla="*/ 722 w 722"/>
                <a:gd name="T189" fmla="*/ 894 h 894"/>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722" h="894">
                  <a:moveTo>
                    <a:pt x="74" y="591"/>
                  </a:moveTo>
                  <a:lnTo>
                    <a:pt x="94" y="620"/>
                  </a:lnTo>
                  <a:lnTo>
                    <a:pt x="133" y="652"/>
                  </a:lnTo>
                  <a:lnTo>
                    <a:pt x="165" y="650"/>
                  </a:lnTo>
                  <a:lnTo>
                    <a:pt x="202" y="669"/>
                  </a:lnTo>
                  <a:lnTo>
                    <a:pt x="202" y="766"/>
                  </a:lnTo>
                  <a:lnTo>
                    <a:pt x="234" y="807"/>
                  </a:lnTo>
                  <a:lnTo>
                    <a:pt x="250" y="868"/>
                  </a:lnTo>
                  <a:lnTo>
                    <a:pt x="267" y="872"/>
                  </a:lnTo>
                  <a:lnTo>
                    <a:pt x="303" y="827"/>
                  </a:lnTo>
                  <a:lnTo>
                    <a:pt x="338" y="815"/>
                  </a:lnTo>
                  <a:lnTo>
                    <a:pt x="358" y="841"/>
                  </a:lnTo>
                  <a:lnTo>
                    <a:pt x="326" y="878"/>
                  </a:lnTo>
                  <a:lnTo>
                    <a:pt x="366" y="894"/>
                  </a:lnTo>
                  <a:lnTo>
                    <a:pt x="425" y="833"/>
                  </a:lnTo>
                  <a:lnTo>
                    <a:pt x="454" y="868"/>
                  </a:lnTo>
                  <a:lnTo>
                    <a:pt x="531" y="870"/>
                  </a:lnTo>
                  <a:lnTo>
                    <a:pt x="557" y="886"/>
                  </a:lnTo>
                  <a:lnTo>
                    <a:pt x="616" y="825"/>
                  </a:lnTo>
                  <a:lnTo>
                    <a:pt x="645" y="752"/>
                  </a:lnTo>
                  <a:lnTo>
                    <a:pt x="673" y="709"/>
                  </a:lnTo>
                  <a:lnTo>
                    <a:pt x="704" y="697"/>
                  </a:lnTo>
                  <a:lnTo>
                    <a:pt x="683" y="654"/>
                  </a:lnTo>
                  <a:lnTo>
                    <a:pt x="722" y="604"/>
                  </a:lnTo>
                  <a:lnTo>
                    <a:pt x="720" y="563"/>
                  </a:lnTo>
                  <a:lnTo>
                    <a:pt x="689" y="567"/>
                  </a:lnTo>
                  <a:lnTo>
                    <a:pt x="647" y="551"/>
                  </a:lnTo>
                  <a:lnTo>
                    <a:pt x="598" y="567"/>
                  </a:lnTo>
                  <a:lnTo>
                    <a:pt x="588" y="508"/>
                  </a:lnTo>
                  <a:lnTo>
                    <a:pt x="533" y="482"/>
                  </a:lnTo>
                  <a:lnTo>
                    <a:pt x="521" y="429"/>
                  </a:lnTo>
                  <a:lnTo>
                    <a:pt x="549" y="386"/>
                  </a:lnTo>
                  <a:lnTo>
                    <a:pt x="496" y="331"/>
                  </a:lnTo>
                  <a:lnTo>
                    <a:pt x="431" y="252"/>
                  </a:lnTo>
                  <a:lnTo>
                    <a:pt x="435" y="185"/>
                  </a:lnTo>
                  <a:lnTo>
                    <a:pt x="403" y="166"/>
                  </a:lnTo>
                  <a:lnTo>
                    <a:pt x="374" y="173"/>
                  </a:lnTo>
                  <a:lnTo>
                    <a:pt x="358" y="138"/>
                  </a:lnTo>
                  <a:lnTo>
                    <a:pt x="291" y="136"/>
                  </a:lnTo>
                  <a:lnTo>
                    <a:pt x="305" y="47"/>
                  </a:lnTo>
                  <a:lnTo>
                    <a:pt x="273" y="61"/>
                  </a:lnTo>
                  <a:lnTo>
                    <a:pt x="214" y="0"/>
                  </a:lnTo>
                  <a:lnTo>
                    <a:pt x="177" y="16"/>
                  </a:lnTo>
                  <a:lnTo>
                    <a:pt x="157" y="63"/>
                  </a:lnTo>
                  <a:lnTo>
                    <a:pt x="137" y="67"/>
                  </a:lnTo>
                  <a:lnTo>
                    <a:pt x="149" y="101"/>
                  </a:lnTo>
                  <a:lnTo>
                    <a:pt x="204" y="122"/>
                  </a:lnTo>
                  <a:lnTo>
                    <a:pt x="222" y="183"/>
                  </a:lnTo>
                  <a:lnTo>
                    <a:pt x="167" y="215"/>
                  </a:lnTo>
                  <a:lnTo>
                    <a:pt x="114" y="166"/>
                  </a:lnTo>
                  <a:lnTo>
                    <a:pt x="67" y="195"/>
                  </a:lnTo>
                  <a:lnTo>
                    <a:pt x="86" y="250"/>
                  </a:lnTo>
                  <a:lnTo>
                    <a:pt x="49" y="282"/>
                  </a:lnTo>
                  <a:lnTo>
                    <a:pt x="53" y="335"/>
                  </a:lnTo>
                  <a:lnTo>
                    <a:pt x="0" y="349"/>
                  </a:lnTo>
                  <a:lnTo>
                    <a:pt x="43" y="384"/>
                  </a:lnTo>
                  <a:lnTo>
                    <a:pt x="98" y="447"/>
                  </a:lnTo>
                  <a:lnTo>
                    <a:pt x="157" y="410"/>
                  </a:lnTo>
                  <a:lnTo>
                    <a:pt x="175" y="473"/>
                  </a:lnTo>
                  <a:lnTo>
                    <a:pt x="171" y="536"/>
                  </a:lnTo>
                  <a:lnTo>
                    <a:pt x="96" y="575"/>
                  </a:lnTo>
                  <a:lnTo>
                    <a:pt x="74" y="591"/>
                  </a:lnTo>
                  <a:close/>
                </a:path>
              </a:pathLst>
            </a:custGeom>
            <a:grpFill/>
            <a:ln w="0">
              <a:solidFill>
                <a:schemeClr val="bg1"/>
              </a:solidFill>
              <a:prstDash val="solid"/>
              <a:round/>
            </a:ln>
          </p:spPr>
          <p:txBody>
            <a:bodyPr/>
            <a:lstStyle/>
            <a:p>
              <a:endParaRPr lang="zh-CN" altLang="en-US"/>
            </a:p>
          </p:txBody>
        </p:sp>
        <p:sp>
          <p:nvSpPr>
            <p:cNvPr id="79" name="Freeform 120"/>
            <p:cNvSpPr/>
            <p:nvPr/>
          </p:nvSpPr>
          <p:spPr bwMode="gray">
            <a:xfrm>
              <a:off x="3477" y="2497"/>
              <a:ext cx="361" cy="447"/>
            </a:xfrm>
            <a:custGeom>
              <a:avLst/>
              <a:gdLst>
                <a:gd name="T0" fmla="*/ 19 w 722"/>
                <a:gd name="T1" fmla="*/ 148 h 894"/>
                <a:gd name="T2" fmla="*/ 23 w 722"/>
                <a:gd name="T3" fmla="*/ 155 h 894"/>
                <a:gd name="T4" fmla="*/ 34 w 722"/>
                <a:gd name="T5" fmla="*/ 163 h 894"/>
                <a:gd name="T6" fmla="*/ 42 w 722"/>
                <a:gd name="T7" fmla="*/ 163 h 894"/>
                <a:gd name="T8" fmla="*/ 50 w 722"/>
                <a:gd name="T9" fmla="*/ 168 h 894"/>
                <a:gd name="T10" fmla="*/ 50 w 722"/>
                <a:gd name="T11" fmla="*/ 192 h 894"/>
                <a:gd name="T12" fmla="*/ 58 w 722"/>
                <a:gd name="T13" fmla="*/ 202 h 894"/>
                <a:gd name="T14" fmla="*/ 62 w 722"/>
                <a:gd name="T15" fmla="*/ 217 h 894"/>
                <a:gd name="T16" fmla="*/ 67 w 722"/>
                <a:gd name="T17" fmla="*/ 218 h 894"/>
                <a:gd name="T18" fmla="*/ 76 w 722"/>
                <a:gd name="T19" fmla="*/ 207 h 894"/>
                <a:gd name="T20" fmla="*/ 85 w 722"/>
                <a:gd name="T21" fmla="*/ 204 h 894"/>
                <a:gd name="T22" fmla="*/ 90 w 722"/>
                <a:gd name="T23" fmla="*/ 211 h 894"/>
                <a:gd name="T24" fmla="*/ 82 w 722"/>
                <a:gd name="T25" fmla="*/ 220 h 894"/>
                <a:gd name="T26" fmla="*/ 91 w 722"/>
                <a:gd name="T27" fmla="*/ 224 h 894"/>
                <a:gd name="T28" fmla="*/ 106 w 722"/>
                <a:gd name="T29" fmla="*/ 209 h 894"/>
                <a:gd name="T30" fmla="*/ 113 w 722"/>
                <a:gd name="T31" fmla="*/ 217 h 894"/>
                <a:gd name="T32" fmla="*/ 133 w 722"/>
                <a:gd name="T33" fmla="*/ 218 h 894"/>
                <a:gd name="T34" fmla="*/ 140 w 722"/>
                <a:gd name="T35" fmla="*/ 222 h 894"/>
                <a:gd name="T36" fmla="*/ 154 w 722"/>
                <a:gd name="T37" fmla="*/ 207 h 894"/>
                <a:gd name="T38" fmla="*/ 162 w 722"/>
                <a:gd name="T39" fmla="*/ 188 h 894"/>
                <a:gd name="T40" fmla="*/ 169 w 722"/>
                <a:gd name="T41" fmla="*/ 178 h 894"/>
                <a:gd name="T42" fmla="*/ 176 w 722"/>
                <a:gd name="T43" fmla="*/ 175 h 894"/>
                <a:gd name="T44" fmla="*/ 171 w 722"/>
                <a:gd name="T45" fmla="*/ 164 h 894"/>
                <a:gd name="T46" fmla="*/ 181 w 722"/>
                <a:gd name="T47" fmla="*/ 151 h 894"/>
                <a:gd name="T48" fmla="*/ 180 w 722"/>
                <a:gd name="T49" fmla="*/ 141 h 894"/>
                <a:gd name="T50" fmla="*/ 173 w 722"/>
                <a:gd name="T51" fmla="*/ 142 h 894"/>
                <a:gd name="T52" fmla="*/ 162 w 722"/>
                <a:gd name="T53" fmla="*/ 138 h 894"/>
                <a:gd name="T54" fmla="*/ 150 w 722"/>
                <a:gd name="T55" fmla="*/ 142 h 894"/>
                <a:gd name="T56" fmla="*/ 147 w 722"/>
                <a:gd name="T57" fmla="*/ 127 h 894"/>
                <a:gd name="T58" fmla="*/ 134 w 722"/>
                <a:gd name="T59" fmla="*/ 120 h 894"/>
                <a:gd name="T60" fmla="*/ 131 w 722"/>
                <a:gd name="T61" fmla="*/ 108 h 894"/>
                <a:gd name="T62" fmla="*/ 138 w 722"/>
                <a:gd name="T63" fmla="*/ 97 h 894"/>
                <a:gd name="T64" fmla="*/ 124 w 722"/>
                <a:gd name="T65" fmla="*/ 83 h 894"/>
                <a:gd name="T66" fmla="*/ 108 w 722"/>
                <a:gd name="T67" fmla="*/ 63 h 894"/>
                <a:gd name="T68" fmla="*/ 109 w 722"/>
                <a:gd name="T69" fmla="*/ 47 h 894"/>
                <a:gd name="T70" fmla="*/ 101 w 722"/>
                <a:gd name="T71" fmla="*/ 42 h 894"/>
                <a:gd name="T72" fmla="*/ 93 w 722"/>
                <a:gd name="T73" fmla="*/ 44 h 894"/>
                <a:gd name="T74" fmla="*/ 90 w 722"/>
                <a:gd name="T75" fmla="*/ 35 h 894"/>
                <a:gd name="T76" fmla="*/ 73 w 722"/>
                <a:gd name="T77" fmla="*/ 34 h 894"/>
                <a:gd name="T78" fmla="*/ 77 w 722"/>
                <a:gd name="T79" fmla="*/ 12 h 894"/>
                <a:gd name="T80" fmla="*/ 69 w 722"/>
                <a:gd name="T81" fmla="*/ 15 h 894"/>
                <a:gd name="T82" fmla="*/ 53 w 722"/>
                <a:gd name="T83" fmla="*/ 0 h 894"/>
                <a:gd name="T84" fmla="*/ 45 w 722"/>
                <a:gd name="T85" fmla="*/ 4 h 894"/>
                <a:gd name="T86" fmla="*/ 40 w 722"/>
                <a:gd name="T87" fmla="*/ 16 h 894"/>
                <a:gd name="T88" fmla="*/ 35 w 722"/>
                <a:gd name="T89" fmla="*/ 17 h 894"/>
                <a:gd name="T90" fmla="*/ 38 w 722"/>
                <a:gd name="T91" fmla="*/ 26 h 894"/>
                <a:gd name="T92" fmla="*/ 51 w 722"/>
                <a:gd name="T93" fmla="*/ 30 h 894"/>
                <a:gd name="T94" fmla="*/ 55 w 722"/>
                <a:gd name="T95" fmla="*/ 46 h 894"/>
                <a:gd name="T96" fmla="*/ 42 w 722"/>
                <a:gd name="T97" fmla="*/ 54 h 894"/>
                <a:gd name="T98" fmla="*/ 28 w 722"/>
                <a:gd name="T99" fmla="*/ 42 h 894"/>
                <a:gd name="T100" fmla="*/ 17 w 722"/>
                <a:gd name="T101" fmla="*/ 49 h 894"/>
                <a:gd name="T102" fmla="*/ 22 w 722"/>
                <a:gd name="T103" fmla="*/ 62 h 894"/>
                <a:gd name="T104" fmla="*/ 12 w 722"/>
                <a:gd name="T105" fmla="*/ 71 h 894"/>
                <a:gd name="T106" fmla="*/ 13 w 722"/>
                <a:gd name="T107" fmla="*/ 84 h 894"/>
                <a:gd name="T108" fmla="*/ 0 w 722"/>
                <a:gd name="T109" fmla="*/ 88 h 894"/>
                <a:gd name="T110" fmla="*/ 11 w 722"/>
                <a:gd name="T111" fmla="*/ 96 h 894"/>
                <a:gd name="T112" fmla="*/ 24 w 722"/>
                <a:gd name="T113" fmla="*/ 112 h 894"/>
                <a:gd name="T114" fmla="*/ 40 w 722"/>
                <a:gd name="T115" fmla="*/ 103 h 894"/>
                <a:gd name="T116" fmla="*/ 44 w 722"/>
                <a:gd name="T117" fmla="*/ 118 h 894"/>
                <a:gd name="T118" fmla="*/ 43 w 722"/>
                <a:gd name="T119" fmla="*/ 134 h 894"/>
                <a:gd name="T120" fmla="*/ 24 w 722"/>
                <a:gd name="T121" fmla="*/ 144 h 894"/>
                <a:gd name="T122" fmla="*/ 19 w 722"/>
                <a:gd name="T123" fmla="*/ 148 h 894"/>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722"/>
                <a:gd name="T187" fmla="*/ 0 h 894"/>
                <a:gd name="T188" fmla="*/ 722 w 722"/>
                <a:gd name="T189" fmla="*/ 894 h 894"/>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722" h="894">
                  <a:moveTo>
                    <a:pt x="74" y="591"/>
                  </a:moveTo>
                  <a:lnTo>
                    <a:pt x="94" y="620"/>
                  </a:lnTo>
                  <a:lnTo>
                    <a:pt x="133" y="652"/>
                  </a:lnTo>
                  <a:lnTo>
                    <a:pt x="165" y="650"/>
                  </a:lnTo>
                  <a:lnTo>
                    <a:pt x="202" y="669"/>
                  </a:lnTo>
                  <a:lnTo>
                    <a:pt x="202" y="766"/>
                  </a:lnTo>
                  <a:lnTo>
                    <a:pt x="234" y="807"/>
                  </a:lnTo>
                  <a:lnTo>
                    <a:pt x="250" y="868"/>
                  </a:lnTo>
                  <a:lnTo>
                    <a:pt x="267" y="872"/>
                  </a:lnTo>
                  <a:lnTo>
                    <a:pt x="303" y="827"/>
                  </a:lnTo>
                  <a:lnTo>
                    <a:pt x="338" y="815"/>
                  </a:lnTo>
                  <a:lnTo>
                    <a:pt x="358" y="841"/>
                  </a:lnTo>
                  <a:lnTo>
                    <a:pt x="326" y="878"/>
                  </a:lnTo>
                  <a:lnTo>
                    <a:pt x="366" y="894"/>
                  </a:lnTo>
                  <a:lnTo>
                    <a:pt x="425" y="833"/>
                  </a:lnTo>
                  <a:lnTo>
                    <a:pt x="454" y="868"/>
                  </a:lnTo>
                  <a:lnTo>
                    <a:pt x="531" y="870"/>
                  </a:lnTo>
                  <a:lnTo>
                    <a:pt x="557" y="886"/>
                  </a:lnTo>
                  <a:lnTo>
                    <a:pt x="616" y="825"/>
                  </a:lnTo>
                  <a:lnTo>
                    <a:pt x="645" y="752"/>
                  </a:lnTo>
                  <a:lnTo>
                    <a:pt x="673" y="709"/>
                  </a:lnTo>
                  <a:lnTo>
                    <a:pt x="704" y="697"/>
                  </a:lnTo>
                  <a:lnTo>
                    <a:pt x="683" y="654"/>
                  </a:lnTo>
                  <a:lnTo>
                    <a:pt x="722" y="604"/>
                  </a:lnTo>
                  <a:lnTo>
                    <a:pt x="720" y="563"/>
                  </a:lnTo>
                  <a:lnTo>
                    <a:pt x="689" y="567"/>
                  </a:lnTo>
                  <a:lnTo>
                    <a:pt x="647" y="551"/>
                  </a:lnTo>
                  <a:lnTo>
                    <a:pt x="598" y="567"/>
                  </a:lnTo>
                  <a:lnTo>
                    <a:pt x="588" y="508"/>
                  </a:lnTo>
                  <a:lnTo>
                    <a:pt x="533" y="482"/>
                  </a:lnTo>
                  <a:lnTo>
                    <a:pt x="521" y="429"/>
                  </a:lnTo>
                  <a:lnTo>
                    <a:pt x="549" y="386"/>
                  </a:lnTo>
                  <a:lnTo>
                    <a:pt x="496" y="331"/>
                  </a:lnTo>
                  <a:lnTo>
                    <a:pt x="431" y="252"/>
                  </a:lnTo>
                  <a:lnTo>
                    <a:pt x="435" y="185"/>
                  </a:lnTo>
                  <a:lnTo>
                    <a:pt x="403" y="166"/>
                  </a:lnTo>
                  <a:lnTo>
                    <a:pt x="374" y="173"/>
                  </a:lnTo>
                  <a:lnTo>
                    <a:pt x="358" y="138"/>
                  </a:lnTo>
                  <a:lnTo>
                    <a:pt x="291" y="136"/>
                  </a:lnTo>
                  <a:lnTo>
                    <a:pt x="305" y="47"/>
                  </a:lnTo>
                  <a:lnTo>
                    <a:pt x="273" y="61"/>
                  </a:lnTo>
                  <a:lnTo>
                    <a:pt x="214" y="0"/>
                  </a:lnTo>
                  <a:lnTo>
                    <a:pt x="177" y="16"/>
                  </a:lnTo>
                  <a:lnTo>
                    <a:pt x="157" y="63"/>
                  </a:lnTo>
                  <a:lnTo>
                    <a:pt x="137" y="67"/>
                  </a:lnTo>
                  <a:lnTo>
                    <a:pt x="149" y="101"/>
                  </a:lnTo>
                  <a:lnTo>
                    <a:pt x="204" y="122"/>
                  </a:lnTo>
                  <a:lnTo>
                    <a:pt x="222" y="183"/>
                  </a:lnTo>
                  <a:lnTo>
                    <a:pt x="167" y="215"/>
                  </a:lnTo>
                  <a:lnTo>
                    <a:pt x="114" y="166"/>
                  </a:lnTo>
                  <a:lnTo>
                    <a:pt x="67" y="195"/>
                  </a:lnTo>
                  <a:lnTo>
                    <a:pt x="86" y="250"/>
                  </a:lnTo>
                  <a:lnTo>
                    <a:pt x="49" y="282"/>
                  </a:lnTo>
                  <a:lnTo>
                    <a:pt x="53" y="335"/>
                  </a:lnTo>
                  <a:lnTo>
                    <a:pt x="0" y="349"/>
                  </a:lnTo>
                  <a:lnTo>
                    <a:pt x="43" y="384"/>
                  </a:lnTo>
                  <a:lnTo>
                    <a:pt x="98" y="447"/>
                  </a:lnTo>
                  <a:lnTo>
                    <a:pt x="157" y="410"/>
                  </a:lnTo>
                  <a:lnTo>
                    <a:pt x="175" y="473"/>
                  </a:lnTo>
                  <a:lnTo>
                    <a:pt x="171" y="536"/>
                  </a:lnTo>
                  <a:lnTo>
                    <a:pt x="96" y="575"/>
                  </a:lnTo>
                  <a:lnTo>
                    <a:pt x="74" y="591"/>
                  </a:lnTo>
                </a:path>
              </a:pathLst>
            </a:custGeom>
            <a:grpFill/>
            <a:ln w="6350">
              <a:solidFill>
                <a:schemeClr val="bg1"/>
              </a:solidFill>
              <a:prstDash val="solid"/>
              <a:round/>
            </a:ln>
          </p:spPr>
          <p:txBody>
            <a:bodyPr/>
            <a:lstStyle/>
            <a:p>
              <a:endParaRPr lang="zh-CN" altLang="en-US"/>
            </a:p>
          </p:txBody>
        </p:sp>
        <p:sp>
          <p:nvSpPr>
            <p:cNvPr id="80" name="Freeform 121"/>
            <p:cNvSpPr/>
            <p:nvPr/>
          </p:nvSpPr>
          <p:spPr bwMode="gray">
            <a:xfrm>
              <a:off x="3034" y="2686"/>
              <a:ext cx="568" cy="356"/>
            </a:xfrm>
            <a:custGeom>
              <a:avLst/>
              <a:gdLst>
                <a:gd name="T0" fmla="*/ 40 w 1136"/>
                <a:gd name="T1" fmla="*/ 51 h 713"/>
                <a:gd name="T2" fmla="*/ 52 w 1136"/>
                <a:gd name="T3" fmla="*/ 64 h 713"/>
                <a:gd name="T4" fmla="*/ 58 w 1136"/>
                <a:gd name="T5" fmla="*/ 104 h 713"/>
                <a:gd name="T6" fmla="*/ 35 w 1136"/>
                <a:gd name="T7" fmla="*/ 118 h 713"/>
                <a:gd name="T8" fmla="*/ 0 w 1136"/>
                <a:gd name="T9" fmla="*/ 129 h 713"/>
                <a:gd name="T10" fmla="*/ 20 w 1136"/>
                <a:gd name="T11" fmla="*/ 167 h 713"/>
                <a:gd name="T12" fmla="*/ 40 w 1136"/>
                <a:gd name="T13" fmla="*/ 162 h 713"/>
                <a:gd name="T14" fmla="*/ 80 w 1136"/>
                <a:gd name="T15" fmla="*/ 153 h 713"/>
                <a:gd name="T16" fmla="*/ 76 w 1136"/>
                <a:gd name="T17" fmla="*/ 136 h 713"/>
                <a:gd name="T18" fmla="*/ 115 w 1136"/>
                <a:gd name="T19" fmla="*/ 138 h 713"/>
                <a:gd name="T20" fmla="*/ 147 w 1136"/>
                <a:gd name="T21" fmla="*/ 149 h 713"/>
                <a:gd name="T22" fmla="*/ 170 w 1136"/>
                <a:gd name="T23" fmla="*/ 142 h 713"/>
                <a:gd name="T24" fmla="*/ 189 w 1136"/>
                <a:gd name="T25" fmla="*/ 138 h 713"/>
                <a:gd name="T26" fmla="*/ 196 w 1136"/>
                <a:gd name="T27" fmla="*/ 160 h 713"/>
                <a:gd name="T28" fmla="*/ 221 w 1136"/>
                <a:gd name="T29" fmla="*/ 152 h 713"/>
                <a:gd name="T30" fmla="*/ 247 w 1136"/>
                <a:gd name="T31" fmla="*/ 135 h 713"/>
                <a:gd name="T32" fmla="*/ 264 w 1136"/>
                <a:gd name="T33" fmla="*/ 124 h 713"/>
                <a:gd name="T34" fmla="*/ 284 w 1136"/>
                <a:gd name="T35" fmla="*/ 122 h 713"/>
                <a:gd name="T36" fmla="*/ 272 w 1136"/>
                <a:gd name="T37" fmla="*/ 97 h 713"/>
                <a:gd name="T38" fmla="*/ 263 w 1136"/>
                <a:gd name="T39" fmla="*/ 68 h 713"/>
                <a:gd name="T40" fmla="*/ 245 w 1136"/>
                <a:gd name="T41" fmla="*/ 60 h 713"/>
                <a:gd name="T42" fmla="*/ 225 w 1136"/>
                <a:gd name="T43" fmla="*/ 59 h 713"/>
                <a:gd name="T44" fmla="*/ 196 w 1136"/>
                <a:gd name="T45" fmla="*/ 50 h 713"/>
                <a:gd name="T46" fmla="*/ 186 w 1136"/>
                <a:gd name="T47" fmla="*/ 24 h 713"/>
                <a:gd name="T48" fmla="*/ 157 w 1136"/>
                <a:gd name="T49" fmla="*/ 26 h 713"/>
                <a:gd name="T50" fmla="*/ 107 w 1136"/>
                <a:gd name="T51" fmla="*/ 21 h 713"/>
                <a:gd name="T52" fmla="*/ 71 w 1136"/>
                <a:gd name="T53" fmla="*/ 6 h 713"/>
                <a:gd name="T54" fmla="*/ 50 w 1136"/>
                <a:gd name="T55" fmla="*/ 4 h 713"/>
                <a:gd name="T56" fmla="*/ 43 w 1136"/>
                <a:gd name="T57" fmla="*/ 2 h 713"/>
                <a:gd name="T58" fmla="*/ 35 w 1136"/>
                <a:gd name="T59" fmla="*/ 1 h 713"/>
                <a:gd name="T60" fmla="*/ 34 w 1136"/>
                <a:gd name="T61" fmla="*/ 2 h 713"/>
                <a:gd name="T62" fmla="*/ 31 w 1136"/>
                <a:gd name="T63" fmla="*/ 7 h 713"/>
                <a:gd name="T64" fmla="*/ 29 w 1136"/>
                <a:gd name="T65" fmla="*/ 9 h 713"/>
                <a:gd name="T66" fmla="*/ 54 w 1136"/>
                <a:gd name="T67" fmla="*/ 24 h 713"/>
                <a:gd name="T68" fmla="*/ 33 w 1136"/>
                <a:gd name="T69" fmla="*/ 42 h 713"/>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136"/>
                <a:gd name="T106" fmla="*/ 0 h 713"/>
                <a:gd name="T107" fmla="*/ 1136 w 1136"/>
                <a:gd name="T108" fmla="*/ 713 h 713"/>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136" h="713">
                  <a:moveTo>
                    <a:pt x="130" y="169"/>
                  </a:moveTo>
                  <a:lnTo>
                    <a:pt x="159" y="205"/>
                  </a:lnTo>
                  <a:lnTo>
                    <a:pt x="157" y="258"/>
                  </a:lnTo>
                  <a:lnTo>
                    <a:pt x="208" y="256"/>
                  </a:lnTo>
                  <a:lnTo>
                    <a:pt x="236" y="331"/>
                  </a:lnTo>
                  <a:lnTo>
                    <a:pt x="234" y="417"/>
                  </a:lnTo>
                  <a:lnTo>
                    <a:pt x="183" y="425"/>
                  </a:lnTo>
                  <a:lnTo>
                    <a:pt x="140" y="474"/>
                  </a:lnTo>
                  <a:lnTo>
                    <a:pt x="33" y="482"/>
                  </a:lnTo>
                  <a:lnTo>
                    <a:pt x="0" y="516"/>
                  </a:lnTo>
                  <a:lnTo>
                    <a:pt x="23" y="591"/>
                  </a:lnTo>
                  <a:lnTo>
                    <a:pt x="82" y="671"/>
                  </a:lnTo>
                  <a:lnTo>
                    <a:pt x="134" y="713"/>
                  </a:lnTo>
                  <a:lnTo>
                    <a:pt x="161" y="648"/>
                  </a:lnTo>
                  <a:lnTo>
                    <a:pt x="220" y="596"/>
                  </a:lnTo>
                  <a:lnTo>
                    <a:pt x="319" y="612"/>
                  </a:lnTo>
                  <a:lnTo>
                    <a:pt x="332" y="585"/>
                  </a:lnTo>
                  <a:lnTo>
                    <a:pt x="303" y="545"/>
                  </a:lnTo>
                  <a:lnTo>
                    <a:pt x="372" y="528"/>
                  </a:lnTo>
                  <a:lnTo>
                    <a:pt x="460" y="555"/>
                  </a:lnTo>
                  <a:lnTo>
                    <a:pt x="531" y="559"/>
                  </a:lnTo>
                  <a:lnTo>
                    <a:pt x="588" y="598"/>
                  </a:lnTo>
                  <a:lnTo>
                    <a:pt x="649" y="563"/>
                  </a:lnTo>
                  <a:lnTo>
                    <a:pt x="681" y="569"/>
                  </a:lnTo>
                  <a:lnTo>
                    <a:pt x="687" y="600"/>
                  </a:lnTo>
                  <a:lnTo>
                    <a:pt x="758" y="553"/>
                  </a:lnTo>
                  <a:lnTo>
                    <a:pt x="791" y="587"/>
                  </a:lnTo>
                  <a:lnTo>
                    <a:pt x="785" y="640"/>
                  </a:lnTo>
                  <a:lnTo>
                    <a:pt x="832" y="654"/>
                  </a:lnTo>
                  <a:lnTo>
                    <a:pt x="884" y="608"/>
                  </a:lnTo>
                  <a:lnTo>
                    <a:pt x="947" y="594"/>
                  </a:lnTo>
                  <a:lnTo>
                    <a:pt x="988" y="543"/>
                  </a:lnTo>
                  <a:lnTo>
                    <a:pt x="1019" y="533"/>
                  </a:lnTo>
                  <a:lnTo>
                    <a:pt x="1055" y="496"/>
                  </a:lnTo>
                  <a:lnTo>
                    <a:pt x="1108" y="516"/>
                  </a:lnTo>
                  <a:lnTo>
                    <a:pt x="1136" y="490"/>
                  </a:lnTo>
                  <a:lnTo>
                    <a:pt x="1122" y="431"/>
                  </a:lnTo>
                  <a:lnTo>
                    <a:pt x="1088" y="388"/>
                  </a:lnTo>
                  <a:lnTo>
                    <a:pt x="1088" y="291"/>
                  </a:lnTo>
                  <a:lnTo>
                    <a:pt x="1051" y="272"/>
                  </a:lnTo>
                  <a:lnTo>
                    <a:pt x="1019" y="274"/>
                  </a:lnTo>
                  <a:lnTo>
                    <a:pt x="980" y="242"/>
                  </a:lnTo>
                  <a:lnTo>
                    <a:pt x="960" y="213"/>
                  </a:lnTo>
                  <a:lnTo>
                    <a:pt x="901" y="236"/>
                  </a:lnTo>
                  <a:lnTo>
                    <a:pt x="836" y="187"/>
                  </a:lnTo>
                  <a:lnTo>
                    <a:pt x="783" y="203"/>
                  </a:lnTo>
                  <a:lnTo>
                    <a:pt x="748" y="160"/>
                  </a:lnTo>
                  <a:lnTo>
                    <a:pt x="744" y="98"/>
                  </a:lnTo>
                  <a:lnTo>
                    <a:pt x="677" y="126"/>
                  </a:lnTo>
                  <a:lnTo>
                    <a:pt x="628" y="106"/>
                  </a:lnTo>
                  <a:lnTo>
                    <a:pt x="514" y="124"/>
                  </a:lnTo>
                  <a:lnTo>
                    <a:pt x="427" y="87"/>
                  </a:lnTo>
                  <a:lnTo>
                    <a:pt x="329" y="0"/>
                  </a:lnTo>
                  <a:lnTo>
                    <a:pt x="283" y="24"/>
                  </a:lnTo>
                  <a:lnTo>
                    <a:pt x="205" y="18"/>
                  </a:lnTo>
                  <a:lnTo>
                    <a:pt x="201" y="16"/>
                  </a:lnTo>
                  <a:lnTo>
                    <a:pt x="187" y="14"/>
                  </a:lnTo>
                  <a:lnTo>
                    <a:pt x="171" y="10"/>
                  </a:lnTo>
                  <a:lnTo>
                    <a:pt x="153" y="6"/>
                  </a:lnTo>
                  <a:lnTo>
                    <a:pt x="140" y="4"/>
                  </a:lnTo>
                  <a:lnTo>
                    <a:pt x="136" y="4"/>
                  </a:lnTo>
                  <a:lnTo>
                    <a:pt x="134" y="8"/>
                  </a:lnTo>
                  <a:lnTo>
                    <a:pt x="130" y="18"/>
                  </a:lnTo>
                  <a:lnTo>
                    <a:pt x="124" y="28"/>
                  </a:lnTo>
                  <a:lnTo>
                    <a:pt x="120" y="36"/>
                  </a:lnTo>
                  <a:lnTo>
                    <a:pt x="118" y="39"/>
                  </a:lnTo>
                  <a:lnTo>
                    <a:pt x="181" y="79"/>
                  </a:lnTo>
                  <a:lnTo>
                    <a:pt x="216" y="98"/>
                  </a:lnTo>
                  <a:lnTo>
                    <a:pt x="151" y="140"/>
                  </a:lnTo>
                  <a:lnTo>
                    <a:pt x="130" y="169"/>
                  </a:lnTo>
                  <a:close/>
                </a:path>
              </a:pathLst>
            </a:custGeom>
            <a:grpFill/>
            <a:ln w="0">
              <a:solidFill>
                <a:schemeClr val="bg1"/>
              </a:solidFill>
              <a:prstDash val="solid"/>
              <a:round/>
            </a:ln>
          </p:spPr>
          <p:txBody>
            <a:bodyPr/>
            <a:lstStyle/>
            <a:p>
              <a:endParaRPr lang="zh-CN" altLang="en-US"/>
            </a:p>
          </p:txBody>
        </p:sp>
        <p:sp>
          <p:nvSpPr>
            <p:cNvPr id="81" name="Freeform 122"/>
            <p:cNvSpPr/>
            <p:nvPr/>
          </p:nvSpPr>
          <p:spPr bwMode="gray">
            <a:xfrm>
              <a:off x="3034" y="2686"/>
              <a:ext cx="568" cy="356"/>
            </a:xfrm>
            <a:custGeom>
              <a:avLst/>
              <a:gdLst>
                <a:gd name="T0" fmla="*/ 40 w 1136"/>
                <a:gd name="T1" fmla="*/ 51 h 713"/>
                <a:gd name="T2" fmla="*/ 52 w 1136"/>
                <a:gd name="T3" fmla="*/ 64 h 713"/>
                <a:gd name="T4" fmla="*/ 58 w 1136"/>
                <a:gd name="T5" fmla="*/ 104 h 713"/>
                <a:gd name="T6" fmla="*/ 35 w 1136"/>
                <a:gd name="T7" fmla="*/ 118 h 713"/>
                <a:gd name="T8" fmla="*/ 0 w 1136"/>
                <a:gd name="T9" fmla="*/ 129 h 713"/>
                <a:gd name="T10" fmla="*/ 20 w 1136"/>
                <a:gd name="T11" fmla="*/ 167 h 713"/>
                <a:gd name="T12" fmla="*/ 40 w 1136"/>
                <a:gd name="T13" fmla="*/ 162 h 713"/>
                <a:gd name="T14" fmla="*/ 80 w 1136"/>
                <a:gd name="T15" fmla="*/ 153 h 713"/>
                <a:gd name="T16" fmla="*/ 76 w 1136"/>
                <a:gd name="T17" fmla="*/ 136 h 713"/>
                <a:gd name="T18" fmla="*/ 115 w 1136"/>
                <a:gd name="T19" fmla="*/ 138 h 713"/>
                <a:gd name="T20" fmla="*/ 147 w 1136"/>
                <a:gd name="T21" fmla="*/ 149 h 713"/>
                <a:gd name="T22" fmla="*/ 170 w 1136"/>
                <a:gd name="T23" fmla="*/ 142 h 713"/>
                <a:gd name="T24" fmla="*/ 189 w 1136"/>
                <a:gd name="T25" fmla="*/ 138 h 713"/>
                <a:gd name="T26" fmla="*/ 196 w 1136"/>
                <a:gd name="T27" fmla="*/ 160 h 713"/>
                <a:gd name="T28" fmla="*/ 221 w 1136"/>
                <a:gd name="T29" fmla="*/ 152 h 713"/>
                <a:gd name="T30" fmla="*/ 247 w 1136"/>
                <a:gd name="T31" fmla="*/ 135 h 713"/>
                <a:gd name="T32" fmla="*/ 264 w 1136"/>
                <a:gd name="T33" fmla="*/ 124 h 713"/>
                <a:gd name="T34" fmla="*/ 284 w 1136"/>
                <a:gd name="T35" fmla="*/ 122 h 713"/>
                <a:gd name="T36" fmla="*/ 272 w 1136"/>
                <a:gd name="T37" fmla="*/ 97 h 713"/>
                <a:gd name="T38" fmla="*/ 263 w 1136"/>
                <a:gd name="T39" fmla="*/ 68 h 713"/>
                <a:gd name="T40" fmla="*/ 245 w 1136"/>
                <a:gd name="T41" fmla="*/ 60 h 713"/>
                <a:gd name="T42" fmla="*/ 225 w 1136"/>
                <a:gd name="T43" fmla="*/ 59 h 713"/>
                <a:gd name="T44" fmla="*/ 196 w 1136"/>
                <a:gd name="T45" fmla="*/ 50 h 713"/>
                <a:gd name="T46" fmla="*/ 186 w 1136"/>
                <a:gd name="T47" fmla="*/ 24 h 713"/>
                <a:gd name="T48" fmla="*/ 157 w 1136"/>
                <a:gd name="T49" fmla="*/ 26 h 713"/>
                <a:gd name="T50" fmla="*/ 107 w 1136"/>
                <a:gd name="T51" fmla="*/ 21 h 713"/>
                <a:gd name="T52" fmla="*/ 71 w 1136"/>
                <a:gd name="T53" fmla="*/ 6 h 713"/>
                <a:gd name="T54" fmla="*/ 50 w 1136"/>
                <a:gd name="T55" fmla="*/ 4 h 713"/>
                <a:gd name="T56" fmla="*/ 43 w 1136"/>
                <a:gd name="T57" fmla="*/ 2 h 713"/>
                <a:gd name="T58" fmla="*/ 35 w 1136"/>
                <a:gd name="T59" fmla="*/ 1 h 713"/>
                <a:gd name="T60" fmla="*/ 34 w 1136"/>
                <a:gd name="T61" fmla="*/ 2 h 713"/>
                <a:gd name="T62" fmla="*/ 31 w 1136"/>
                <a:gd name="T63" fmla="*/ 7 h 713"/>
                <a:gd name="T64" fmla="*/ 29 w 1136"/>
                <a:gd name="T65" fmla="*/ 9 h 713"/>
                <a:gd name="T66" fmla="*/ 54 w 1136"/>
                <a:gd name="T67" fmla="*/ 24 h 713"/>
                <a:gd name="T68" fmla="*/ 33 w 1136"/>
                <a:gd name="T69" fmla="*/ 42 h 713"/>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136"/>
                <a:gd name="T106" fmla="*/ 0 h 713"/>
                <a:gd name="T107" fmla="*/ 1136 w 1136"/>
                <a:gd name="T108" fmla="*/ 713 h 713"/>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136" h="713">
                  <a:moveTo>
                    <a:pt x="130" y="169"/>
                  </a:moveTo>
                  <a:lnTo>
                    <a:pt x="159" y="205"/>
                  </a:lnTo>
                  <a:lnTo>
                    <a:pt x="157" y="258"/>
                  </a:lnTo>
                  <a:lnTo>
                    <a:pt x="208" y="256"/>
                  </a:lnTo>
                  <a:lnTo>
                    <a:pt x="236" y="331"/>
                  </a:lnTo>
                  <a:lnTo>
                    <a:pt x="234" y="417"/>
                  </a:lnTo>
                  <a:lnTo>
                    <a:pt x="183" y="425"/>
                  </a:lnTo>
                  <a:lnTo>
                    <a:pt x="140" y="474"/>
                  </a:lnTo>
                  <a:lnTo>
                    <a:pt x="33" y="482"/>
                  </a:lnTo>
                  <a:lnTo>
                    <a:pt x="0" y="516"/>
                  </a:lnTo>
                  <a:lnTo>
                    <a:pt x="23" y="591"/>
                  </a:lnTo>
                  <a:lnTo>
                    <a:pt x="82" y="671"/>
                  </a:lnTo>
                  <a:lnTo>
                    <a:pt x="134" y="713"/>
                  </a:lnTo>
                  <a:lnTo>
                    <a:pt x="161" y="648"/>
                  </a:lnTo>
                  <a:lnTo>
                    <a:pt x="220" y="596"/>
                  </a:lnTo>
                  <a:lnTo>
                    <a:pt x="319" y="612"/>
                  </a:lnTo>
                  <a:lnTo>
                    <a:pt x="332" y="585"/>
                  </a:lnTo>
                  <a:lnTo>
                    <a:pt x="303" y="545"/>
                  </a:lnTo>
                  <a:lnTo>
                    <a:pt x="372" y="528"/>
                  </a:lnTo>
                  <a:lnTo>
                    <a:pt x="460" y="555"/>
                  </a:lnTo>
                  <a:lnTo>
                    <a:pt x="531" y="559"/>
                  </a:lnTo>
                  <a:lnTo>
                    <a:pt x="588" y="598"/>
                  </a:lnTo>
                  <a:lnTo>
                    <a:pt x="649" y="563"/>
                  </a:lnTo>
                  <a:lnTo>
                    <a:pt x="681" y="569"/>
                  </a:lnTo>
                  <a:lnTo>
                    <a:pt x="687" y="600"/>
                  </a:lnTo>
                  <a:lnTo>
                    <a:pt x="758" y="553"/>
                  </a:lnTo>
                  <a:lnTo>
                    <a:pt x="791" y="587"/>
                  </a:lnTo>
                  <a:lnTo>
                    <a:pt x="785" y="640"/>
                  </a:lnTo>
                  <a:lnTo>
                    <a:pt x="832" y="654"/>
                  </a:lnTo>
                  <a:lnTo>
                    <a:pt x="884" y="608"/>
                  </a:lnTo>
                  <a:lnTo>
                    <a:pt x="947" y="594"/>
                  </a:lnTo>
                  <a:lnTo>
                    <a:pt x="988" y="543"/>
                  </a:lnTo>
                  <a:lnTo>
                    <a:pt x="1019" y="533"/>
                  </a:lnTo>
                  <a:lnTo>
                    <a:pt x="1055" y="496"/>
                  </a:lnTo>
                  <a:lnTo>
                    <a:pt x="1108" y="516"/>
                  </a:lnTo>
                  <a:lnTo>
                    <a:pt x="1136" y="490"/>
                  </a:lnTo>
                  <a:lnTo>
                    <a:pt x="1122" y="431"/>
                  </a:lnTo>
                  <a:lnTo>
                    <a:pt x="1088" y="388"/>
                  </a:lnTo>
                  <a:lnTo>
                    <a:pt x="1088" y="291"/>
                  </a:lnTo>
                  <a:lnTo>
                    <a:pt x="1051" y="272"/>
                  </a:lnTo>
                  <a:lnTo>
                    <a:pt x="1019" y="274"/>
                  </a:lnTo>
                  <a:lnTo>
                    <a:pt x="980" y="242"/>
                  </a:lnTo>
                  <a:lnTo>
                    <a:pt x="960" y="213"/>
                  </a:lnTo>
                  <a:lnTo>
                    <a:pt x="901" y="236"/>
                  </a:lnTo>
                  <a:lnTo>
                    <a:pt x="836" y="187"/>
                  </a:lnTo>
                  <a:lnTo>
                    <a:pt x="783" y="203"/>
                  </a:lnTo>
                  <a:lnTo>
                    <a:pt x="748" y="160"/>
                  </a:lnTo>
                  <a:lnTo>
                    <a:pt x="744" y="98"/>
                  </a:lnTo>
                  <a:lnTo>
                    <a:pt x="677" y="126"/>
                  </a:lnTo>
                  <a:lnTo>
                    <a:pt x="628" y="106"/>
                  </a:lnTo>
                  <a:lnTo>
                    <a:pt x="514" y="124"/>
                  </a:lnTo>
                  <a:lnTo>
                    <a:pt x="427" y="87"/>
                  </a:lnTo>
                  <a:lnTo>
                    <a:pt x="329" y="0"/>
                  </a:lnTo>
                  <a:lnTo>
                    <a:pt x="283" y="24"/>
                  </a:lnTo>
                  <a:lnTo>
                    <a:pt x="205" y="18"/>
                  </a:lnTo>
                  <a:lnTo>
                    <a:pt x="201" y="16"/>
                  </a:lnTo>
                  <a:lnTo>
                    <a:pt x="187" y="14"/>
                  </a:lnTo>
                  <a:lnTo>
                    <a:pt x="171" y="10"/>
                  </a:lnTo>
                  <a:lnTo>
                    <a:pt x="153" y="6"/>
                  </a:lnTo>
                  <a:lnTo>
                    <a:pt x="140" y="4"/>
                  </a:lnTo>
                  <a:lnTo>
                    <a:pt x="136" y="4"/>
                  </a:lnTo>
                  <a:lnTo>
                    <a:pt x="134" y="8"/>
                  </a:lnTo>
                  <a:lnTo>
                    <a:pt x="130" y="18"/>
                  </a:lnTo>
                  <a:lnTo>
                    <a:pt x="124" y="28"/>
                  </a:lnTo>
                  <a:lnTo>
                    <a:pt x="120" y="36"/>
                  </a:lnTo>
                  <a:lnTo>
                    <a:pt x="118" y="39"/>
                  </a:lnTo>
                  <a:lnTo>
                    <a:pt x="181" y="79"/>
                  </a:lnTo>
                  <a:lnTo>
                    <a:pt x="216" y="98"/>
                  </a:lnTo>
                  <a:lnTo>
                    <a:pt x="151" y="140"/>
                  </a:lnTo>
                  <a:lnTo>
                    <a:pt x="130" y="169"/>
                  </a:lnTo>
                </a:path>
              </a:pathLst>
            </a:custGeom>
            <a:grpFill/>
            <a:ln w="6350">
              <a:solidFill>
                <a:schemeClr val="bg1"/>
              </a:solidFill>
              <a:prstDash val="solid"/>
              <a:round/>
            </a:ln>
          </p:spPr>
          <p:txBody>
            <a:bodyPr/>
            <a:lstStyle/>
            <a:p>
              <a:endParaRPr lang="zh-CN" altLang="en-US"/>
            </a:p>
          </p:txBody>
        </p:sp>
        <p:sp>
          <p:nvSpPr>
            <p:cNvPr id="82" name="Freeform 123"/>
            <p:cNvSpPr/>
            <p:nvPr/>
          </p:nvSpPr>
          <p:spPr bwMode="gray">
            <a:xfrm>
              <a:off x="3140" y="2406"/>
              <a:ext cx="448" cy="398"/>
            </a:xfrm>
            <a:custGeom>
              <a:avLst/>
              <a:gdLst>
                <a:gd name="T0" fmla="*/ 0 w 896"/>
                <a:gd name="T1" fmla="*/ 84 h 797"/>
                <a:gd name="T2" fmla="*/ 7 w 896"/>
                <a:gd name="T3" fmla="*/ 100 h 797"/>
                <a:gd name="T4" fmla="*/ 17 w 896"/>
                <a:gd name="T5" fmla="*/ 115 h 797"/>
                <a:gd name="T6" fmla="*/ 30 w 896"/>
                <a:gd name="T7" fmla="*/ 127 h 797"/>
                <a:gd name="T8" fmla="*/ 29 w 896"/>
                <a:gd name="T9" fmla="*/ 140 h 797"/>
                <a:gd name="T10" fmla="*/ 53 w 896"/>
                <a:gd name="T11" fmla="*/ 162 h 797"/>
                <a:gd name="T12" fmla="*/ 76 w 896"/>
                <a:gd name="T13" fmla="*/ 171 h 797"/>
                <a:gd name="T14" fmla="*/ 104 w 896"/>
                <a:gd name="T15" fmla="*/ 166 h 797"/>
                <a:gd name="T16" fmla="*/ 116 w 896"/>
                <a:gd name="T17" fmla="*/ 171 h 797"/>
                <a:gd name="T18" fmla="*/ 133 w 896"/>
                <a:gd name="T19" fmla="*/ 164 h 797"/>
                <a:gd name="T20" fmla="*/ 134 w 896"/>
                <a:gd name="T21" fmla="*/ 180 h 797"/>
                <a:gd name="T22" fmla="*/ 143 w 896"/>
                <a:gd name="T23" fmla="*/ 191 h 797"/>
                <a:gd name="T24" fmla="*/ 156 w 896"/>
                <a:gd name="T25" fmla="*/ 187 h 797"/>
                <a:gd name="T26" fmla="*/ 173 w 896"/>
                <a:gd name="T27" fmla="*/ 199 h 797"/>
                <a:gd name="T28" fmla="*/ 188 w 896"/>
                <a:gd name="T29" fmla="*/ 194 h 797"/>
                <a:gd name="T30" fmla="*/ 193 w 896"/>
                <a:gd name="T31" fmla="*/ 189 h 797"/>
                <a:gd name="T32" fmla="*/ 212 w 896"/>
                <a:gd name="T33" fmla="*/ 179 h 797"/>
                <a:gd name="T34" fmla="*/ 213 w 896"/>
                <a:gd name="T35" fmla="*/ 163 h 797"/>
                <a:gd name="T36" fmla="*/ 208 w 896"/>
                <a:gd name="T37" fmla="*/ 148 h 797"/>
                <a:gd name="T38" fmla="*/ 194 w 896"/>
                <a:gd name="T39" fmla="*/ 157 h 797"/>
                <a:gd name="T40" fmla="*/ 180 w 896"/>
                <a:gd name="T41" fmla="*/ 141 h 797"/>
                <a:gd name="T42" fmla="*/ 170 w 896"/>
                <a:gd name="T43" fmla="*/ 133 h 797"/>
                <a:gd name="T44" fmla="*/ 182 w 896"/>
                <a:gd name="T45" fmla="*/ 129 h 797"/>
                <a:gd name="T46" fmla="*/ 181 w 896"/>
                <a:gd name="T47" fmla="*/ 116 h 797"/>
                <a:gd name="T48" fmla="*/ 190 w 896"/>
                <a:gd name="T49" fmla="*/ 108 h 797"/>
                <a:gd name="T50" fmla="*/ 186 w 896"/>
                <a:gd name="T51" fmla="*/ 94 h 797"/>
                <a:gd name="T52" fmla="*/ 197 w 896"/>
                <a:gd name="T53" fmla="*/ 87 h 797"/>
                <a:gd name="T54" fmla="*/ 211 w 896"/>
                <a:gd name="T55" fmla="*/ 99 h 797"/>
                <a:gd name="T56" fmla="*/ 224 w 896"/>
                <a:gd name="T57" fmla="*/ 91 h 797"/>
                <a:gd name="T58" fmla="*/ 219 w 896"/>
                <a:gd name="T59" fmla="*/ 75 h 797"/>
                <a:gd name="T60" fmla="*/ 206 w 896"/>
                <a:gd name="T61" fmla="*/ 71 h 797"/>
                <a:gd name="T62" fmla="*/ 203 w 896"/>
                <a:gd name="T63" fmla="*/ 62 h 797"/>
                <a:gd name="T64" fmla="*/ 182 w 896"/>
                <a:gd name="T65" fmla="*/ 66 h 797"/>
                <a:gd name="T66" fmla="*/ 169 w 896"/>
                <a:gd name="T67" fmla="*/ 53 h 797"/>
                <a:gd name="T68" fmla="*/ 157 w 896"/>
                <a:gd name="T69" fmla="*/ 53 h 797"/>
                <a:gd name="T70" fmla="*/ 156 w 896"/>
                <a:gd name="T71" fmla="*/ 41 h 797"/>
                <a:gd name="T72" fmla="*/ 173 w 896"/>
                <a:gd name="T73" fmla="*/ 20 h 797"/>
                <a:gd name="T74" fmla="*/ 171 w 896"/>
                <a:gd name="T75" fmla="*/ 3 h 797"/>
                <a:gd name="T76" fmla="*/ 153 w 896"/>
                <a:gd name="T77" fmla="*/ 6 h 797"/>
                <a:gd name="T78" fmla="*/ 112 w 896"/>
                <a:gd name="T79" fmla="*/ 0 h 797"/>
                <a:gd name="T80" fmla="*/ 110 w 896"/>
                <a:gd name="T81" fmla="*/ 32 h 797"/>
                <a:gd name="T82" fmla="*/ 89 w 896"/>
                <a:gd name="T83" fmla="*/ 49 h 797"/>
                <a:gd name="T84" fmla="*/ 72 w 896"/>
                <a:gd name="T85" fmla="*/ 52 h 797"/>
                <a:gd name="T86" fmla="*/ 42 w 896"/>
                <a:gd name="T87" fmla="*/ 71 h 797"/>
                <a:gd name="T88" fmla="*/ 25 w 896"/>
                <a:gd name="T89" fmla="*/ 79 h 797"/>
                <a:gd name="T90" fmla="*/ 0 w 896"/>
                <a:gd name="T91" fmla="*/ 84 h 797"/>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896"/>
                <a:gd name="T139" fmla="*/ 0 h 797"/>
                <a:gd name="T140" fmla="*/ 896 w 896"/>
                <a:gd name="T141" fmla="*/ 797 h 797"/>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896" h="797">
                  <a:moveTo>
                    <a:pt x="0" y="339"/>
                  </a:moveTo>
                  <a:lnTo>
                    <a:pt x="28" y="402"/>
                  </a:lnTo>
                  <a:lnTo>
                    <a:pt x="65" y="463"/>
                  </a:lnTo>
                  <a:lnTo>
                    <a:pt x="120" y="510"/>
                  </a:lnTo>
                  <a:lnTo>
                    <a:pt x="117" y="561"/>
                  </a:lnTo>
                  <a:lnTo>
                    <a:pt x="211" y="648"/>
                  </a:lnTo>
                  <a:lnTo>
                    <a:pt x="302" y="685"/>
                  </a:lnTo>
                  <a:lnTo>
                    <a:pt x="416" y="667"/>
                  </a:lnTo>
                  <a:lnTo>
                    <a:pt x="465" y="687"/>
                  </a:lnTo>
                  <a:lnTo>
                    <a:pt x="532" y="659"/>
                  </a:lnTo>
                  <a:lnTo>
                    <a:pt x="536" y="721"/>
                  </a:lnTo>
                  <a:lnTo>
                    <a:pt x="571" y="764"/>
                  </a:lnTo>
                  <a:lnTo>
                    <a:pt x="624" y="748"/>
                  </a:lnTo>
                  <a:lnTo>
                    <a:pt x="689" y="797"/>
                  </a:lnTo>
                  <a:lnTo>
                    <a:pt x="750" y="776"/>
                  </a:lnTo>
                  <a:lnTo>
                    <a:pt x="772" y="756"/>
                  </a:lnTo>
                  <a:lnTo>
                    <a:pt x="845" y="719"/>
                  </a:lnTo>
                  <a:lnTo>
                    <a:pt x="851" y="654"/>
                  </a:lnTo>
                  <a:lnTo>
                    <a:pt x="831" y="595"/>
                  </a:lnTo>
                  <a:lnTo>
                    <a:pt x="774" y="630"/>
                  </a:lnTo>
                  <a:lnTo>
                    <a:pt x="717" y="567"/>
                  </a:lnTo>
                  <a:lnTo>
                    <a:pt x="678" y="534"/>
                  </a:lnTo>
                  <a:lnTo>
                    <a:pt x="727" y="518"/>
                  </a:lnTo>
                  <a:lnTo>
                    <a:pt x="723" y="465"/>
                  </a:lnTo>
                  <a:lnTo>
                    <a:pt x="760" y="433"/>
                  </a:lnTo>
                  <a:lnTo>
                    <a:pt x="743" y="378"/>
                  </a:lnTo>
                  <a:lnTo>
                    <a:pt x="788" y="349"/>
                  </a:lnTo>
                  <a:lnTo>
                    <a:pt x="841" y="398"/>
                  </a:lnTo>
                  <a:lnTo>
                    <a:pt x="896" y="366"/>
                  </a:lnTo>
                  <a:lnTo>
                    <a:pt x="876" y="303"/>
                  </a:lnTo>
                  <a:lnTo>
                    <a:pt x="823" y="284"/>
                  </a:lnTo>
                  <a:lnTo>
                    <a:pt x="811" y="250"/>
                  </a:lnTo>
                  <a:lnTo>
                    <a:pt x="727" y="266"/>
                  </a:lnTo>
                  <a:lnTo>
                    <a:pt x="676" y="213"/>
                  </a:lnTo>
                  <a:lnTo>
                    <a:pt x="626" y="215"/>
                  </a:lnTo>
                  <a:lnTo>
                    <a:pt x="622" y="165"/>
                  </a:lnTo>
                  <a:lnTo>
                    <a:pt x="691" y="83"/>
                  </a:lnTo>
                  <a:lnTo>
                    <a:pt x="683" y="12"/>
                  </a:lnTo>
                  <a:lnTo>
                    <a:pt x="609" y="26"/>
                  </a:lnTo>
                  <a:lnTo>
                    <a:pt x="445" y="0"/>
                  </a:lnTo>
                  <a:lnTo>
                    <a:pt x="437" y="130"/>
                  </a:lnTo>
                  <a:lnTo>
                    <a:pt x="353" y="197"/>
                  </a:lnTo>
                  <a:lnTo>
                    <a:pt x="288" y="209"/>
                  </a:lnTo>
                  <a:lnTo>
                    <a:pt x="168" y="286"/>
                  </a:lnTo>
                  <a:lnTo>
                    <a:pt x="97" y="317"/>
                  </a:lnTo>
                  <a:lnTo>
                    <a:pt x="0" y="339"/>
                  </a:lnTo>
                  <a:close/>
                </a:path>
              </a:pathLst>
            </a:custGeom>
            <a:grpFill/>
            <a:ln w="0">
              <a:solidFill>
                <a:schemeClr val="bg1"/>
              </a:solidFill>
              <a:prstDash val="solid"/>
              <a:round/>
            </a:ln>
          </p:spPr>
          <p:txBody>
            <a:bodyPr/>
            <a:lstStyle/>
            <a:p>
              <a:endParaRPr lang="zh-CN" altLang="en-US"/>
            </a:p>
          </p:txBody>
        </p:sp>
        <p:sp>
          <p:nvSpPr>
            <p:cNvPr id="83" name="Freeform 124"/>
            <p:cNvSpPr/>
            <p:nvPr/>
          </p:nvSpPr>
          <p:spPr bwMode="gray">
            <a:xfrm>
              <a:off x="3140" y="2406"/>
              <a:ext cx="448" cy="398"/>
            </a:xfrm>
            <a:custGeom>
              <a:avLst/>
              <a:gdLst>
                <a:gd name="T0" fmla="*/ 0 w 896"/>
                <a:gd name="T1" fmla="*/ 84 h 797"/>
                <a:gd name="T2" fmla="*/ 7 w 896"/>
                <a:gd name="T3" fmla="*/ 100 h 797"/>
                <a:gd name="T4" fmla="*/ 17 w 896"/>
                <a:gd name="T5" fmla="*/ 115 h 797"/>
                <a:gd name="T6" fmla="*/ 30 w 896"/>
                <a:gd name="T7" fmla="*/ 127 h 797"/>
                <a:gd name="T8" fmla="*/ 29 w 896"/>
                <a:gd name="T9" fmla="*/ 140 h 797"/>
                <a:gd name="T10" fmla="*/ 53 w 896"/>
                <a:gd name="T11" fmla="*/ 162 h 797"/>
                <a:gd name="T12" fmla="*/ 76 w 896"/>
                <a:gd name="T13" fmla="*/ 171 h 797"/>
                <a:gd name="T14" fmla="*/ 104 w 896"/>
                <a:gd name="T15" fmla="*/ 166 h 797"/>
                <a:gd name="T16" fmla="*/ 116 w 896"/>
                <a:gd name="T17" fmla="*/ 171 h 797"/>
                <a:gd name="T18" fmla="*/ 133 w 896"/>
                <a:gd name="T19" fmla="*/ 164 h 797"/>
                <a:gd name="T20" fmla="*/ 134 w 896"/>
                <a:gd name="T21" fmla="*/ 180 h 797"/>
                <a:gd name="T22" fmla="*/ 143 w 896"/>
                <a:gd name="T23" fmla="*/ 191 h 797"/>
                <a:gd name="T24" fmla="*/ 156 w 896"/>
                <a:gd name="T25" fmla="*/ 187 h 797"/>
                <a:gd name="T26" fmla="*/ 173 w 896"/>
                <a:gd name="T27" fmla="*/ 199 h 797"/>
                <a:gd name="T28" fmla="*/ 188 w 896"/>
                <a:gd name="T29" fmla="*/ 194 h 797"/>
                <a:gd name="T30" fmla="*/ 193 w 896"/>
                <a:gd name="T31" fmla="*/ 189 h 797"/>
                <a:gd name="T32" fmla="*/ 212 w 896"/>
                <a:gd name="T33" fmla="*/ 179 h 797"/>
                <a:gd name="T34" fmla="*/ 213 w 896"/>
                <a:gd name="T35" fmla="*/ 163 h 797"/>
                <a:gd name="T36" fmla="*/ 208 w 896"/>
                <a:gd name="T37" fmla="*/ 148 h 797"/>
                <a:gd name="T38" fmla="*/ 194 w 896"/>
                <a:gd name="T39" fmla="*/ 157 h 797"/>
                <a:gd name="T40" fmla="*/ 180 w 896"/>
                <a:gd name="T41" fmla="*/ 141 h 797"/>
                <a:gd name="T42" fmla="*/ 170 w 896"/>
                <a:gd name="T43" fmla="*/ 133 h 797"/>
                <a:gd name="T44" fmla="*/ 182 w 896"/>
                <a:gd name="T45" fmla="*/ 129 h 797"/>
                <a:gd name="T46" fmla="*/ 181 w 896"/>
                <a:gd name="T47" fmla="*/ 116 h 797"/>
                <a:gd name="T48" fmla="*/ 190 w 896"/>
                <a:gd name="T49" fmla="*/ 108 h 797"/>
                <a:gd name="T50" fmla="*/ 186 w 896"/>
                <a:gd name="T51" fmla="*/ 94 h 797"/>
                <a:gd name="T52" fmla="*/ 197 w 896"/>
                <a:gd name="T53" fmla="*/ 87 h 797"/>
                <a:gd name="T54" fmla="*/ 211 w 896"/>
                <a:gd name="T55" fmla="*/ 99 h 797"/>
                <a:gd name="T56" fmla="*/ 224 w 896"/>
                <a:gd name="T57" fmla="*/ 91 h 797"/>
                <a:gd name="T58" fmla="*/ 219 w 896"/>
                <a:gd name="T59" fmla="*/ 75 h 797"/>
                <a:gd name="T60" fmla="*/ 206 w 896"/>
                <a:gd name="T61" fmla="*/ 71 h 797"/>
                <a:gd name="T62" fmla="*/ 203 w 896"/>
                <a:gd name="T63" fmla="*/ 62 h 797"/>
                <a:gd name="T64" fmla="*/ 182 w 896"/>
                <a:gd name="T65" fmla="*/ 66 h 797"/>
                <a:gd name="T66" fmla="*/ 169 w 896"/>
                <a:gd name="T67" fmla="*/ 53 h 797"/>
                <a:gd name="T68" fmla="*/ 157 w 896"/>
                <a:gd name="T69" fmla="*/ 53 h 797"/>
                <a:gd name="T70" fmla="*/ 156 w 896"/>
                <a:gd name="T71" fmla="*/ 41 h 797"/>
                <a:gd name="T72" fmla="*/ 173 w 896"/>
                <a:gd name="T73" fmla="*/ 20 h 797"/>
                <a:gd name="T74" fmla="*/ 171 w 896"/>
                <a:gd name="T75" fmla="*/ 3 h 797"/>
                <a:gd name="T76" fmla="*/ 153 w 896"/>
                <a:gd name="T77" fmla="*/ 6 h 797"/>
                <a:gd name="T78" fmla="*/ 112 w 896"/>
                <a:gd name="T79" fmla="*/ 0 h 797"/>
                <a:gd name="T80" fmla="*/ 110 w 896"/>
                <a:gd name="T81" fmla="*/ 32 h 797"/>
                <a:gd name="T82" fmla="*/ 89 w 896"/>
                <a:gd name="T83" fmla="*/ 49 h 797"/>
                <a:gd name="T84" fmla="*/ 72 w 896"/>
                <a:gd name="T85" fmla="*/ 52 h 797"/>
                <a:gd name="T86" fmla="*/ 42 w 896"/>
                <a:gd name="T87" fmla="*/ 71 h 797"/>
                <a:gd name="T88" fmla="*/ 25 w 896"/>
                <a:gd name="T89" fmla="*/ 79 h 797"/>
                <a:gd name="T90" fmla="*/ 0 w 896"/>
                <a:gd name="T91" fmla="*/ 84 h 797"/>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896"/>
                <a:gd name="T139" fmla="*/ 0 h 797"/>
                <a:gd name="T140" fmla="*/ 896 w 896"/>
                <a:gd name="T141" fmla="*/ 797 h 797"/>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896" h="797">
                  <a:moveTo>
                    <a:pt x="0" y="339"/>
                  </a:moveTo>
                  <a:lnTo>
                    <a:pt x="28" y="402"/>
                  </a:lnTo>
                  <a:lnTo>
                    <a:pt x="65" y="463"/>
                  </a:lnTo>
                  <a:lnTo>
                    <a:pt x="120" y="510"/>
                  </a:lnTo>
                  <a:lnTo>
                    <a:pt x="117" y="561"/>
                  </a:lnTo>
                  <a:lnTo>
                    <a:pt x="211" y="648"/>
                  </a:lnTo>
                  <a:lnTo>
                    <a:pt x="302" y="685"/>
                  </a:lnTo>
                  <a:lnTo>
                    <a:pt x="416" y="667"/>
                  </a:lnTo>
                  <a:lnTo>
                    <a:pt x="465" y="687"/>
                  </a:lnTo>
                  <a:lnTo>
                    <a:pt x="532" y="659"/>
                  </a:lnTo>
                  <a:lnTo>
                    <a:pt x="536" y="721"/>
                  </a:lnTo>
                  <a:lnTo>
                    <a:pt x="571" y="764"/>
                  </a:lnTo>
                  <a:lnTo>
                    <a:pt x="624" y="748"/>
                  </a:lnTo>
                  <a:lnTo>
                    <a:pt x="689" y="797"/>
                  </a:lnTo>
                  <a:lnTo>
                    <a:pt x="750" y="776"/>
                  </a:lnTo>
                  <a:lnTo>
                    <a:pt x="772" y="756"/>
                  </a:lnTo>
                  <a:lnTo>
                    <a:pt x="845" y="719"/>
                  </a:lnTo>
                  <a:lnTo>
                    <a:pt x="851" y="654"/>
                  </a:lnTo>
                  <a:lnTo>
                    <a:pt x="831" y="595"/>
                  </a:lnTo>
                  <a:lnTo>
                    <a:pt x="774" y="630"/>
                  </a:lnTo>
                  <a:lnTo>
                    <a:pt x="717" y="567"/>
                  </a:lnTo>
                  <a:lnTo>
                    <a:pt x="678" y="534"/>
                  </a:lnTo>
                  <a:lnTo>
                    <a:pt x="727" y="518"/>
                  </a:lnTo>
                  <a:lnTo>
                    <a:pt x="723" y="465"/>
                  </a:lnTo>
                  <a:lnTo>
                    <a:pt x="760" y="433"/>
                  </a:lnTo>
                  <a:lnTo>
                    <a:pt x="743" y="378"/>
                  </a:lnTo>
                  <a:lnTo>
                    <a:pt x="788" y="349"/>
                  </a:lnTo>
                  <a:lnTo>
                    <a:pt x="841" y="398"/>
                  </a:lnTo>
                  <a:lnTo>
                    <a:pt x="896" y="366"/>
                  </a:lnTo>
                  <a:lnTo>
                    <a:pt x="876" y="303"/>
                  </a:lnTo>
                  <a:lnTo>
                    <a:pt x="823" y="284"/>
                  </a:lnTo>
                  <a:lnTo>
                    <a:pt x="811" y="250"/>
                  </a:lnTo>
                  <a:lnTo>
                    <a:pt x="727" y="266"/>
                  </a:lnTo>
                  <a:lnTo>
                    <a:pt x="676" y="213"/>
                  </a:lnTo>
                  <a:lnTo>
                    <a:pt x="626" y="215"/>
                  </a:lnTo>
                  <a:lnTo>
                    <a:pt x="622" y="165"/>
                  </a:lnTo>
                  <a:lnTo>
                    <a:pt x="691" y="83"/>
                  </a:lnTo>
                  <a:lnTo>
                    <a:pt x="683" y="12"/>
                  </a:lnTo>
                  <a:lnTo>
                    <a:pt x="609" y="26"/>
                  </a:lnTo>
                  <a:lnTo>
                    <a:pt x="445" y="0"/>
                  </a:lnTo>
                  <a:lnTo>
                    <a:pt x="437" y="130"/>
                  </a:lnTo>
                  <a:lnTo>
                    <a:pt x="353" y="197"/>
                  </a:lnTo>
                  <a:lnTo>
                    <a:pt x="288" y="209"/>
                  </a:lnTo>
                  <a:lnTo>
                    <a:pt x="168" y="286"/>
                  </a:lnTo>
                  <a:lnTo>
                    <a:pt x="97" y="317"/>
                  </a:lnTo>
                  <a:lnTo>
                    <a:pt x="0" y="339"/>
                  </a:lnTo>
                </a:path>
              </a:pathLst>
            </a:custGeom>
            <a:grpFill/>
            <a:ln w="6350">
              <a:solidFill>
                <a:schemeClr val="bg1"/>
              </a:solidFill>
              <a:prstDash val="solid"/>
              <a:round/>
            </a:ln>
          </p:spPr>
          <p:txBody>
            <a:bodyPr/>
            <a:lstStyle/>
            <a:p>
              <a:endParaRPr lang="zh-CN" altLang="en-US"/>
            </a:p>
          </p:txBody>
        </p:sp>
        <p:sp>
          <p:nvSpPr>
            <p:cNvPr id="84" name="Freeform 125"/>
            <p:cNvSpPr/>
            <p:nvPr/>
          </p:nvSpPr>
          <p:spPr bwMode="gray">
            <a:xfrm>
              <a:off x="3128" y="2050"/>
              <a:ext cx="251" cy="526"/>
            </a:xfrm>
            <a:custGeom>
              <a:avLst/>
              <a:gdLst>
                <a:gd name="T0" fmla="*/ 7 w 502"/>
                <a:gd name="T1" fmla="*/ 236 h 1051"/>
                <a:gd name="T2" fmla="*/ 6 w 502"/>
                <a:gd name="T3" fmla="*/ 263 h 1051"/>
                <a:gd name="T4" fmla="*/ 30 w 502"/>
                <a:gd name="T5" fmla="*/ 257 h 1051"/>
                <a:gd name="T6" fmla="*/ 48 w 502"/>
                <a:gd name="T7" fmla="*/ 250 h 1051"/>
                <a:gd name="T8" fmla="*/ 78 w 502"/>
                <a:gd name="T9" fmla="*/ 230 h 1051"/>
                <a:gd name="T10" fmla="*/ 94 w 502"/>
                <a:gd name="T11" fmla="*/ 228 h 1051"/>
                <a:gd name="T12" fmla="*/ 115 w 502"/>
                <a:gd name="T13" fmla="*/ 210 h 1051"/>
                <a:gd name="T14" fmla="*/ 117 w 502"/>
                <a:gd name="T15" fmla="*/ 178 h 1051"/>
                <a:gd name="T16" fmla="*/ 108 w 502"/>
                <a:gd name="T17" fmla="*/ 169 h 1051"/>
                <a:gd name="T18" fmla="*/ 109 w 502"/>
                <a:gd name="T19" fmla="*/ 159 h 1051"/>
                <a:gd name="T20" fmla="*/ 115 w 502"/>
                <a:gd name="T21" fmla="*/ 150 h 1051"/>
                <a:gd name="T22" fmla="*/ 114 w 502"/>
                <a:gd name="T23" fmla="*/ 142 h 1051"/>
                <a:gd name="T24" fmla="*/ 121 w 502"/>
                <a:gd name="T25" fmla="*/ 126 h 1051"/>
                <a:gd name="T26" fmla="*/ 118 w 502"/>
                <a:gd name="T27" fmla="*/ 109 h 1051"/>
                <a:gd name="T28" fmla="*/ 99 w 502"/>
                <a:gd name="T29" fmla="*/ 99 h 1051"/>
                <a:gd name="T30" fmla="*/ 100 w 502"/>
                <a:gd name="T31" fmla="*/ 81 h 1051"/>
                <a:gd name="T32" fmla="*/ 108 w 502"/>
                <a:gd name="T33" fmla="*/ 74 h 1051"/>
                <a:gd name="T34" fmla="*/ 109 w 502"/>
                <a:gd name="T35" fmla="*/ 64 h 1051"/>
                <a:gd name="T36" fmla="*/ 119 w 502"/>
                <a:gd name="T37" fmla="*/ 60 h 1051"/>
                <a:gd name="T38" fmla="*/ 126 w 502"/>
                <a:gd name="T39" fmla="*/ 43 h 1051"/>
                <a:gd name="T40" fmla="*/ 119 w 502"/>
                <a:gd name="T41" fmla="*/ 31 h 1051"/>
                <a:gd name="T42" fmla="*/ 110 w 502"/>
                <a:gd name="T43" fmla="*/ 26 h 1051"/>
                <a:gd name="T44" fmla="*/ 111 w 502"/>
                <a:gd name="T45" fmla="*/ 16 h 1051"/>
                <a:gd name="T46" fmla="*/ 121 w 502"/>
                <a:gd name="T47" fmla="*/ 11 h 1051"/>
                <a:gd name="T48" fmla="*/ 114 w 502"/>
                <a:gd name="T49" fmla="*/ 0 h 1051"/>
                <a:gd name="T50" fmla="*/ 87 w 502"/>
                <a:gd name="T51" fmla="*/ 11 h 1051"/>
                <a:gd name="T52" fmla="*/ 72 w 502"/>
                <a:gd name="T53" fmla="*/ 11 h 1051"/>
                <a:gd name="T54" fmla="*/ 50 w 502"/>
                <a:gd name="T55" fmla="*/ 19 h 1051"/>
                <a:gd name="T56" fmla="*/ 38 w 502"/>
                <a:gd name="T57" fmla="*/ 49 h 1051"/>
                <a:gd name="T58" fmla="*/ 19 w 502"/>
                <a:gd name="T59" fmla="*/ 56 h 1051"/>
                <a:gd name="T60" fmla="*/ 19 w 502"/>
                <a:gd name="T61" fmla="*/ 73 h 1051"/>
                <a:gd name="T62" fmla="*/ 12 w 502"/>
                <a:gd name="T63" fmla="*/ 104 h 1051"/>
                <a:gd name="T64" fmla="*/ 0 w 502"/>
                <a:gd name="T65" fmla="*/ 117 h 1051"/>
                <a:gd name="T66" fmla="*/ 13 w 502"/>
                <a:gd name="T67" fmla="*/ 139 h 1051"/>
                <a:gd name="T68" fmla="*/ 4 w 502"/>
                <a:gd name="T69" fmla="*/ 164 h 1051"/>
                <a:gd name="T70" fmla="*/ 9 w 502"/>
                <a:gd name="T71" fmla="*/ 198 h 1051"/>
                <a:gd name="T72" fmla="*/ 15 w 502"/>
                <a:gd name="T73" fmla="*/ 220 h 1051"/>
                <a:gd name="T74" fmla="*/ 7 w 502"/>
                <a:gd name="T75" fmla="*/ 236 h 1051"/>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02"/>
                <a:gd name="T115" fmla="*/ 0 h 1051"/>
                <a:gd name="T116" fmla="*/ 502 w 502"/>
                <a:gd name="T117" fmla="*/ 1051 h 1051"/>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02" h="1051">
                  <a:moveTo>
                    <a:pt x="25" y="942"/>
                  </a:moveTo>
                  <a:lnTo>
                    <a:pt x="23" y="1051"/>
                  </a:lnTo>
                  <a:lnTo>
                    <a:pt x="120" y="1027"/>
                  </a:lnTo>
                  <a:lnTo>
                    <a:pt x="191" y="998"/>
                  </a:lnTo>
                  <a:lnTo>
                    <a:pt x="311" y="919"/>
                  </a:lnTo>
                  <a:lnTo>
                    <a:pt x="376" y="909"/>
                  </a:lnTo>
                  <a:lnTo>
                    <a:pt x="460" y="840"/>
                  </a:lnTo>
                  <a:lnTo>
                    <a:pt x="468" y="712"/>
                  </a:lnTo>
                  <a:lnTo>
                    <a:pt x="429" y="675"/>
                  </a:lnTo>
                  <a:lnTo>
                    <a:pt x="433" y="635"/>
                  </a:lnTo>
                  <a:lnTo>
                    <a:pt x="460" y="600"/>
                  </a:lnTo>
                  <a:lnTo>
                    <a:pt x="454" y="565"/>
                  </a:lnTo>
                  <a:lnTo>
                    <a:pt x="484" y="504"/>
                  </a:lnTo>
                  <a:lnTo>
                    <a:pt x="470" y="433"/>
                  </a:lnTo>
                  <a:lnTo>
                    <a:pt x="395" y="395"/>
                  </a:lnTo>
                  <a:lnTo>
                    <a:pt x="397" y="324"/>
                  </a:lnTo>
                  <a:lnTo>
                    <a:pt x="429" y="293"/>
                  </a:lnTo>
                  <a:lnTo>
                    <a:pt x="435" y="254"/>
                  </a:lnTo>
                  <a:lnTo>
                    <a:pt x="476" y="240"/>
                  </a:lnTo>
                  <a:lnTo>
                    <a:pt x="502" y="169"/>
                  </a:lnTo>
                  <a:lnTo>
                    <a:pt x="476" y="122"/>
                  </a:lnTo>
                  <a:lnTo>
                    <a:pt x="437" y="104"/>
                  </a:lnTo>
                  <a:lnTo>
                    <a:pt x="441" y="61"/>
                  </a:lnTo>
                  <a:lnTo>
                    <a:pt x="484" y="41"/>
                  </a:lnTo>
                  <a:lnTo>
                    <a:pt x="454" y="0"/>
                  </a:lnTo>
                  <a:lnTo>
                    <a:pt x="348" y="43"/>
                  </a:lnTo>
                  <a:lnTo>
                    <a:pt x="285" y="43"/>
                  </a:lnTo>
                  <a:lnTo>
                    <a:pt x="199" y="74"/>
                  </a:lnTo>
                  <a:lnTo>
                    <a:pt x="151" y="193"/>
                  </a:lnTo>
                  <a:lnTo>
                    <a:pt x="73" y="222"/>
                  </a:lnTo>
                  <a:lnTo>
                    <a:pt x="73" y="291"/>
                  </a:lnTo>
                  <a:lnTo>
                    <a:pt x="45" y="415"/>
                  </a:lnTo>
                  <a:lnTo>
                    <a:pt x="0" y="468"/>
                  </a:lnTo>
                  <a:lnTo>
                    <a:pt x="51" y="555"/>
                  </a:lnTo>
                  <a:lnTo>
                    <a:pt x="14" y="655"/>
                  </a:lnTo>
                  <a:lnTo>
                    <a:pt x="33" y="789"/>
                  </a:lnTo>
                  <a:lnTo>
                    <a:pt x="57" y="877"/>
                  </a:lnTo>
                  <a:lnTo>
                    <a:pt x="25" y="942"/>
                  </a:lnTo>
                  <a:close/>
                </a:path>
              </a:pathLst>
            </a:custGeom>
            <a:grpFill/>
            <a:ln w="0">
              <a:solidFill>
                <a:schemeClr val="bg1"/>
              </a:solidFill>
              <a:prstDash val="solid"/>
              <a:round/>
            </a:ln>
          </p:spPr>
          <p:txBody>
            <a:bodyPr/>
            <a:lstStyle/>
            <a:p>
              <a:endParaRPr lang="zh-CN" altLang="en-US"/>
            </a:p>
          </p:txBody>
        </p:sp>
        <p:sp>
          <p:nvSpPr>
            <p:cNvPr id="90" name="Freeform 126"/>
            <p:cNvSpPr/>
            <p:nvPr/>
          </p:nvSpPr>
          <p:spPr bwMode="gray">
            <a:xfrm>
              <a:off x="3128" y="2050"/>
              <a:ext cx="251" cy="526"/>
            </a:xfrm>
            <a:custGeom>
              <a:avLst/>
              <a:gdLst>
                <a:gd name="T0" fmla="*/ 7 w 502"/>
                <a:gd name="T1" fmla="*/ 236 h 1051"/>
                <a:gd name="T2" fmla="*/ 6 w 502"/>
                <a:gd name="T3" fmla="*/ 263 h 1051"/>
                <a:gd name="T4" fmla="*/ 30 w 502"/>
                <a:gd name="T5" fmla="*/ 257 h 1051"/>
                <a:gd name="T6" fmla="*/ 48 w 502"/>
                <a:gd name="T7" fmla="*/ 250 h 1051"/>
                <a:gd name="T8" fmla="*/ 78 w 502"/>
                <a:gd name="T9" fmla="*/ 230 h 1051"/>
                <a:gd name="T10" fmla="*/ 94 w 502"/>
                <a:gd name="T11" fmla="*/ 228 h 1051"/>
                <a:gd name="T12" fmla="*/ 115 w 502"/>
                <a:gd name="T13" fmla="*/ 210 h 1051"/>
                <a:gd name="T14" fmla="*/ 117 w 502"/>
                <a:gd name="T15" fmla="*/ 178 h 1051"/>
                <a:gd name="T16" fmla="*/ 108 w 502"/>
                <a:gd name="T17" fmla="*/ 169 h 1051"/>
                <a:gd name="T18" fmla="*/ 109 w 502"/>
                <a:gd name="T19" fmla="*/ 159 h 1051"/>
                <a:gd name="T20" fmla="*/ 115 w 502"/>
                <a:gd name="T21" fmla="*/ 150 h 1051"/>
                <a:gd name="T22" fmla="*/ 114 w 502"/>
                <a:gd name="T23" fmla="*/ 142 h 1051"/>
                <a:gd name="T24" fmla="*/ 121 w 502"/>
                <a:gd name="T25" fmla="*/ 126 h 1051"/>
                <a:gd name="T26" fmla="*/ 118 w 502"/>
                <a:gd name="T27" fmla="*/ 109 h 1051"/>
                <a:gd name="T28" fmla="*/ 99 w 502"/>
                <a:gd name="T29" fmla="*/ 99 h 1051"/>
                <a:gd name="T30" fmla="*/ 100 w 502"/>
                <a:gd name="T31" fmla="*/ 81 h 1051"/>
                <a:gd name="T32" fmla="*/ 108 w 502"/>
                <a:gd name="T33" fmla="*/ 74 h 1051"/>
                <a:gd name="T34" fmla="*/ 109 w 502"/>
                <a:gd name="T35" fmla="*/ 64 h 1051"/>
                <a:gd name="T36" fmla="*/ 119 w 502"/>
                <a:gd name="T37" fmla="*/ 60 h 1051"/>
                <a:gd name="T38" fmla="*/ 126 w 502"/>
                <a:gd name="T39" fmla="*/ 43 h 1051"/>
                <a:gd name="T40" fmla="*/ 119 w 502"/>
                <a:gd name="T41" fmla="*/ 31 h 1051"/>
                <a:gd name="T42" fmla="*/ 110 w 502"/>
                <a:gd name="T43" fmla="*/ 26 h 1051"/>
                <a:gd name="T44" fmla="*/ 111 w 502"/>
                <a:gd name="T45" fmla="*/ 16 h 1051"/>
                <a:gd name="T46" fmla="*/ 121 w 502"/>
                <a:gd name="T47" fmla="*/ 11 h 1051"/>
                <a:gd name="T48" fmla="*/ 114 w 502"/>
                <a:gd name="T49" fmla="*/ 0 h 1051"/>
                <a:gd name="T50" fmla="*/ 87 w 502"/>
                <a:gd name="T51" fmla="*/ 11 h 1051"/>
                <a:gd name="T52" fmla="*/ 72 w 502"/>
                <a:gd name="T53" fmla="*/ 11 h 1051"/>
                <a:gd name="T54" fmla="*/ 50 w 502"/>
                <a:gd name="T55" fmla="*/ 19 h 1051"/>
                <a:gd name="T56" fmla="*/ 38 w 502"/>
                <a:gd name="T57" fmla="*/ 49 h 1051"/>
                <a:gd name="T58" fmla="*/ 19 w 502"/>
                <a:gd name="T59" fmla="*/ 56 h 1051"/>
                <a:gd name="T60" fmla="*/ 19 w 502"/>
                <a:gd name="T61" fmla="*/ 73 h 1051"/>
                <a:gd name="T62" fmla="*/ 12 w 502"/>
                <a:gd name="T63" fmla="*/ 104 h 1051"/>
                <a:gd name="T64" fmla="*/ 0 w 502"/>
                <a:gd name="T65" fmla="*/ 117 h 1051"/>
                <a:gd name="T66" fmla="*/ 13 w 502"/>
                <a:gd name="T67" fmla="*/ 139 h 1051"/>
                <a:gd name="T68" fmla="*/ 4 w 502"/>
                <a:gd name="T69" fmla="*/ 164 h 1051"/>
                <a:gd name="T70" fmla="*/ 9 w 502"/>
                <a:gd name="T71" fmla="*/ 198 h 1051"/>
                <a:gd name="T72" fmla="*/ 15 w 502"/>
                <a:gd name="T73" fmla="*/ 220 h 1051"/>
                <a:gd name="T74" fmla="*/ 7 w 502"/>
                <a:gd name="T75" fmla="*/ 236 h 1051"/>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02"/>
                <a:gd name="T115" fmla="*/ 0 h 1051"/>
                <a:gd name="T116" fmla="*/ 502 w 502"/>
                <a:gd name="T117" fmla="*/ 1051 h 1051"/>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02" h="1051">
                  <a:moveTo>
                    <a:pt x="25" y="942"/>
                  </a:moveTo>
                  <a:lnTo>
                    <a:pt x="23" y="1051"/>
                  </a:lnTo>
                  <a:lnTo>
                    <a:pt x="120" y="1027"/>
                  </a:lnTo>
                  <a:lnTo>
                    <a:pt x="191" y="998"/>
                  </a:lnTo>
                  <a:lnTo>
                    <a:pt x="311" y="919"/>
                  </a:lnTo>
                  <a:lnTo>
                    <a:pt x="376" y="909"/>
                  </a:lnTo>
                  <a:lnTo>
                    <a:pt x="460" y="840"/>
                  </a:lnTo>
                  <a:lnTo>
                    <a:pt x="468" y="712"/>
                  </a:lnTo>
                  <a:lnTo>
                    <a:pt x="429" y="675"/>
                  </a:lnTo>
                  <a:lnTo>
                    <a:pt x="433" y="635"/>
                  </a:lnTo>
                  <a:lnTo>
                    <a:pt x="460" y="600"/>
                  </a:lnTo>
                  <a:lnTo>
                    <a:pt x="454" y="565"/>
                  </a:lnTo>
                  <a:lnTo>
                    <a:pt x="484" y="504"/>
                  </a:lnTo>
                  <a:lnTo>
                    <a:pt x="470" y="433"/>
                  </a:lnTo>
                  <a:lnTo>
                    <a:pt x="395" y="395"/>
                  </a:lnTo>
                  <a:lnTo>
                    <a:pt x="397" y="324"/>
                  </a:lnTo>
                  <a:lnTo>
                    <a:pt x="429" y="293"/>
                  </a:lnTo>
                  <a:lnTo>
                    <a:pt x="435" y="254"/>
                  </a:lnTo>
                  <a:lnTo>
                    <a:pt x="476" y="240"/>
                  </a:lnTo>
                  <a:lnTo>
                    <a:pt x="502" y="169"/>
                  </a:lnTo>
                  <a:lnTo>
                    <a:pt x="476" y="122"/>
                  </a:lnTo>
                  <a:lnTo>
                    <a:pt x="437" y="104"/>
                  </a:lnTo>
                  <a:lnTo>
                    <a:pt x="441" y="61"/>
                  </a:lnTo>
                  <a:lnTo>
                    <a:pt x="484" y="41"/>
                  </a:lnTo>
                  <a:lnTo>
                    <a:pt x="454" y="0"/>
                  </a:lnTo>
                  <a:lnTo>
                    <a:pt x="348" y="43"/>
                  </a:lnTo>
                  <a:lnTo>
                    <a:pt x="285" y="43"/>
                  </a:lnTo>
                  <a:lnTo>
                    <a:pt x="199" y="74"/>
                  </a:lnTo>
                  <a:lnTo>
                    <a:pt x="151" y="193"/>
                  </a:lnTo>
                  <a:lnTo>
                    <a:pt x="73" y="222"/>
                  </a:lnTo>
                  <a:lnTo>
                    <a:pt x="73" y="291"/>
                  </a:lnTo>
                  <a:lnTo>
                    <a:pt x="45" y="415"/>
                  </a:lnTo>
                  <a:lnTo>
                    <a:pt x="0" y="468"/>
                  </a:lnTo>
                  <a:lnTo>
                    <a:pt x="51" y="555"/>
                  </a:lnTo>
                  <a:lnTo>
                    <a:pt x="14" y="655"/>
                  </a:lnTo>
                  <a:lnTo>
                    <a:pt x="33" y="789"/>
                  </a:lnTo>
                  <a:lnTo>
                    <a:pt x="57" y="877"/>
                  </a:lnTo>
                  <a:lnTo>
                    <a:pt x="25" y="942"/>
                  </a:lnTo>
                </a:path>
              </a:pathLst>
            </a:custGeom>
            <a:grpFill/>
            <a:ln w="6350">
              <a:solidFill>
                <a:schemeClr val="bg1"/>
              </a:solidFill>
              <a:prstDash val="solid"/>
              <a:round/>
            </a:ln>
          </p:spPr>
          <p:txBody>
            <a:bodyPr/>
            <a:lstStyle/>
            <a:p>
              <a:endParaRPr lang="zh-CN" altLang="en-US"/>
            </a:p>
          </p:txBody>
        </p:sp>
        <p:sp>
          <p:nvSpPr>
            <p:cNvPr id="92" name="Freeform 127"/>
            <p:cNvSpPr/>
            <p:nvPr/>
          </p:nvSpPr>
          <p:spPr bwMode="gray">
            <a:xfrm>
              <a:off x="2736" y="2154"/>
              <a:ext cx="464" cy="664"/>
            </a:xfrm>
            <a:custGeom>
              <a:avLst/>
              <a:gdLst>
                <a:gd name="T0" fmla="*/ 2 w 929"/>
                <a:gd name="T1" fmla="*/ 106 h 1329"/>
                <a:gd name="T2" fmla="*/ 21 w 929"/>
                <a:gd name="T3" fmla="*/ 126 h 1329"/>
                <a:gd name="T4" fmla="*/ 31 w 929"/>
                <a:gd name="T5" fmla="*/ 148 h 1329"/>
                <a:gd name="T6" fmla="*/ 26 w 929"/>
                <a:gd name="T7" fmla="*/ 170 h 1329"/>
                <a:gd name="T8" fmla="*/ 43 w 929"/>
                <a:gd name="T9" fmla="*/ 183 h 1329"/>
                <a:gd name="T10" fmla="*/ 68 w 929"/>
                <a:gd name="T11" fmla="*/ 187 h 1329"/>
                <a:gd name="T12" fmla="*/ 79 w 929"/>
                <a:gd name="T13" fmla="*/ 172 h 1329"/>
                <a:gd name="T14" fmla="*/ 78 w 929"/>
                <a:gd name="T15" fmla="*/ 153 h 1329"/>
                <a:gd name="T16" fmla="*/ 72 w 929"/>
                <a:gd name="T17" fmla="*/ 108 h 1329"/>
                <a:gd name="T18" fmla="*/ 92 w 929"/>
                <a:gd name="T19" fmla="*/ 113 h 1329"/>
                <a:gd name="T20" fmla="*/ 109 w 929"/>
                <a:gd name="T21" fmla="*/ 126 h 1329"/>
                <a:gd name="T22" fmla="*/ 143 w 929"/>
                <a:gd name="T23" fmla="*/ 150 h 1329"/>
                <a:gd name="T24" fmla="*/ 140 w 929"/>
                <a:gd name="T25" fmla="*/ 174 h 1329"/>
                <a:gd name="T26" fmla="*/ 112 w 929"/>
                <a:gd name="T27" fmla="*/ 189 h 1329"/>
                <a:gd name="T28" fmla="*/ 99 w 929"/>
                <a:gd name="T29" fmla="*/ 204 h 1329"/>
                <a:gd name="T30" fmla="*/ 71 w 929"/>
                <a:gd name="T31" fmla="*/ 199 h 1329"/>
                <a:gd name="T32" fmla="*/ 65 w 929"/>
                <a:gd name="T33" fmla="*/ 222 h 1329"/>
                <a:gd name="T34" fmla="*/ 70 w 929"/>
                <a:gd name="T35" fmla="*/ 249 h 1329"/>
                <a:gd name="T36" fmla="*/ 48 w 929"/>
                <a:gd name="T37" fmla="*/ 267 h 1329"/>
                <a:gd name="T38" fmla="*/ 53 w 929"/>
                <a:gd name="T39" fmla="*/ 285 h 1329"/>
                <a:gd name="T40" fmla="*/ 63 w 929"/>
                <a:gd name="T41" fmla="*/ 304 h 1329"/>
                <a:gd name="T42" fmla="*/ 110 w 929"/>
                <a:gd name="T43" fmla="*/ 308 h 1329"/>
                <a:gd name="T44" fmla="*/ 142 w 929"/>
                <a:gd name="T45" fmla="*/ 313 h 1329"/>
                <a:gd name="T46" fmla="*/ 172 w 929"/>
                <a:gd name="T47" fmla="*/ 324 h 1329"/>
                <a:gd name="T48" fmla="*/ 188 w 929"/>
                <a:gd name="T49" fmla="*/ 330 h 1329"/>
                <a:gd name="T50" fmla="*/ 181 w 929"/>
                <a:gd name="T51" fmla="*/ 308 h 1329"/>
                <a:gd name="T52" fmla="*/ 202 w 929"/>
                <a:gd name="T53" fmla="*/ 290 h 1329"/>
                <a:gd name="T54" fmla="*/ 178 w 929"/>
                <a:gd name="T55" fmla="*/ 276 h 1329"/>
                <a:gd name="T56" fmla="*/ 200 w 929"/>
                <a:gd name="T57" fmla="*/ 270 h 1329"/>
                <a:gd name="T58" fmla="*/ 231 w 929"/>
                <a:gd name="T59" fmla="*/ 266 h 1329"/>
                <a:gd name="T60" fmla="*/ 218 w 929"/>
                <a:gd name="T61" fmla="*/ 241 h 1329"/>
                <a:gd name="T62" fmla="*/ 202 w 929"/>
                <a:gd name="T63" fmla="*/ 211 h 1329"/>
                <a:gd name="T64" fmla="*/ 210 w 929"/>
                <a:gd name="T65" fmla="*/ 167 h 1329"/>
                <a:gd name="T66" fmla="*/ 200 w 929"/>
                <a:gd name="T67" fmla="*/ 112 h 1329"/>
                <a:gd name="T68" fmla="*/ 196 w 929"/>
                <a:gd name="T69" fmla="*/ 65 h 1329"/>
                <a:gd name="T70" fmla="*/ 214 w 929"/>
                <a:gd name="T71" fmla="*/ 21 h 1329"/>
                <a:gd name="T72" fmla="*/ 206 w 929"/>
                <a:gd name="T73" fmla="*/ 0 h 1329"/>
                <a:gd name="T74" fmla="*/ 182 w 929"/>
                <a:gd name="T75" fmla="*/ 10 h 1329"/>
                <a:gd name="T76" fmla="*/ 164 w 929"/>
                <a:gd name="T77" fmla="*/ 44 h 1329"/>
                <a:gd name="T78" fmla="*/ 129 w 929"/>
                <a:gd name="T79" fmla="*/ 87 h 1329"/>
                <a:gd name="T80" fmla="*/ 99 w 929"/>
                <a:gd name="T81" fmla="*/ 84 h 1329"/>
                <a:gd name="T82" fmla="*/ 74 w 929"/>
                <a:gd name="T83" fmla="*/ 70 h 1329"/>
                <a:gd name="T84" fmla="*/ 72 w 929"/>
                <a:gd name="T85" fmla="*/ 42 h 1329"/>
                <a:gd name="T86" fmla="*/ 68 w 929"/>
                <a:gd name="T87" fmla="*/ 18 h 1329"/>
                <a:gd name="T88" fmla="*/ 43 w 929"/>
                <a:gd name="T89" fmla="*/ 42 h 1329"/>
                <a:gd name="T90" fmla="*/ 26 w 929"/>
                <a:gd name="T91" fmla="*/ 90 h 1329"/>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929"/>
                <a:gd name="T139" fmla="*/ 0 h 1329"/>
                <a:gd name="T140" fmla="*/ 929 w 929"/>
                <a:gd name="T141" fmla="*/ 1329 h 1329"/>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929" h="1329">
                  <a:moveTo>
                    <a:pt x="0" y="406"/>
                  </a:moveTo>
                  <a:lnTo>
                    <a:pt x="8" y="425"/>
                  </a:lnTo>
                  <a:lnTo>
                    <a:pt x="36" y="461"/>
                  </a:lnTo>
                  <a:lnTo>
                    <a:pt x="87" y="504"/>
                  </a:lnTo>
                  <a:lnTo>
                    <a:pt x="85" y="538"/>
                  </a:lnTo>
                  <a:lnTo>
                    <a:pt x="124" y="595"/>
                  </a:lnTo>
                  <a:lnTo>
                    <a:pt x="107" y="636"/>
                  </a:lnTo>
                  <a:lnTo>
                    <a:pt x="107" y="681"/>
                  </a:lnTo>
                  <a:lnTo>
                    <a:pt x="150" y="697"/>
                  </a:lnTo>
                  <a:lnTo>
                    <a:pt x="174" y="732"/>
                  </a:lnTo>
                  <a:lnTo>
                    <a:pt x="239" y="762"/>
                  </a:lnTo>
                  <a:lnTo>
                    <a:pt x="272" y="748"/>
                  </a:lnTo>
                  <a:lnTo>
                    <a:pt x="278" y="705"/>
                  </a:lnTo>
                  <a:lnTo>
                    <a:pt x="317" y="689"/>
                  </a:lnTo>
                  <a:lnTo>
                    <a:pt x="335" y="648"/>
                  </a:lnTo>
                  <a:lnTo>
                    <a:pt x="315" y="612"/>
                  </a:lnTo>
                  <a:lnTo>
                    <a:pt x="264" y="593"/>
                  </a:lnTo>
                  <a:lnTo>
                    <a:pt x="288" y="435"/>
                  </a:lnTo>
                  <a:lnTo>
                    <a:pt x="319" y="451"/>
                  </a:lnTo>
                  <a:lnTo>
                    <a:pt x="370" y="453"/>
                  </a:lnTo>
                  <a:lnTo>
                    <a:pt x="372" y="484"/>
                  </a:lnTo>
                  <a:lnTo>
                    <a:pt x="439" y="504"/>
                  </a:lnTo>
                  <a:lnTo>
                    <a:pt x="563" y="559"/>
                  </a:lnTo>
                  <a:lnTo>
                    <a:pt x="575" y="603"/>
                  </a:lnTo>
                  <a:lnTo>
                    <a:pt x="550" y="646"/>
                  </a:lnTo>
                  <a:lnTo>
                    <a:pt x="561" y="697"/>
                  </a:lnTo>
                  <a:lnTo>
                    <a:pt x="557" y="750"/>
                  </a:lnTo>
                  <a:lnTo>
                    <a:pt x="449" y="758"/>
                  </a:lnTo>
                  <a:lnTo>
                    <a:pt x="449" y="807"/>
                  </a:lnTo>
                  <a:lnTo>
                    <a:pt x="396" y="819"/>
                  </a:lnTo>
                  <a:lnTo>
                    <a:pt x="349" y="793"/>
                  </a:lnTo>
                  <a:lnTo>
                    <a:pt x="286" y="797"/>
                  </a:lnTo>
                  <a:lnTo>
                    <a:pt x="288" y="851"/>
                  </a:lnTo>
                  <a:lnTo>
                    <a:pt x="260" y="890"/>
                  </a:lnTo>
                  <a:lnTo>
                    <a:pt x="305" y="921"/>
                  </a:lnTo>
                  <a:lnTo>
                    <a:pt x="282" y="998"/>
                  </a:lnTo>
                  <a:lnTo>
                    <a:pt x="292" y="1057"/>
                  </a:lnTo>
                  <a:lnTo>
                    <a:pt x="195" y="1071"/>
                  </a:lnTo>
                  <a:lnTo>
                    <a:pt x="211" y="1093"/>
                  </a:lnTo>
                  <a:lnTo>
                    <a:pt x="215" y="1142"/>
                  </a:lnTo>
                  <a:lnTo>
                    <a:pt x="191" y="1156"/>
                  </a:lnTo>
                  <a:lnTo>
                    <a:pt x="252" y="1217"/>
                  </a:lnTo>
                  <a:lnTo>
                    <a:pt x="345" y="1191"/>
                  </a:lnTo>
                  <a:lnTo>
                    <a:pt x="443" y="1232"/>
                  </a:lnTo>
                  <a:lnTo>
                    <a:pt x="506" y="1280"/>
                  </a:lnTo>
                  <a:lnTo>
                    <a:pt x="571" y="1254"/>
                  </a:lnTo>
                  <a:lnTo>
                    <a:pt x="642" y="1299"/>
                  </a:lnTo>
                  <a:lnTo>
                    <a:pt x="689" y="1299"/>
                  </a:lnTo>
                  <a:lnTo>
                    <a:pt x="691" y="1329"/>
                  </a:lnTo>
                  <a:lnTo>
                    <a:pt x="754" y="1323"/>
                  </a:lnTo>
                  <a:lnTo>
                    <a:pt x="756" y="1270"/>
                  </a:lnTo>
                  <a:lnTo>
                    <a:pt x="727" y="1234"/>
                  </a:lnTo>
                  <a:lnTo>
                    <a:pt x="748" y="1205"/>
                  </a:lnTo>
                  <a:lnTo>
                    <a:pt x="811" y="1163"/>
                  </a:lnTo>
                  <a:lnTo>
                    <a:pt x="776" y="1142"/>
                  </a:lnTo>
                  <a:lnTo>
                    <a:pt x="715" y="1104"/>
                  </a:lnTo>
                  <a:lnTo>
                    <a:pt x="733" y="1069"/>
                  </a:lnTo>
                  <a:lnTo>
                    <a:pt x="802" y="1083"/>
                  </a:lnTo>
                  <a:lnTo>
                    <a:pt x="880" y="1089"/>
                  </a:lnTo>
                  <a:lnTo>
                    <a:pt x="926" y="1065"/>
                  </a:lnTo>
                  <a:lnTo>
                    <a:pt x="929" y="1014"/>
                  </a:lnTo>
                  <a:lnTo>
                    <a:pt x="874" y="967"/>
                  </a:lnTo>
                  <a:lnTo>
                    <a:pt x="837" y="906"/>
                  </a:lnTo>
                  <a:lnTo>
                    <a:pt x="809" y="845"/>
                  </a:lnTo>
                  <a:lnTo>
                    <a:pt x="811" y="736"/>
                  </a:lnTo>
                  <a:lnTo>
                    <a:pt x="843" y="671"/>
                  </a:lnTo>
                  <a:lnTo>
                    <a:pt x="819" y="583"/>
                  </a:lnTo>
                  <a:lnTo>
                    <a:pt x="800" y="449"/>
                  </a:lnTo>
                  <a:lnTo>
                    <a:pt x="837" y="351"/>
                  </a:lnTo>
                  <a:lnTo>
                    <a:pt x="786" y="262"/>
                  </a:lnTo>
                  <a:lnTo>
                    <a:pt x="829" y="209"/>
                  </a:lnTo>
                  <a:lnTo>
                    <a:pt x="859" y="85"/>
                  </a:lnTo>
                  <a:lnTo>
                    <a:pt x="859" y="18"/>
                  </a:lnTo>
                  <a:lnTo>
                    <a:pt x="825" y="0"/>
                  </a:lnTo>
                  <a:lnTo>
                    <a:pt x="788" y="59"/>
                  </a:lnTo>
                  <a:lnTo>
                    <a:pt x="731" y="40"/>
                  </a:lnTo>
                  <a:lnTo>
                    <a:pt x="678" y="99"/>
                  </a:lnTo>
                  <a:lnTo>
                    <a:pt x="658" y="179"/>
                  </a:lnTo>
                  <a:lnTo>
                    <a:pt x="561" y="309"/>
                  </a:lnTo>
                  <a:lnTo>
                    <a:pt x="516" y="349"/>
                  </a:lnTo>
                  <a:lnTo>
                    <a:pt x="487" y="321"/>
                  </a:lnTo>
                  <a:lnTo>
                    <a:pt x="396" y="337"/>
                  </a:lnTo>
                  <a:lnTo>
                    <a:pt x="355" y="284"/>
                  </a:lnTo>
                  <a:lnTo>
                    <a:pt x="296" y="282"/>
                  </a:lnTo>
                  <a:lnTo>
                    <a:pt x="254" y="242"/>
                  </a:lnTo>
                  <a:lnTo>
                    <a:pt x="290" y="168"/>
                  </a:lnTo>
                  <a:lnTo>
                    <a:pt x="305" y="122"/>
                  </a:lnTo>
                  <a:lnTo>
                    <a:pt x="272" y="73"/>
                  </a:lnTo>
                  <a:lnTo>
                    <a:pt x="207" y="91"/>
                  </a:lnTo>
                  <a:lnTo>
                    <a:pt x="172" y="170"/>
                  </a:lnTo>
                  <a:lnTo>
                    <a:pt x="158" y="307"/>
                  </a:lnTo>
                  <a:lnTo>
                    <a:pt x="107" y="362"/>
                  </a:lnTo>
                  <a:lnTo>
                    <a:pt x="0" y="406"/>
                  </a:lnTo>
                </a:path>
              </a:pathLst>
            </a:custGeom>
            <a:grpFill/>
            <a:ln w="6350">
              <a:solidFill>
                <a:schemeClr val="bg1"/>
              </a:solidFill>
              <a:prstDash val="solid"/>
              <a:round/>
            </a:ln>
          </p:spPr>
          <p:txBody>
            <a:bodyPr/>
            <a:lstStyle/>
            <a:p>
              <a:endParaRPr lang="zh-CN" altLang="en-US"/>
            </a:p>
          </p:txBody>
        </p:sp>
        <p:sp>
          <p:nvSpPr>
            <p:cNvPr id="96" name="Freeform 128"/>
            <p:cNvSpPr/>
            <p:nvPr/>
          </p:nvSpPr>
          <p:spPr bwMode="gray">
            <a:xfrm>
              <a:off x="3987" y="3238"/>
              <a:ext cx="121" cy="305"/>
            </a:xfrm>
            <a:custGeom>
              <a:avLst/>
              <a:gdLst>
                <a:gd name="T0" fmla="*/ 43 w 242"/>
                <a:gd name="T1" fmla="*/ 1 h 610"/>
                <a:gd name="T2" fmla="*/ 39 w 242"/>
                <a:gd name="T3" fmla="*/ 6 h 610"/>
                <a:gd name="T4" fmla="*/ 33 w 242"/>
                <a:gd name="T5" fmla="*/ 11 h 610"/>
                <a:gd name="T6" fmla="*/ 28 w 242"/>
                <a:gd name="T7" fmla="*/ 16 h 610"/>
                <a:gd name="T8" fmla="*/ 22 w 242"/>
                <a:gd name="T9" fmla="*/ 24 h 610"/>
                <a:gd name="T10" fmla="*/ 19 w 242"/>
                <a:gd name="T11" fmla="*/ 30 h 610"/>
                <a:gd name="T12" fmla="*/ 16 w 242"/>
                <a:gd name="T13" fmla="*/ 37 h 610"/>
                <a:gd name="T14" fmla="*/ 11 w 242"/>
                <a:gd name="T15" fmla="*/ 47 h 610"/>
                <a:gd name="T16" fmla="*/ 5 w 242"/>
                <a:gd name="T17" fmla="*/ 58 h 610"/>
                <a:gd name="T18" fmla="*/ 1 w 242"/>
                <a:gd name="T19" fmla="*/ 67 h 610"/>
                <a:gd name="T20" fmla="*/ 1 w 242"/>
                <a:gd name="T21" fmla="*/ 77 h 610"/>
                <a:gd name="T22" fmla="*/ 4 w 242"/>
                <a:gd name="T23" fmla="*/ 88 h 610"/>
                <a:gd name="T24" fmla="*/ 5 w 242"/>
                <a:gd name="T25" fmla="*/ 99 h 610"/>
                <a:gd name="T26" fmla="*/ 3 w 242"/>
                <a:gd name="T27" fmla="*/ 108 h 610"/>
                <a:gd name="T28" fmla="*/ 6 w 242"/>
                <a:gd name="T29" fmla="*/ 114 h 610"/>
                <a:gd name="T30" fmla="*/ 15 w 242"/>
                <a:gd name="T31" fmla="*/ 119 h 610"/>
                <a:gd name="T32" fmla="*/ 22 w 242"/>
                <a:gd name="T33" fmla="*/ 129 h 610"/>
                <a:gd name="T34" fmla="*/ 28 w 242"/>
                <a:gd name="T35" fmla="*/ 135 h 610"/>
                <a:gd name="T36" fmla="*/ 33 w 242"/>
                <a:gd name="T37" fmla="*/ 139 h 610"/>
                <a:gd name="T38" fmla="*/ 35 w 242"/>
                <a:gd name="T39" fmla="*/ 146 h 610"/>
                <a:gd name="T40" fmla="*/ 37 w 242"/>
                <a:gd name="T41" fmla="*/ 152 h 610"/>
                <a:gd name="T42" fmla="*/ 41 w 242"/>
                <a:gd name="T43" fmla="*/ 152 h 610"/>
                <a:gd name="T44" fmla="*/ 42 w 242"/>
                <a:gd name="T45" fmla="*/ 146 h 610"/>
                <a:gd name="T46" fmla="*/ 42 w 242"/>
                <a:gd name="T47" fmla="*/ 135 h 610"/>
                <a:gd name="T48" fmla="*/ 45 w 242"/>
                <a:gd name="T49" fmla="*/ 123 h 610"/>
                <a:gd name="T50" fmla="*/ 51 w 242"/>
                <a:gd name="T51" fmla="*/ 114 h 610"/>
                <a:gd name="T52" fmla="*/ 55 w 242"/>
                <a:gd name="T53" fmla="*/ 103 h 610"/>
                <a:gd name="T54" fmla="*/ 57 w 242"/>
                <a:gd name="T55" fmla="*/ 86 h 610"/>
                <a:gd name="T56" fmla="*/ 58 w 242"/>
                <a:gd name="T57" fmla="*/ 66 h 610"/>
                <a:gd name="T58" fmla="*/ 58 w 242"/>
                <a:gd name="T59" fmla="*/ 51 h 610"/>
                <a:gd name="T60" fmla="*/ 60 w 242"/>
                <a:gd name="T61" fmla="*/ 39 h 610"/>
                <a:gd name="T62" fmla="*/ 60 w 242"/>
                <a:gd name="T63" fmla="*/ 28 h 610"/>
                <a:gd name="T64" fmla="*/ 56 w 242"/>
                <a:gd name="T65" fmla="*/ 19 h 610"/>
                <a:gd name="T66" fmla="*/ 52 w 242"/>
                <a:gd name="T67" fmla="*/ 10 h 610"/>
                <a:gd name="T68" fmla="*/ 47 w 242"/>
                <a:gd name="T69" fmla="*/ 2 h 610"/>
                <a:gd name="T70" fmla="*/ 44 w 242"/>
                <a:gd name="T71" fmla="*/ 0 h 610"/>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42"/>
                <a:gd name="T109" fmla="*/ 0 h 610"/>
                <a:gd name="T110" fmla="*/ 242 w 242"/>
                <a:gd name="T111" fmla="*/ 610 h 610"/>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42" h="610">
                  <a:moveTo>
                    <a:pt x="173" y="0"/>
                  </a:moveTo>
                  <a:lnTo>
                    <a:pt x="172" y="4"/>
                  </a:lnTo>
                  <a:lnTo>
                    <a:pt x="164" y="12"/>
                  </a:lnTo>
                  <a:lnTo>
                    <a:pt x="154" y="24"/>
                  </a:lnTo>
                  <a:lnTo>
                    <a:pt x="144" y="36"/>
                  </a:lnTo>
                  <a:lnTo>
                    <a:pt x="132" y="44"/>
                  </a:lnTo>
                  <a:lnTo>
                    <a:pt x="122" y="49"/>
                  </a:lnTo>
                  <a:lnTo>
                    <a:pt x="111" y="63"/>
                  </a:lnTo>
                  <a:lnTo>
                    <a:pt x="97" y="79"/>
                  </a:lnTo>
                  <a:lnTo>
                    <a:pt x="87" y="97"/>
                  </a:lnTo>
                  <a:lnTo>
                    <a:pt x="77" y="112"/>
                  </a:lnTo>
                  <a:lnTo>
                    <a:pt x="73" y="122"/>
                  </a:lnTo>
                  <a:lnTo>
                    <a:pt x="71" y="132"/>
                  </a:lnTo>
                  <a:lnTo>
                    <a:pt x="63" y="148"/>
                  </a:lnTo>
                  <a:lnTo>
                    <a:pt x="53" y="168"/>
                  </a:lnTo>
                  <a:lnTo>
                    <a:pt x="44" y="189"/>
                  </a:lnTo>
                  <a:lnTo>
                    <a:pt x="32" y="213"/>
                  </a:lnTo>
                  <a:lnTo>
                    <a:pt x="20" y="234"/>
                  </a:lnTo>
                  <a:lnTo>
                    <a:pt x="10" y="254"/>
                  </a:lnTo>
                  <a:lnTo>
                    <a:pt x="4" y="268"/>
                  </a:lnTo>
                  <a:lnTo>
                    <a:pt x="0" y="288"/>
                  </a:lnTo>
                  <a:lnTo>
                    <a:pt x="2" y="309"/>
                  </a:lnTo>
                  <a:lnTo>
                    <a:pt x="8" y="331"/>
                  </a:lnTo>
                  <a:lnTo>
                    <a:pt x="14" y="354"/>
                  </a:lnTo>
                  <a:lnTo>
                    <a:pt x="18" y="376"/>
                  </a:lnTo>
                  <a:lnTo>
                    <a:pt x="18" y="396"/>
                  </a:lnTo>
                  <a:lnTo>
                    <a:pt x="14" y="414"/>
                  </a:lnTo>
                  <a:lnTo>
                    <a:pt x="12" y="431"/>
                  </a:lnTo>
                  <a:lnTo>
                    <a:pt x="14" y="445"/>
                  </a:lnTo>
                  <a:lnTo>
                    <a:pt x="24" y="455"/>
                  </a:lnTo>
                  <a:lnTo>
                    <a:pt x="42" y="467"/>
                  </a:lnTo>
                  <a:lnTo>
                    <a:pt x="57" y="477"/>
                  </a:lnTo>
                  <a:lnTo>
                    <a:pt x="71" y="492"/>
                  </a:lnTo>
                  <a:lnTo>
                    <a:pt x="85" y="514"/>
                  </a:lnTo>
                  <a:lnTo>
                    <a:pt x="99" y="530"/>
                  </a:lnTo>
                  <a:lnTo>
                    <a:pt x="111" y="540"/>
                  </a:lnTo>
                  <a:lnTo>
                    <a:pt x="122" y="547"/>
                  </a:lnTo>
                  <a:lnTo>
                    <a:pt x="130" y="555"/>
                  </a:lnTo>
                  <a:lnTo>
                    <a:pt x="136" y="569"/>
                  </a:lnTo>
                  <a:lnTo>
                    <a:pt x="140" y="583"/>
                  </a:lnTo>
                  <a:lnTo>
                    <a:pt x="144" y="597"/>
                  </a:lnTo>
                  <a:lnTo>
                    <a:pt x="148" y="606"/>
                  </a:lnTo>
                  <a:lnTo>
                    <a:pt x="154" y="610"/>
                  </a:lnTo>
                  <a:lnTo>
                    <a:pt x="162" y="606"/>
                  </a:lnTo>
                  <a:lnTo>
                    <a:pt x="168" y="597"/>
                  </a:lnTo>
                  <a:lnTo>
                    <a:pt x="168" y="581"/>
                  </a:lnTo>
                  <a:lnTo>
                    <a:pt x="168" y="559"/>
                  </a:lnTo>
                  <a:lnTo>
                    <a:pt x="168" y="538"/>
                  </a:lnTo>
                  <a:lnTo>
                    <a:pt x="172" y="516"/>
                  </a:lnTo>
                  <a:lnTo>
                    <a:pt x="179" y="494"/>
                  </a:lnTo>
                  <a:lnTo>
                    <a:pt x="189" y="475"/>
                  </a:lnTo>
                  <a:lnTo>
                    <a:pt x="201" y="457"/>
                  </a:lnTo>
                  <a:lnTo>
                    <a:pt x="211" y="435"/>
                  </a:lnTo>
                  <a:lnTo>
                    <a:pt x="217" y="412"/>
                  </a:lnTo>
                  <a:lnTo>
                    <a:pt x="221" y="380"/>
                  </a:lnTo>
                  <a:lnTo>
                    <a:pt x="225" y="343"/>
                  </a:lnTo>
                  <a:lnTo>
                    <a:pt x="227" y="303"/>
                  </a:lnTo>
                  <a:lnTo>
                    <a:pt x="229" y="264"/>
                  </a:lnTo>
                  <a:lnTo>
                    <a:pt x="227" y="231"/>
                  </a:lnTo>
                  <a:lnTo>
                    <a:pt x="229" y="203"/>
                  </a:lnTo>
                  <a:lnTo>
                    <a:pt x="233" y="179"/>
                  </a:lnTo>
                  <a:lnTo>
                    <a:pt x="240" y="156"/>
                  </a:lnTo>
                  <a:lnTo>
                    <a:pt x="242" y="134"/>
                  </a:lnTo>
                  <a:lnTo>
                    <a:pt x="238" y="112"/>
                  </a:lnTo>
                  <a:lnTo>
                    <a:pt x="229" y="89"/>
                  </a:lnTo>
                  <a:lnTo>
                    <a:pt x="223" y="73"/>
                  </a:lnTo>
                  <a:lnTo>
                    <a:pt x="215" y="59"/>
                  </a:lnTo>
                  <a:lnTo>
                    <a:pt x="207" y="42"/>
                  </a:lnTo>
                  <a:lnTo>
                    <a:pt x="195" y="22"/>
                  </a:lnTo>
                  <a:lnTo>
                    <a:pt x="185" y="10"/>
                  </a:lnTo>
                  <a:lnTo>
                    <a:pt x="177" y="2"/>
                  </a:lnTo>
                  <a:lnTo>
                    <a:pt x="173" y="0"/>
                  </a:lnTo>
                </a:path>
              </a:pathLst>
            </a:custGeom>
            <a:grpFill/>
            <a:ln w="6350">
              <a:solidFill>
                <a:schemeClr val="bg1"/>
              </a:solidFill>
              <a:prstDash val="solid"/>
              <a:round/>
            </a:ln>
          </p:spPr>
          <p:txBody>
            <a:bodyPr/>
            <a:lstStyle/>
            <a:p>
              <a:endParaRPr lang="zh-CN" altLang="en-US"/>
            </a:p>
          </p:txBody>
        </p:sp>
      </p:grpSp>
      <p:sp>
        <p:nvSpPr>
          <p:cNvPr id="109" name="Freeform 78"/>
          <p:cNvSpPr/>
          <p:nvPr/>
        </p:nvSpPr>
        <p:spPr bwMode="gray">
          <a:xfrm>
            <a:off x="4468540" y="5133752"/>
            <a:ext cx="895350" cy="762000"/>
          </a:xfrm>
          <a:custGeom>
            <a:avLst/>
            <a:gdLst>
              <a:gd name="T0" fmla="*/ 279 w 1128"/>
              <a:gd name="T1" fmla="*/ 62 h 960"/>
              <a:gd name="T2" fmla="*/ 272 w 1128"/>
              <a:gd name="T3" fmla="*/ 67 h 960"/>
              <a:gd name="T4" fmla="*/ 266 w 1128"/>
              <a:gd name="T5" fmla="*/ 77 h 960"/>
              <a:gd name="T6" fmla="*/ 261 w 1128"/>
              <a:gd name="T7" fmla="*/ 87 h 960"/>
              <a:gd name="T8" fmla="*/ 254 w 1128"/>
              <a:gd name="T9" fmla="*/ 97 h 960"/>
              <a:gd name="T10" fmla="*/ 241 w 1128"/>
              <a:gd name="T11" fmla="*/ 103 h 960"/>
              <a:gd name="T12" fmla="*/ 230 w 1128"/>
              <a:gd name="T13" fmla="*/ 104 h 960"/>
              <a:gd name="T14" fmla="*/ 216 w 1128"/>
              <a:gd name="T15" fmla="*/ 103 h 960"/>
              <a:gd name="T16" fmla="*/ 203 w 1128"/>
              <a:gd name="T17" fmla="*/ 110 h 960"/>
              <a:gd name="T18" fmla="*/ 199 w 1128"/>
              <a:gd name="T19" fmla="*/ 115 h 960"/>
              <a:gd name="T20" fmla="*/ 198 w 1128"/>
              <a:gd name="T21" fmla="*/ 118 h 960"/>
              <a:gd name="T22" fmla="*/ 196 w 1128"/>
              <a:gd name="T23" fmla="*/ 119 h 960"/>
              <a:gd name="T24" fmla="*/ 190 w 1128"/>
              <a:gd name="T25" fmla="*/ 114 h 960"/>
              <a:gd name="T26" fmla="*/ 183 w 1128"/>
              <a:gd name="T27" fmla="*/ 118 h 960"/>
              <a:gd name="T28" fmla="*/ 177 w 1128"/>
              <a:gd name="T29" fmla="*/ 127 h 960"/>
              <a:gd name="T30" fmla="*/ 164 w 1128"/>
              <a:gd name="T31" fmla="*/ 127 h 960"/>
              <a:gd name="T32" fmla="*/ 155 w 1128"/>
              <a:gd name="T33" fmla="*/ 120 h 960"/>
              <a:gd name="T34" fmla="*/ 148 w 1128"/>
              <a:gd name="T35" fmla="*/ 111 h 960"/>
              <a:gd name="T36" fmla="*/ 143 w 1128"/>
              <a:gd name="T37" fmla="*/ 113 h 960"/>
              <a:gd name="T38" fmla="*/ 147 w 1128"/>
              <a:gd name="T39" fmla="*/ 122 h 960"/>
              <a:gd name="T40" fmla="*/ 154 w 1128"/>
              <a:gd name="T41" fmla="*/ 130 h 960"/>
              <a:gd name="T42" fmla="*/ 153 w 1128"/>
              <a:gd name="T43" fmla="*/ 140 h 960"/>
              <a:gd name="T44" fmla="*/ 140 w 1128"/>
              <a:gd name="T45" fmla="*/ 149 h 960"/>
              <a:gd name="T46" fmla="*/ 134 w 1128"/>
              <a:gd name="T47" fmla="*/ 149 h 960"/>
              <a:gd name="T48" fmla="*/ 132 w 1128"/>
              <a:gd name="T49" fmla="*/ 148 h 960"/>
              <a:gd name="T50" fmla="*/ 130 w 1128"/>
              <a:gd name="T51" fmla="*/ 148 h 960"/>
              <a:gd name="T52" fmla="*/ 126 w 1128"/>
              <a:gd name="T53" fmla="*/ 154 h 960"/>
              <a:gd name="T54" fmla="*/ 116 w 1128"/>
              <a:gd name="T55" fmla="*/ 163 h 960"/>
              <a:gd name="T56" fmla="*/ 110 w 1128"/>
              <a:gd name="T57" fmla="*/ 167 h 960"/>
              <a:gd name="T58" fmla="*/ 97 w 1128"/>
              <a:gd name="T59" fmla="*/ 168 h 960"/>
              <a:gd name="T60" fmla="*/ 87 w 1128"/>
              <a:gd name="T61" fmla="*/ 171 h 960"/>
              <a:gd name="T62" fmla="*/ 75 w 1128"/>
              <a:gd name="T63" fmla="*/ 179 h 960"/>
              <a:gd name="T64" fmla="*/ 56 w 1128"/>
              <a:gd name="T65" fmla="*/ 185 h 960"/>
              <a:gd name="T66" fmla="*/ 46 w 1128"/>
              <a:gd name="T67" fmla="*/ 186 h 960"/>
              <a:gd name="T68" fmla="*/ 38 w 1128"/>
              <a:gd name="T69" fmla="*/ 194 h 960"/>
              <a:gd name="T70" fmla="*/ 29 w 1128"/>
              <a:gd name="T71" fmla="*/ 199 h 960"/>
              <a:gd name="T72" fmla="*/ 23 w 1128"/>
              <a:gd name="T73" fmla="*/ 207 h 960"/>
              <a:gd name="T74" fmla="*/ 26 w 1128"/>
              <a:gd name="T75" fmla="*/ 214 h 960"/>
              <a:gd name="T76" fmla="*/ 35 w 1128"/>
              <a:gd name="T77" fmla="*/ 227 h 960"/>
              <a:gd name="T78" fmla="*/ 35 w 1128"/>
              <a:gd name="T79" fmla="*/ 235 h 960"/>
              <a:gd name="T80" fmla="*/ 24 w 1128"/>
              <a:gd name="T81" fmla="*/ 240 h 960"/>
              <a:gd name="T82" fmla="*/ 13 w 1128"/>
              <a:gd name="T83" fmla="*/ 235 h 960"/>
              <a:gd name="T84" fmla="*/ 4 w 1128"/>
              <a:gd name="T85" fmla="*/ 222 h 960"/>
              <a:gd name="T86" fmla="*/ 1 w 1128"/>
              <a:gd name="T87" fmla="*/ 210 h 960"/>
              <a:gd name="T88" fmla="*/ 1 w 1128"/>
              <a:gd name="T89" fmla="*/ 200 h 960"/>
              <a:gd name="T90" fmla="*/ 8 w 1128"/>
              <a:gd name="T91" fmla="*/ 189 h 960"/>
              <a:gd name="T92" fmla="*/ 0 w 1128"/>
              <a:gd name="T93" fmla="*/ 184 h 960"/>
              <a:gd name="T94" fmla="*/ 19 w 1128"/>
              <a:gd name="T95" fmla="*/ 160 h 960"/>
              <a:gd name="T96" fmla="*/ 37 w 1128"/>
              <a:gd name="T97" fmla="*/ 139 h 960"/>
              <a:gd name="T98" fmla="*/ 59 w 1128"/>
              <a:gd name="T99" fmla="*/ 101 h 960"/>
              <a:gd name="T100" fmla="*/ 74 w 1128"/>
              <a:gd name="T101" fmla="*/ 62 h 960"/>
              <a:gd name="T102" fmla="*/ 82 w 1128"/>
              <a:gd name="T103" fmla="*/ 36 h 960"/>
              <a:gd name="T104" fmla="*/ 121 w 1128"/>
              <a:gd name="T105" fmla="*/ 3 h 960"/>
              <a:gd name="T106" fmla="*/ 156 w 1128"/>
              <a:gd name="T107" fmla="*/ 8 h 960"/>
              <a:gd name="T108" fmla="*/ 170 w 1128"/>
              <a:gd name="T109" fmla="*/ 24 h 960"/>
              <a:gd name="T110" fmla="*/ 185 w 1128"/>
              <a:gd name="T111" fmla="*/ 32 h 960"/>
              <a:gd name="T112" fmla="*/ 224 w 1128"/>
              <a:gd name="T113" fmla="*/ 15 h 960"/>
              <a:gd name="T114" fmla="*/ 272 w 1128"/>
              <a:gd name="T115" fmla="*/ 41 h 96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128"/>
              <a:gd name="T175" fmla="*/ 0 h 960"/>
              <a:gd name="T176" fmla="*/ 1128 w 1128"/>
              <a:gd name="T177" fmla="*/ 960 h 960"/>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128" h="960">
                <a:moveTo>
                  <a:pt x="1128" y="246"/>
                </a:moveTo>
                <a:lnTo>
                  <a:pt x="1124" y="248"/>
                </a:lnTo>
                <a:lnTo>
                  <a:pt x="1116" y="250"/>
                </a:lnTo>
                <a:lnTo>
                  <a:pt x="1104" y="254"/>
                </a:lnTo>
                <a:lnTo>
                  <a:pt x="1094" y="259"/>
                </a:lnTo>
                <a:lnTo>
                  <a:pt x="1088" y="265"/>
                </a:lnTo>
                <a:lnTo>
                  <a:pt x="1083" y="275"/>
                </a:lnTo>
                <a:lnTo>
                  <a:pt x="1075" y="289"/>
                </a:lnTo>
                <a:lnTo>
                  <a:pt x="1063" y="305"/>
                </a:lnTo>
                <a:lnTo>
                  <a:pt x="1055" y="318"/>
                </a:lnTo>
                <a:lnTo>
                  <a:pt x="1047" y="332"/>
                </a:lnTo>
                <a:lnTo>
                  <a:pt x="1043" y="348"/>
                </a:lnTo>
                <a:lnTo>
                  <a:pt x="1037" y="362"/>
                </a:lnTo>
                <a:lnTo>
                  <a:pt x="1029" y="376"/>
                </a:lnTo>
                <a:lnTo>
                  <a:pt x="1016" y="387"/>
                </a:lnTo>
                <a:lnTo>
                  <a:pt x="1002" y="395"/>
                </a:lnTo>
                <a:lnTo>
                  <a:pt x="984" y="403"/>
                </a:lnTo>
                <a:lnTo>
                  <a:pt x="966" y="411"/>
                </a:lnTo>
                <a:lnTo>
                  <a:pt x="949" y="417"/>
                </a:lnTo>
                <a:lnTo>
                  <a:pt x="937" y="419"/>
                </a:lnTo>
                <a:lnTo>
                  <a:pt x="921" y="415"/>
                </a:lnTo>
                <a:lnTo>
                  <a:pt x="903" y="411"/>
                </a:lnTo>
                <a:lnTo>
                  <a:pt x="884" y="409"/>
                </a:lnTo>
                <a:lnTo>
                  <a:pt x="864" y="411"/>
                </a:lnTo>
                <a:lnTo>
                  <a:pt x="846" y="419"/>
                </a:lnTo>
                <a:lnTo>
                  <a:pt x="829" y="431"/>
                </a:lnTo>
                <a:lnTo>
                  <a:pt x="813" y="440"/>
                </a:lnTo>
                <a:lnTo>
                  <a:pt x="801" y="450"/>
                </a:lnTo>
                <a:lnTo>
                  <a:pt x="799" y="454"/>
                </a:lnTo>
                <a:lnTo>
                  <a:pt x="797" y="458"/>
                </a:lnTo>
                <a:lnTo>
                  <a:pt x="795" y="464"/>
                </a:lnTo>
                <a:lnTo>
                  <a:pt x="793" y="468"/>
                </a:lnTo>
                <a:lnTo>
                  <a:pt x="791" y="472"/>
                </a:lnTo>
                <a:lnTo>
                  <a:pt x="789" y="474"/>
                </a:lnTo>
                <a:lnTo>
                  <a:pt x="787" y="474"/>
                </a:lnTo>
                <a:lnTo>
                  <a:pt x="783" y="474"/>
                </a:lnTo>
                <a:lnTo>
                  <a:pt x="777" y="470"/>
                </a:lnTo>
                <a:lnTo>
                  <a:pt x="770" y="462"/>
                </a:lnTo>
                <a:lnTo>
                  <a:pt x="760" y="456"/>
                </a:lnTo>
                <a:lnTo>
                  <a:pt x="752" y="456"/>
                </a:lnTo>
                <a:lnTo>
                  <a:pt x="742" y="462"/>
                </a:lnTo>
                <a:lnTo>
                  <a:pt x="734" y="472"/>
                </a:lnTo>
                <a:lnTo>
                  <a:pt x="726" y="484"/>
                </a:lnTo>
                <a:lnTo>
                  <a:pt x="718" y="496"/>
                </a:lnTo>
                <a:lnTo>
                  <a:pt x="708" y="507"/>
                </a:lnTo>
                <a:lnTo>
                  <a:pt x="695" y="513"/>
                </a:lnTo>
                <a:lnTo>
                  <a:pt x="679" y="513"/>
                </a:lnTo>
                <a:lnTo>
                  <a:pt x="657" y="509"/>
                </a:lnTo>
                <a:lnTo>
                  <a:pt x="644" y="503"/>
                </a:lnTo>
                <a:lnTo>
                  <a:pt x="634" y="494"/>
                </a:lnTo>
                <a:lnTo>
                  <a:pt x="622" y="482"/>
                </a:lnTo>
                <a:lnTo>
                  <a:pt x="612" y="468"/>
                </a:lnTo>
                <a:lnTo>
                  <a:pt x="602" y="454"/>
                </a:lnTo>
                <a:lnTo>
                  <a:pt x="592" y="442"/>
                </a:lnTo>
                <a:lnTo>
                  <a:pt x="583" y="437"/>
                </a:lnTo>
                <a:lnTo>
                  <a:pt x="575" y="440"/>
                </a:lnTo>
                <a:lnTo>
                  <a:pt x="571" y="452"/>
                </a:lnTo>
                <a:lnTo>
                  <a:pt x="575" y="464"/>
                </a:lnTo>
                <a:lnTo>
                  <a:pt x="581" y="478"/>
                </a:lnTo>
                <a:lnTo>
                  <a:pt x="588" y="490"/>
                </a:lnTo>
                <a:lnTo>
                  <a:pt x="596" y="498"/>
                </a:lnTo>
                <a:lnTo>
                  <a:pt x="608" y="509"/>
                </a:lnTo>
                <a:lnTo>
                  <a:pt x="618" y="519"/>
                </a:lnTo>
                <a:lnTo>
                  <a:pt x="624" y="531"/>
                </a:lnTo>
                <a:lnTo>
                  <a:pt x="624" y="541"/>
                </a:lnTo>
                <a:lnTo>
                  <a:pt x="612" y="557"/>
                </a:lnTo>
                <a:lnTo>
                  <a:pt x="596" y="574"/>
                </a:lnTo>
                <a:lnTo>
                  <a:pt x="577" y="588"/>
                </a:lnTo>
                <a:lnTo>
                  <a:pt x="557" y="596"/>
                </a:lnTo>
                <a:lnTo>
                  <a:pt x="545" y="600"/>
                </a:lnTo>
                <a:lnTo>
                  <a:pt x="535" y="598"/>
                </a:lnTo>
                <a:lnTo>
                  <a:pt x="533" y="596"/>
                </a:lnTo>
                <a:lnTo>
                  <a:pt x="531" y="594"/>
                </a:lnTo>
                <a:lnTo>
                  <a:pt x="527" y="592"/>
                </a:lnTo>
                <a:lnTo>
                  <a:pt x="525" y="590"/>
                </a:lnTo>
                <a:lnTo>
                  <a:pt x="523" y="590"/>
                </a:lnTo>
                <a:lnTo>
                  <a:pt x="521" y="590"/>
                </a:lnTo>
                <a:lnTo>
                  <a:pt x="520" y="592"/>
                </a:lnTo>
                <a:lnTo>
                  <a:pt x="518" y="598"/>
                </a:lnTo>
                <a:lnTo>
                  <a:pt x="514" y="608"/>
                </a:lnTo>
                <a:lnTo>
                  <a:pt x="504" y="614"/>
                </a:lnTo>
                <a:lnTo>
                  <a:pt x="492" y="624"/>
                </a:lnTo>
                <a:lnTo>
                  <a:pt x="478" y="637"/>
                </a:lnTo>
                <a:lnTo>
                  <a:pt x="466" y="651"/>
                </a:lnTo>
                <a:lnTo>
                  <a:pt x="459" y="661"/>
                </a:lnTo>
                <a:lnTo>
                  <a:pt x="451" y="667"/>
                </a:lnTo>
                <a:lnTo>
                  <a:pt x="441" y="667"/>
                </a:lnTo>
                <a:lnTo>
                  <a:pt x="427" y="665"/>
                </a:lnTo>
                <a:lnTo>
                  <a:pt x="411" y="667"/>
                </a:lnTo>
                <a:lnTo>
                  <a:pt x="390" y="669"/>
                </a:lnTo>
                <a:lnTo>
                  <a:pt x="374" y="669"/>
                </a:lnTo>
                <a:lnTo>
                  <a:pt x="360" y="675"/>
                </a:lnTo>
                <a:lnTo>
                  <a:pt x="348" y="683"/>
                </a:lnTo>
                <a:lnTo>
                  <a:pt x="336" y="694"/>
                </a:lnTo>
                <a:lnTo>
                  <a:pt x="323" y="704"/>
                </a:lnTo>
                <a:lnTo>
                  <a:pt x="299" y="714"/>
                </a:lnTo>
                <a:lnTo>
                  <a:pt x="271" y="726"/>
                </a:lnTo>
                <a:lnTo>
                  <a:pt x="246" y="734"/>
                </a:lnTo>
                <a:lnTo>
                  <a:pt x="226" y="740"/>
                </a:lnTo>
                <a:lnTo>
                  <a:pt x="212" y="740"/>
                </a:lnTo>
                <a:lnTo>
                  <a:pt x="199" y="740"/>
                </a:lnTo>
                <a:lnTo>
                  <a:pt x="185" y="742"/>
                </a:lnTo>
                <a:lnTo>
                  <a:pt x="173" y="748"/>
                </a:lnTo>
                <a:lnTo>
                  <a:pt x="163" y="759"/>
                </a:lnTo>
                <a:lnTo>
                  <a:pt x="153" y="773"/>
                </a:lnTo>
                <a:lnTo>
                  <a:pt x="142" y="781"/>
                </a:lnTo>
                <a:lnTo>
                  <a:pt x="128" y="787"/>
                </a:lnTo>
                <a:lnTo>
                  <a:pt x="116" y="793"/>
                </a:lnTo>
                <a:lnTo>
                  <a:pt x="108" y="803"/>
                </a:lnTo>
                <a:lnTo>
                  <a:pt x="100" y="816"/>
                </a:lnTo>
                <a:lnTo>
                  <a:pt x="92" y="826"/>
                </a:lnTo>
                <a:lnTo>
                  <a:pt x="86" y="834"/>
                </a:lnTo>
                <a:lnTo>
                  <a:pt x="90" y="844"/>
                </a:lnTo>
                <a:lnTo>
                  <a:pt x="104" y="856"/>
                </a:lnTo>
                <a:lnTo>
                  <a:pt x="118" y="872"/>
                </a:lnTo>
                <a:lnTo>
                  <a:pt x="130" y="891"/>
                </a:lnTo>
                <a:lnTo>
                  <a:pt x="138" y="905"/>
                </a:lnTo>
                <a:lnTo>
                  <a:pt x="144" y="919"/>
                </a:lnTo>
                <a:lnTo>
                  <a:pt x="146" y="931"/>
                </a:lnTo>
                <a:lnTo>
                  <a:pt x="140" y="940"/>
                </a:lnTo>
                <a:lnTo>
                  <a:pt x="128" y="946"/>
                </a:lnTo>
                <a:lnTo>
                  <a:pt x="114" y="954"/>
                </a:lnTo>
                <a:lnTo>
                  <a:pt x="96" y="960"/>
                </a:lnTo>
                <a:lnTo>
                  <a:pt x="79" y="960"/>
                </a:lnTo>
                <a:lnTo>
                  <a:pt x="67" y="956"/>
                </a:lnTo>
                <a:lnTo>
                  <a:pt x="51" y="938"/>
                </a:lnTo>
                <a:lnTo>
                  <a:pt x="37" y="919"/>
                </a:lnTo>
                <a:lnTo>
                  <a:pt x="25" y="901"/>
                </a:lnTo>
                <a:lnTo>
                  <a:pt x="18" y="887"/>
                </a:lnTo>
                <a:lnTo>
                  <a:pt x="10" y="872"/>
                </a:lnTo>
                <a:lnTo>
                  <a:pt x="4" y="854"/>
                </a:lnTo>
                <a:lnTo>
                  <a:pt x="2" y="840"/>
                </a:lnTo>
                <a:lnTo>
                  <a:pt x="2" y="826"/>
                </a:lnTo>
                <a:lnTo>
                  <a:pt x="2" y="812"/>
                </a:lnTo>
                <a:lnTo>
                  <a:pt x="4" y="797"/>
                </a:lnTo>
                <a:lnTo>
                  <a:pt x="12" y="783"/>
                </a:lnTo>
                <a:lnTo>
                  <a:pt x="25" y="765"/>
                </a:lnTo>
                <a:lnTo>
                  <a:pt x="31" y="753"/>
                </a:lnTo>
                <a:lnTo>
                  <a:pt x="33" y="749"/>
                </a:lnTo>
                <a:lnTo>
                  <a:pt x="4" y="746"/>
                </a:lnTo>
                <a:lnTo>
                  <a:pt x="0" y="734"/>
                </a:lnTo>
                <a:lnTo>
                  <a:pt x="33" y="687"/>
                </a:lnTo>
                <a:lnTo>
                  <a:pt x="71" y="675"/>
                </a:lnTo>
                <a:lnTo>
                  <a:pt x="77" y="637"/>
                </a:lnTo>
                <a:lnTo>
                  <a:pt x="128" y="627"/>
                </a:lnTo>
                <a:lnTo>
                  <a:pt x="147" y="612"/>
                </a:lnTo>
                <a:lnTo>
                  <a:pt x="147" y="553"/>
                </a:lnTo>
                <a:lnTo>
                  <a:pt x="175" y="539"/>
                </a:lnTo>
                <a:lnTo>
                  <a:pt x="244" y="478"/>
                </a:lnTo>
                <a:lnTo>
                  <a:pt x="238" y="403"/>
                </a:lnTo>
                <a:lnTo>
                  <a:pt x="264" y="332"/>
                </a:lnTo>
                <a:lnTo>
                  <a:pt x="301" y="307"/>
                </a:lnTo>
                <a:lnTo>
                  <a:pt x="297" y="250"/>
                </a:lnTo>
                <a:lnTo>
                  <a:pt x="325" y="220"/>
                </a:lnTo>
                <a:lnTo>
                  <a:pt x="303" y="157"/>
                </a:lnTo>
                <a:lnTo>
                  <a:pt x="329" y="143"/>
                </a:lnTo>
                <a:lnTo>
                  <a:pt x="329" y="86"/>
                </a:lnTo>
                <a:lnTo>
                  <a:pt x="384" y="78"/>
                </a:lnTo>
                <a:lnTo>
                  <a:pt x="484" y="9"/>
                </a:lnTo>
                <a:lnTo>
                  <a:pt x="535" y="39"/>
                </a:lnTo>
                <a:lnTo>
                  <a:pt x="592" y="9"/>
                </a:lnTo>
                <a:lnTo>
                  <a:pt x="624" y="29"/>
                </a:lnTo>
                <a:lnTo>
                  <a:pt x="693" y="0"/>
                </a:lnTo>
                <a:lnTo>
                  <a:pt x="720" y="27"/>
                </a:lnTo>
                <a:lnTo>
                  <a:pt x="681" y="94"/>
                </a:lnTo>
                <a:lnTo>
                  <a:pt x="651" y="130"/>
                </a:lnTo>
                <a:lnTo>
                  <a:pt x="679" y="151"/>
                </a:lnTo>
                <a:lnTo>
                  <a:pt x="740" y="128"/>
                </a:lnTo>
                <a:lnTo>
                  <a:pt x="823" y="92"/>
                </a:lnTo>
                <a:lnTo>
                  <a:pt x="878" y="120"/>
                </a:lnTo>
                <a:lnTo>
                  <a:pt x="895" y="59"/>
                </a:lnTo>
                <a:lnTo>
                  <a:pt x="984" y="61"/>
                </a:lnTo>
                <a:lnTo>
                  <a:pt x="1053" y="96"/>
                </a:lnTo>
                <a:lnTo>
                  <a:pt x="1086" y="161"/>
                </a:lnTo>
                <a:lnTo>
                  <a:pt x="1110" y="216"/>
                </a:lnTo>
                <a:lnTo>
                  <a:pt x="1128" y="246"/>
                </a:lnTo>
              </a:path>
            </a:pathLst>
          </a:custGeom>
          <a:solidFill>
            <a:srgbClr val="FF781D"/>
          </a:solidFill>
          <a:ln w="6350">
            <a:solidFill>
              <a:schemeClr val="bg1"/>
            </a:solidFill>
            <a:prstDash val="solid"/>
            <a:round/>
          </a:ln>
        </p:spPr>
        <p:txBody>
          <a:bodyPr/>
          <a:lstStyle/>
          <a:p>
            <a:endParaRPr lang="zh-CN" altLang="en-US"/>
          </a:p>
        </p:txBody>
      </p:sp>
      <p:sp>
        <p:nvSpPr>
          <p:cNvPr id="123" name="Freeform 92"/>
          <p:cNvSpPr/>
          <p:nvPr/>
        </p:nvSpPr>
        <p:spPr bwMode="gray">
          <a:xfrm>
            <a:off x="4886053" y="3368451"/>
            <a:ext cx="782638" cy="525463"/>
          </a:xfrm>
          <a:custGeom>
            <a:avLst/>
            <a:gdLst>
              <a:gd name="T0" fmla="*/ 81 w 987"/>
              <a:gd name="T1" fmla="*/ 0 h 663"/>
              <a:gd name="T2" fmla="*/ 88 w 987"/>
              <a:gd name="T3" fmla="*/ 3 h 663"/>
              <a:gd name="T4" fmla="*/ 96 w 987"/>
              <a:gd name="T5" fmla="*/ 5 h 663"/>
              <a:gd name="T6" fmla="*/ 103 w 987"/>
              <a:gd name="T7" fmla="*/ 2 h 663"/>
              <a:gd name="T8" fmla="*/ 111 w 987"/>
              <a:gd name="T9" fmla="*/ 0 h 663"/>
              <a:gd name="T10" fmla="*/ 119 w 987"/>
              <a:gd name="T11" fmla="*/ 5 h 663"/>
              <a:gd name="T12" fmla="*/ 125 w 987"/>
              <a:gd name="T13" fmla="*/ 15 h 663"/>
              <a:gd name="T14" fmla="*/ 126 w 987"/>
              <a:gd name="T15" fmla="*/ 24 h 663"/>
              <a:gd name="T16" fmla="*/ 128 w 987"/>
              <a:gd name="T17" fmla="*/ 32 h 663"/>
              <a:gd name="T18" fmla="*/ 133 w 987"/>
              <a:gd name="T19" fmla="*/ 37 h 663"/>
              <a:gd name="T20" fmla="*/ 141 w 987"/>
              <a:gd name="T21" fmla="*/ 39 h 663"/>
              <a:gd name="T22" fmla="*/ 149 w 987"/>
              <a:gd name="T23" fmla="*/ 38 h 663"/>
              <a:gd name="T24" fmla="*/ 154 w 987"/>
              <a:gd name="T25" fmla="*/ 33 h 663"/>
              <a:gd name="T26" fmla="*/ 160 w 987"/>
              <a:gd name="T27" fmla="*/ 24 h 663"/>
              <a:gd name="T28" fmla="*/ 167 w 987"/>
              <a:gd name="T29" fmla="*/ 15 h 663"/>
              <a:gd name="T30" fmla="*/ 175 w 987"/>
              <a:gd name="T31" fmla="*/ 6 h 663"/>
              <a:gd name="T32" fmla="*/ 184 w 987"/>
              <a:gd name="T33" fmla="*/ 2 h 663"/>
              <a:gd name="T34" fmla="*/ 191 w 987"/>
              <a:gd name="T35" fmla="*/ 4 h 663"/>
              <a:gd name="T36" fmla="*/ 200 w 987"/>
              <a:gd name="T37" fmla="*/ 9 h 663"/>
              <a:gd name="T38" fmla="*/ 212 w 987"/>
              <a:gd name="T39" fmla="*/ 11 h 663"/>
              <a:gd name="T40" fmla="*/ 224 w 987"/>
              <a:gd name="T41" fmla="*/ 9 h 663"/>
              <a:gd name="T42" fmla="*/ 234 w 987"/>
              <a:gd name="T43" fmla="*/ 7 h 663"/>
              <a:gd name="T44" fmla="*/ 241 w 987"/>
              <a:gd name="T45" fmla="*/ 5 h 663"/>
              <a:gd name="T46" fmla="*/ 246 w 987"/>
              <a:gd name="T47" fmla="*/ 5 h 663"/>
              <a:gd name="T48" fmla="*/ 246 w 987"/>
              <a:gd name="T49" fmla="*/ 12 h 663"/>
              <a:gd name="T50" fmla="*/ 245 w 987"/>
              <a:gd name="T51" fmla="*/ 23 h 663"/>
              <a:gd name="T52" fmla="*/ 243 w 987"/>
              <a:gd name="T53" fmla="*/ 31 h 663"/>
              <a:gd name="T54" fmla="*/ 237 w 987"/>
              <a:gd name="T55" fmla="*/ 32 h 663"/>
              <a:gd name="T56" fmla="*/ 231 w 987"/>
              <a:gd name="T57" fmla="*/ 31 h 663"/>
              <a:gd name="T58" fmla="*/ 225 w 987"/>
              <a:gd name="T59" fmla="*/ 32 h 663"/>
              <a:gd name="T60" fmla="*/ 216 w 987"/>
              <a:gd name="T61" fmla="*/ 41 h 663"/>
              <a:gd name="T62" fmla="*/ 205 w 987"/>
              <a:gd name="T63" fmla="*/ 49 h 663"/>
              <a:gd name="T64" fmla="*/ 198 w 987"/>
              <a:gd name="T65" fmla="*/ 51 h 663"/>
              <a:gd name="T66" fmla="*/ 191 w 987"/>
              <a:gd name="T67" fmla="*/ 52 h 663"/>
              <a:gd name="T68" fmla="*/ 189 w 987"/>
              <a:gd name="T69" fmla="*/ 55 h 663"/>
              <a:gd name="T70" fmla="*/ 191 w 987"/>
              <a:gd name="T71" fmla="*/ 63 h 663"/>
              <a:gd name="T72" fmla="*/ 190 w 987"/>
              <a:gd name="T73" fmla="*/ 72 h 663"/>
              <a:gd name="T74" fmla="*/ 185 w 987"/>
              <a:gd name="T75" fmla="*/ 77 h 663"/>
              <a:gd name="T76" fmla="*/ 177 w 987"/>
              <a:gd name="T77" fmla="*/ 79 h 663"/>
              <a:gd name="T78" fmla="*/ 171 w 987"/>
              <a:gd name="T79" fmla="*/ 79 h 663"/>
              <a:gd name="T80" fmla="*/ 170 w 987"/>
              <a:gd name="T81" fmla="*/ 84 h 663"/>
              <a:gd name="T82" fmla="*/ 170 w 987"/>
              <a:gd name="T83" fmla="*/ 93 h 663"/>
              <a:gd name="T84" fmla="*/ 168 w 987"/>
              <a:gd name="T85" fmla="*/ 101 h 663"/>
              <a:gd name="T86" fmla="*/ 163 w 987"/>
              <a:gd name="T87" fmla="*/ 106 h 663"/>
              <a:gd name="T88" fmla="*/ 157 w 987"/>
              <a:gd name="T89" fmla="*/ 111 h 663"/>
              <a:gd name="T90" fmla="*/ 155 w 987"/>
              <a:gd name="T91" fmla="*/ 118 h 663"/>
              <a:gd name="T92" fmla="*/ 152 w 987"/>
              <a:gd name="T93" fmla="*/ 123 h 663"/>
              <a:gd name="T94" fmla="*/ 139 w 987"/>
              <a:gd name="T95" fmla="*/ 127 h 663"/>
              <a:gd name="T96" fmla="*/ 129 w 987"/>
              <a:gd name="T97" fmla="*/ 143 h 663"/>
              <a:gd name="T98" fmla="*/ 106 w 987"/>
              <a:gd name="T99" fmla="*/ 148 h 663"/>
              <a:gd name="T100" fmla="*/ 89 w 987"/>
              <a:gd name="T101" fmla="*/ 156 h 663"/>
              <a:gd name="T102" fmla="*/ 66 w 987"/>
              <a:gd name="T103" fmla="*/ 144 h 663"/>
              <a:gd name="T104" fmla="*/ 52 w 987"/>
              <a:gd name="T105" fmla="*/ 160 h 663"/>
              <a:gd name="T106" fmla="*/ 13 w 987"/>
              <a:gd name="T107" fmla="*/ 152 h 663"/>
              <a:gd name="T108" fmla="*/ 0 w 987"/>
              <a:gd name="T109" fmla="*/ 140 h 663"/>
              <a:gd name="T110" fmla="*/ 14 w 987"/>
              <a:gd name="T111" fmla="*/ 98 h 663"/>
              <a:gd name="T112" fmla="*/ 8 w 987"/>
              <a:gd name="T113" fmla="*/ 78 h 663"/>
              <a:gd name="T114" fmla="*/ 26 w 987"/>
              <a:gd name="T115" fmla="*/ 45 h 663"/>
              <a:gd name="T116" fmla="*/ 50 w 987"/>
              <a:gd name="T117" fmla="*/ 22 h 663"/>
              <a:gd name="T118" fmla="*/ 80 w 987"/>
              <a:gd name="T119" fmla="*/ 0 h 663"/>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987"/>
              <a:gd name="T181" fmla="*/ 0 h 663"/>
              <a:gd name="T182" fmla="*/ 987 w 987"/>
              <a:gd name="T183" fmla="*/ 663 h 663"/>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987" h="663">
                <a:moveTo>
                  <a:pt x="323" y="0"/>
                </a:moveTo>
                <a:lnTo>
                  <a:pt x="327" y="2"/>
                </a:lnTo>
                <a:lnTo>
                  <a:pt x="339" y="7"/>
                </a:lnTo>
                <a:lnTo>
                  <a:pt x="353" y="13"/>
                </a:lnTo>
                <a:lnTo>
                  <a:pt x="369" y="19"/>
                </a:lnTo>
                <a:lnTo>
                  <a:pt x="384" y="21"/>
                </a:lnTo>
                <a:lnTo>
                  <a:pt x="398" y="19"/>
                </a:lnTo>
                <a:lnTo>
                  <a:pt x="414" y="9"/>
                </a:lnTo>
                <a:lnTo>
                  <a:pt x="432" y="2"/>
                </a:lnTo>
                <a:lnTo>
                  <a:pt x="447" y="2"/>
                </a:lnTo>
                <a:lnTo>
                  <a:pt x="463" y="7"/>
                </a:lnTo>
                <a:lnTo>
                  <a:pt x="479" y="23"/>
                </a:lnTo>
                <a:lnTo>
                  <a:pt x="493" y="43"/>
                </a:lnTo>
                <a:lnTo>
                  <a:pt x="500" y="63"/>
                </a:lnTo>
                <a:lnTo>
                  <a:pt x="504" y="82"/>
                </a:lnTo>
                <a:lnTo>
                  <a:pt x="504" y="98"/>
                </a:lnTo>
                <a:lnTo>
                  <a:pt x="508" y="114"/>
                </a:lnTo>
                <a:lnTo>
                  <a:pt x="512" y="129"/>
                </a:lnTo>
                <a:lnTo>
                  <a:pt x="522" y="143"/>
                </a:lnTo>
                <a:lnTo>
                  <a:pt x="534" y="151"/>
                </a:lnTo>
                <a:lnTo>
                  <a:pt x="550" y="155"/>
                </a:lnTo>
                <a:lnTo>
                  <a:pt x="567" y="157"/>
                </a:lnTo>
                <a:lnTo>
                  <a:pt x="585" y="157"/>
                </a:lnTo>
                <a:lnTo>
                  <a:pt x="599" y="153"/>
                </a:lnTo>
                <a:lnTo>
                  <a:pt x="609" y="147"/>
                </a:lnTo>
                <a:lnTo>
                  <a:pt x="617" y="133"/>
                </a:lnTo>
                <a:lnTo>
                  <a:pt x="628" y="116"/>
                </a:lnTo>
                <a:lnTo>
                  <a:pt x="642" y="96"/>
                </a:lnTo>
                <a:lnTo>
                  <a:pt x="656" y="76"/>
                </a:lnTo>
                <a:lnTo>
                  <a:pt x="668" y="61"/>
                </a:lnTo>
                <a:lnTo>
                  <a:pt x="683" y="43"/>
                </a:lnTo>
                <a:lnTo>
                  <a:pt x="703" y="27"/>
                </a:lnTo>
                <a:lnTo>
                  <a:pt x="723" y="15"/>
                </a:lnTo>
                <a:lnTo>
                  <a:pt x="737" y="9"/>
                </a:lnTo>
                <a:lnTo>
                  <a:pt x="748" y="11"/>
                </a:lnTo>
                <a:lnTo>
                  <a:pt x="764" y="19"/>
                </a:lnTo>
                <a:lnTo>
                  <a:pt x="782" y="27"/>
                </a:lnTo>
                <a:lnTo>
                  <a:pt x="802" y="37"/>
                </a:lnTo>
                <a:lnTo>
                  <a:pt x="823" y="45"/>
                </a:lnTo>
                <a:lnTo>
                  <a:pt x="851" y="47"/>
                </a:lnTo>
                <a:lnTo>
                  <a:pt x="874" y="43"/>
                </a:lnTo>
                <a:lnTo>
                  <a:pt x="896" y="37"/>
                </a:lnTo>
                <a:lnTo>
                  <a:pt x="920" y="33"/>
                </a:lnTo>
                <a:lnTo>
                  <a:pt x="937" y="29"/>
                </a:lnTo>
                <a:lnTo>
                  <a:pt x="953" y="25"/>
                </a:lnTo>
                <a:lnTo>
                  <a:pt x="967" y="21"/>
                </a:lnTo>
                <a:lnTo>
                  <a:pt x="979" y="19"/>
                </a:lnTo>
                <a:lnTo>
                  <a:pt x="985" y="21"/>
                </a:lnTo>
                <a:lnTo>
                  <a:pt x="987" y="31"/>
                </a:lnTo>
                <a:lnTo>
                  <a:pt x="987" y="51"/>
                </a:lnTo>
                <a:lnTo>
                  <a:pt x="985" y="70"/>
                </a:lnTo>
                <a:lnTo>
                  <a:pt x="983" y="92"/>
                </a:lnTo>
                <a:lnTo>
                  <a:pt x="979" y="112"/>
                </a:lnTo>
                <a:lnTo>
                  <a:pt x="973" y="124"/>
                </a:lnTo>
                <a:lnTo>
                  <a:pt x="963" y="128"/>
                </a:lnTo>
                <a:lnTo>
                  <a:pt x="951" y="128"/>
                </a:lnTo>
                <a:lnTo>
                  <a:pt x="937" y="126"/>
                </a:lnTo>
                <a:lnTo>
                  <a:pt x="926" y="124"/>
                </a:lnTo>
                <a:lnTo>
                  <a:pt x="912" y="126"/>
                </a:lnTo>
                <a:lnTo>
                  <a:pt x="902" y="131"/>
                </a:lnTo>
                <a:lnTo>
                  <a:pt x="886" y="147"/>
                </a:lnTo>
                <a:lnTo>
                  <a:pt x="865" y="167"/>
                </a:lnTo>
                <a:lnTo>
                  <a:pt x="843" y="185"/>
                </a:lnTo>
                <a:lnTo>
                  <a:pt x="821" y="198"/>
                </a:lnTo>
                <a:lnTo>
                  <a:pt x="807" y="204"/>
                </a:lnTo>
                <a:lnTo>
                  <a:pt x="792" y="206"/>
                </a:lnTo>
                <a:lnTo>
                  <a:pt x="778" y="206"/>
                </a:lnTo>
                <a:lnTo>
                  <a:pt x="766" y="208"/>
                </a:lnTo>
                <a:lnTo>
                  <a:pt x="760" y="212"/>
                </a:lnTo>
                <a:lnTo>
                  <a:pt x="758" y="222"/>
                </a:lnTo>
                <a:lnTo>
                  <a:pt x="762" y="236"/>
                </a:lnTo>
                <a:lnTo>
                  <a:pt x="764" y="253"/>
                </a:lnTo>
                <a:lnTo>
                  <a:pt x="764" y="271"/>
                </a:lnTo>
                <a:lnTo>
                  <a:pt x="760" y="289"/>
                </a:lnTo>
                <a:lnTo>
                  <a:pt x="754" y="303"/>
                </a:lnTo>
                <a:lnTo>
                  <a:pt x="743" y="311"/>
                </a:lnTo>
                <a:lnTo>
                  <a:pt x="725" y="316"/>
                </a:lnTo>
                <a:lnTo>
                  <a:pt x="709" y="316"/>
                </a:lnTo>
                <a:lnTo>
                  <a:pt x="695" y="316"/>
                </a:lnTo>
                <a:lnTo>
                  <a:pt x="685" y="318"/>
                </a:lnTo>
                <a:lnTo>
                  <a:pt x="682" y="326"/>
                </a:lnTo>
                <a:lnTo>
                  <a:pt x="682" y="338"/>
                </a:lnTo>
                <a:lnTo>
                  <a:pt x="682" y="356"/>
                </a:lnTo>
                <a:lnTo>
                  <a:pt x="682" y="374"/>
                </a:lnTo>
                <a:lnTo>
                  <a:pt x="680" y="391"/>
                </a:lnTo>
                <a:lnTo>
                  <a:pt x="674" y="405"/>
                </a:lnTo>
                <a:lnTo>
                  <a:pt x="668" y="415"/>
                </a:lnTo>
                <a:lnTo>
                  <a:pt x="654" y="425"/>
                </a:lnTo>
                <a:lnTo>
                  <a:pt x="640" y="433"/>
                </a:lnTo>
                <a:lnTo>
                  <a:pt x="630" y="444"/>
                </a:lnTo>
                <a:lnTo>
                  <a:pt x="626" y="458"/>
                </a:lnTo>
                <a:lnTo>
                  <a:pt x="622" y="474"/>
                </a:lnTo>
                <a:lnTo>
                  <a:pt x="617" y="486"/>
                </a:lnTo>
                <a:lnTo>
                  <a:pt x="609" y="494"/>
                </a:lnTo>
                <a:lnTo>
                  <a:pt x="605" y="496"/>
                </a:lnTo>
                <a:lnTo>
                  <a:pt x="558" y="511"/>
                </a:lnTo>
                <a:lnTo>
                  <a:pt x="546" y="572"/>
                </a:lnTo>
                <a:lnTo>
                  <a:pt x="518" y="572"/>
                </a:lnTo>
                <a:lnTo>
                  <a:pt x="461" y="598"/>
                </a:lnTo>
                <a:lnTo>
                  <a:pt x="424" y="594"/>
                </a:lnTo>
                <a:lnTo>
                  <a:pt x="412" y="620"/>
                </a:lnTo>
                <a:lnTo>
                  <a:pt x="357" y="627"/>
                </a:lnTo>
                <a:lnTo>
                  <a:pt x="327" y="643"/>
                </a:lnTo>
                <a:lnTo>
                  <a:pt x="266" y="578"/>
                </a:lnTo>
                <a:lnTo>
                  <a:pt x="229" y="596"/>
                </a:lnTo>
                <a:lnTo>
                  <a:pt x="209" y="643"/>
                </a:lnTo>
                <a:lnTo>
                  <a:pt x="105" y="663"/>
                </a:lnTo>
                <a:lnTo>
                  <a:pt x="54" y="610"/>
                </a:lnTo>
                <a:lnTo>
                  <a:pt x="4" y="612"/>
                </a:lnTo>
                <a:lnTo>
                  <a:pt x="0" y="562"/>
                </a:lnTo>
                <a:lnTo>
                  <a:pt x="69" y="482"/>
                </a:lnTo>
                <a:lnTo>
                  <a:pt x="59" y="395"/>
                </a:lnTo>
                <a:lnTo>
                  <a:pt x="28" y="350"/>
                </a:lnTo>
                <a:lnTo>
                  <a:pt x="32" y="313"/>
                </a:lnTo>
                <a:lnTo>
                  <a:pt x="87" y="265"/>
                </a:lnTo>
                <a:lnTo>
                  <a:pt x="107" y="181"/>
                </a:lnTo>
                <a:lnTo>
                  <a:pt x="168" y="143"/>
                </a:lnTo>
                <a:lnTo>
                  <a:pt x="201" y="88"/>
                </a:lnTo>
                <a:lnTo>
                  <a:pt x="266" y="84"/>
                </a:lnTo>
                <a:lnTo>
                  <a:pt x="323" y="0"/>
                </a:lnTo>
              </a:path>
            </a:pathLst>
          </a:custGeom>
          <a:solidFill>
            <a:srgbClr val="FF781D"/>
          </a:solidFill>
          <a:ln w="6350">
            <a:solidFill>
              <a:schemeClr val="bg1"/>
            </a:solidFill>
            <a:prstDash val="solid"/>
            <a:round/>
          </a:ln>
        </p:spPr>
        <p:txBody>
          <a:bodyPr/>
          <a:lstStyle/>
          <a:p>
            <a:endParaRPr lang="zh-CN" altLang="en-US"/>
          </a:p>
        </p:txBody>
      </p:sp>
      <p:sp>
        <p:nvSpPr>
          <p:cNvPr id="131" name="Freeform 100"/>
          <p:cNvSpPr/>
          <p:nvPr/>
        </p:nvSpPr>
        <p:spPr bwMode="gray">
          <a:xfrm>
            <a:off x="5190852" y="2562002"/>
            <a:ext cx="682625" cy="681038"/>
          </a:xfrm>
          <a:custGeom>
            <a:avLst/>
            <a:gdLst>
              <a:gd name="T0" fmla="*/ 182 w 860"/>
              <a:gd name="T1" fmla="*/ 145 h 858"/>
              <a:gd name="T2" fmla="*/ 179 w 860"/>
              <a:gd name="T3" fmla="*/ 149 h 858"/>
              <a:gd name="T4" fmla="*/ 174 w 860"/>
              <a:gd name="T5" fmla="*/ 152 h 858"/>
              <a:gd name="T6" fmla="*/ 166 w 860"/>
              <a:gd name="T7" fmla="*/ 154 h 858"/>
              <a:gd name="T8" fmla="*/ 156 w 860"/>
              <a:gd name="T9" fmla="*/ 157 h 858"/>
              <a:gd name="T10" fmla="*/ 149 w 860"/>
              <a:gd name="T11" fmla="*/ 163 h 858"/>
              <a:gd name="T12" fmla="*/ 140 w 860"/>
              <a:gd name="T13" fmla="*/ 170 h 858"/>
              <a:gd name="T14" fmla="*/ 133 w 860"/>
              <a:gd name="T15" fmla="*/ 176 h 858"/>
              <a:gd name="T16" fmla="*/ 129 w 860"/>
              <a:gd name="T17" fmla="*/ 180 h 858"/>
              <a:gd name="T18" fmla="*/ 123 w 860"/>
              <a:gd name="T19" fmla="*/ 186 h 858"/>
              <a:gd name="T20" fmla="*/ 119 w 860"/>
              <a:gd name="T21" fmla="*/ 194 h 858"/>
              <a:gd name="T22" fmla="*/ 113 w 860"/>
              <a:gd name="T23" fmla="*/ 201 h 858"/>
              <a:gd name="T24" fmla="*/ 107 w 860"/>
              <a:gd name="T25" fmla="*/ 204 h 858"/>
              <a:gd name="T26" fmla="*/ 103 w 860"/>
              <a:gd name="T27" fmla="*/ 208 h 858"/>
              <a:gd name="T28" fmla="*/ 95 w 860"/>
              <a:gd name="T29" fmla="*/ 213 h 858"/>
              <a:gd name="T30" fmla="*/ 89 w 860"/>
              <a:gd name="T31" fmla="*/ 215 h 858"/>
              <a:gd name="T32" fmla="*/ 88 w 860"/>
              <a:gd name="T33" fmla="*/ 210 h 858"/>
              <a:gd name="T34" fmla="*/ 92 w 860"/>
              <a:gd name="T35" fmla="*/ 204 h 858"/>
              <a:gd name="T36" fmla="*/ 98 w 860"/>
              <a:gd name="T37" fmla="*/ 198 h 858"/>
              <a:gd name="T38" fmla="*/ 103 w 860"/>
              <a:gd name="T39" fmla="*/ 191 h 858"/>
              <a:gd name="T40" fmla="*/ 101 w 860"/>
              <a:gd name="T41" fmla="*/ 187 h 858"/>
              <a:gd name="T42" fmla="*/ 95 w 860"/>
              <a:gd name="T43" fmla="*/ 184 h 858"/>
              <a:gd name="T44" fmla="*/ 91 w 860"/>
              <a:gd name="T45" fmla="*/ 179 h 858"/>
              <a:gd name="T46" fmla="*/ 93 w 860"/>
              <a:gd name="T47" fmla="*/ 170 h 858"/>
              <a:gd name="T48" fmla="*/ 100 w 860"/>
              <a:gd name="T49" fmla="*/ 159 h 858"/>
              <a:gd name="T50" fmla="*/ 107 w 860"/>
              <a:gd name="T51" fmla="*/ 148 h 858"/>
              <a:gd name="T52" fmla="*/ 110 w 860"/>
              <a:gd name="T53" fmla="*/ 140 h 858"/>
              <a:gd name="T54" fmla="*/ 110 w 860"/>
              <a:gd name="T55" fmla="*/ 135 h 858"/>
              <a:gd name="T56" fmla="*/ 105 w 860"/>
              <a:gd name="T57" fmla="*/ 129 h 858"/>
              <a:gd name="T58" fmla="*/ 99 w 860"/>
              <a:gd name="T59" fmla="*/ 123 h 858"/>
              <a:gd name="T60" fmla="*/ 94 w 860"/>
              <a:gd name="T61" fmla="*/ 122 h 858"/>
              <a:gd name="T62" fmla="*/ 87 w 860"/>
              <a:gd name="T63" fmla="*/ 123 h 858"/>
              <a:gd name="T64" fmla="*/ 78 w 860"/>
              <a:gd name="T65" fmla="*/ 123 h 858"/>
              <a:gd name="T66" fmla="*/ 74 w 860"/>
              <a:gd name="T67" fmla="*/ 124 h 858"/>
              <a:gd name="T68" fmla="*/ 70 w 860"/>
              <a:gd name="T69" fmla="*/ 134 h 858"/>
              <a:gd name="T70" fmla="*/ 66 w 860"/>
              <a:gd name="T71" fmla="*/ 145 h 858"/>
              <a:gd name="T72" fmla="*/ 60 w 860"/>
              <a:gd name="T73" fmla="*/ 152 h 858"/>
              <a:gd name="T74" fmla="*/ 53 w 860"/>
              <a:gd name="T75" fmla="*/ 163 h 858"/>
              <a:gd name="T76" fmla="*/ 46 w 860"/>
              <a:gd name="T77" fmla="*/ 169 h 858"/>
              <a:gd name="T78" fmla="*/ 41 w 860"/>
              <a:gd name="T79" fmla="*/ 172 h 858"/>
              <a:gd name="T80" fmla="*/ 34 w 860"/>
              <a:gd name="T81" fmla="*/ 167 h 858"/>
              <a:gd name="T82" fmla="*/ 14 w 860"/>
              <a:gd name="T83" fmla="*/ 147 h 858"/>
              <a:gd name="T84" fmla="*/ 5 w 860"/>
              <a:gd name="T85" fmla="*/ 127 h 858"/>
              <a:gd name="T86" fmla="*/ 7 w 860"/>
              <a:gd name="T87" fmla="*/ 101 h 858"/>
              <a:gd name="T88" fmla="*/ 3 w 860"/>
              <a:gd name="T89" fmla="*/ 79 h 858"/>
              <a:gd name="T90" fmla="*/ 21 w 860"/>
              <a:gd name="T91" fmla="*/ 80 h 858"/>
              <a:gd name="T92" fmla="*/ 43 w 860"/>
              <a:gd name="T93" fmla="*/ 78 h 858"/>
              <a:gd name="T94" fmla="*/ 69 w 860"/>
              <a:gd name="T95" fmla="*/ 53 h 858"/>
              <a:gd name="T96" fmla="*/ 94 w 860"/>
              <a:gd name="T97" fmla="*/ 44 h 858"/>
              <a:gd name="T98" fmla="*/ 108 w 860"/>
              <a:gd name="T99" fmla="*/ 37 h 858"/>
              <a:gd name="T100" fmla="*/ 131 w 860"/>
              <a:gd name="T101" fmla="*/ 12 h 858"/>
              <a:gd name="T102" fmla="*/ 149 w 860"/>
              <a:gd name="T103" fmla="*/ 6 h 858"/>
              <a:gd name="T104" fmla="*/ 182 w 860"/>
              <a:gd name="T105" fmla="*/ 30 h 858"/>
              <a:gd name="T106" fmla="*/ 194 w 860"/>
              <a:gd name="T107" fmla="*/ 60 h 858"/>
              <a:gd name="T108" fmla="*/ 215 w 860"/>
              <a:gd name="T109" fmla="*/ 101 h 858"/>
              <a:gd name="T110" fmla="*/ 183 w 860"/>
              <a:gd name="T111" fmla="*/ 134 h 85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860"/>
              <a:gd name="T169" fmla="*/ 0 h 858"/>
              <a:gd name="T170" fmla="*/ 860 w 860"/>
              <a:gd name="T171" fmla="*/ 858 h 858"/>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860" h="858">
                <a:moveTo>
                  <a:pt x="725" y="575"/>
                </a:moveTo>
                <a:lnTo>
                  <a:pt x="725" y="579"/>
                </a:lnTo>
                <a:lnTo>
                  <a:pt x="719" y="585"/>
                </a:lnTo>
                <a:lnTo>
                  <a:pt x="713" y="594"/>
                </a:lnTo>
                <a:lnTo>
                  <a:pt x="705" y="604"/>
                </a:lnTo>
                <a:lnTo>
                  <a:pt x="695" y="608"/>
                </a:lnTo>
                <a:lnTo>
                  <a:pt x="681" y="610"/>
                </a:lnTo>
                <a:lnTo>
                  <a:pt x="664" y="614"/>
                </a:lnTo>
                <a:lnTo>
                  <a:pt x="642" y="618"/>
                </a:lnTo>
                <a:lnTo>
                  <a:pt x="622" y="626"/>
                </a:lnTo>
                <a:lnTo>
                  <a:pt x="607" y="638"/>
                </a:lnTo>
                <a:lnTo>
                  <a:pt x="593" y="651"/>
                </a:lnTo>
                <a:lnTo>
                  <a:pt x="577" y="665"/>
                </a:lnTo>
                <a:lnTo>
                  <a:pt x="559" y="679"/>
                </a:lnTo>
                <a:lnTo>
                  <a:pt x="544" y="693"/>
                </a:lnTo>
                <a:lnTo>
                  <a:pt x="530" y="703"/>
                </a:lnTo>
                <a:lnTo>
                  <a:pt x="522" y="711"/>
                </a:lnTo>
                <a:lnTo>
                  <a:pt x="514" y="718"/>
                </a:lnTo>
                <a:lnTo>
                  <a:pt x="502" y="730"/>
                </a:lnTo>
                <a:lnTo>
                  <a:pt x="492" y="744"/>
                </a:lnTo>
                <a:lnTo>
                  <a:pt x="481" y="760"/>
                </a:lnTo>
                <a:lnTo>
                  <a:pt x="475" y="774"/>
                </a:lnTo>
                <a:lnTo>
                  <a:pt x="465" y="789"/>
                </a:lnTo>
                <a:lnTo>
                  <a:pt x="451" y="801"/>
                </a:lnTo>
                <a:lnTo>
                  <a:pt x="437" y="809"/>
                </a:lnTo>
                <a:lnTo>
                  <a:pt x="427" y="815"/>
                </a:lnTo>
                <a:lnTo>
                  <a:pt x="422" y="823"/>
                </a:lnTo>
                <a:lnTo>
                  <a:pt x="410" y="831"/>
                </a:lnTo>
                <a:lnTo>
                  <a:pt x="394" y="840"/>
                </a:lnTo>
                <a:lnTo>
                  <a:pt x="380" y="850"/>
                </a:lnTo>
                <a:lnTo>
                  <a:pt x="364" y="856"/>
                </a:lnTo>
                <a:lnTo>
                  <a:pt x="355" y="858"/>
                </a:lnTo>
                <a:lnTo>
                  <a:pt x="349" y="854"/>
                </a:lnTo>
                <a:lnTo>
                  <a:pt x="349" y="838"/>
                </a:lnTo>
                <a:lnTo>
                  <a:pt x="355" y="827"/>
                </a:lnTo>
                <a:lnTo>
                  <a:pt x="366" y="815"/>
                </a:lnTo>
                <a:lnTo>
                  <a:pt x="380" y="801"/>
                </a:lnTo>
                <a:lnTo>
                  <a:pt x="392" y="789"/>
                </a:lnTo>
                <a:lnTo>
                  <a:pt x="404" y="775"/>
                </a:lnTo>
                <a:lnTo>
                  <a:pt x="410" y="764"/>
                </a:lnTo>
                <a:lnTo>
                  <a:pt x="410" y="754"/>
                </a:lnTo>
                <a:lnTo>
                  <a:pt x="404" y="748"/>
                </a:lnTo>
                <a:lnTo>
                  <a:pt x="392" y="742"/>
                </a:lnTo>
                <a:lnTo>
                  <a:pt x="380" y="734"/>
                </a:lnTo>
                <a:lnTo>
                  <a:pt x="370" y="726"/>
                </a:lnTo>
                <a:lnTo>
                  <a:pt x="364" y="716"/>
                </a:lnTo>
                <a:lnTo>
                  <a:pt x="364" y="699"/>
                </a:lnTo>
                <a:lnTo>
                  <a:pt x="372" y="679"/>
                </a:lnTo>
                <a:lnTo>
                  <a:pt x="382" y="661"/>
                </a:lnTo>
                <a:lnTo>
                  <a:pt x="400" y="636"/>
                </a:lnTo>
                <a:lnTo>
                  <a:pt x="418" y="608"/>
                </a:lnTo>
                <a:lnTo>
                  <a:pt x="425" y="592"/>
                </a:lnTo>
                <a:lnTo>
                  <a:pt x="433" y="575"/>
                </a:lnTo>
                <a:lnTo>
                  <a:pt x="441" y="559"/>
                </a:lnTo>
                <a:lnTo>
                  <a:pt x="443" y="547"/>
                </a:lnTo>
                <a:lnTo>
                  <a:pt x="439" y="537"/>
                </a:lnTo>
                <a:lnTo>
                  <a:pt x="429" y="526"/>
                </a:lnTo>
                <a:lnTo>
                  <a:pt x="418" y="514"/>
                </a:lnTo>
                <a:lnTo>
                  <a:pt x="404" y="502"/>
                </a:lnTo>
                <a:lnTo>
                  <a:pt x="394" y="494"/>
                </a:lnTo>
                <a:lnTo>
                  <a:pt x="384" y="490"/>
                </a:lnTo>
                <a:lnTo>
                  <a:pt x="374" y="490"/>
                </a:lnTo>
                <a:lnTo>
                  <a:pt x="362" y="492"/>
                </a:lnTo>
                <a:lnTo>
                  <a:pt x="345" y="494"/>
                </a:lnTo>
                <a:lnTo>
                  <a:pt x="325" y="494"/>
                </a:lnTo>
                <a:lnTo>
                  <a:pt x="311" y="492"/>
                </a:lnTo>
                <a:lnTo>
                  <a:pt x="301" y="492"/>
                </a:lnTo>
                <a:lnTo>
                  <a:pt x="294" y="498"/>
                </a:lnTo>
                <a:lnTo>
                  <a:pt x="286" y="512"/>
                </a:lnTo>
                <a:lnTo>
                  <a:pt x="280" y="533"/>
                </a:lnTo>
                <a:lnTo>
                  <a:pt x="272" y="557"/>
                </a:lnTo>
                <a:lnTo>
                  <a:pt x="264" y="577"/>
                </a:lnTo>
                <a:lnTo>
                  <a:pt x="254" y="592"/>
                </a:lnTo>
                <a:lnTo>
                  <a:pt x="242" y="608"/>
                </a:lnTo>
                <a:lnTo>
                  <a:pt x="227" y="630"/>
                </a:lnTo>
                <a:lnTo>
                  <a:pt x="211" y="650"/>
                </a:lnTo>
                <a:lnTo>
                  <a:pt x="197" y="663"/>
                </a:lnTo>
                <a:lnTo>
                  <a:pt x="183" y="673"/>
                </a:lnTo>
                <a:lnTo>
                  <a:pt x="172" y="681"/>
                </a:lnTo>
                <a:lnTo>
                  <a:pt x="162" y="687"/>
                </a:lnTo>
                <a:lnTo>
                  <a:pt x="158" y="691"/>
                </a:lnTo>
                <a:lnTo>
                  <a:pt x="134" y="667"/>
                </a:lnTo>
                <a:lnTo>
                  <a:pt x="103" y="620"/>
                </a:lnTo>
                <a:lnTo>
                  <a:pt x="55" y="587"/>
                </a:lnTo>
                <a:lnTo>
                  <a:pt x="0" y="569"/>
                </a:lnTo>
                <a:lnTo>
                  <a:pt x="20" y="510"/>
                </a:lnTo>
                <a:lnTo>
                  <a:pt x="53" y="457"/>
                </a:lnTo>
                <a:lnTo>
                  <a:pt x="30" y="402"/>
                </a:lnTo>
                <a:lnTo>
                  <a:pt x="30" y="337"/>
                </a:lnTo>
                <a:lnTo>
                  <a:pt x="10" y="315"/>
                </a:lnTo>
                <a:lnTo>
                  <a:pt x="40" y="285"/>
                </a:lnTo>
                <a:lnTo>
                  <a:pt x="81" y="317"/>
                </a:lnTo>
                <a:lnTo>
                  <a:pt x="126" y="382"/>
                </a:lnTo>
                <a:lnTo>
                  <a:pt x="170" y="311"/>
                </a:lnTo>
                <a:lnTo>
                  <a:pt x="215" y="274"/>
                </a:lnTo>
                <a:lnTo>
                  <a:pt x="274" y="209"/>
                </a:lnTo>
                <a:lnTo>
                  <a:pt x="349" y="189"/>
                </a:lnTo>
                <a:lnTo>
                  <a:pt x="376" y="173"/>
                </a:lnTo>
                <a:lnTo>
                  <a:pt x="380" y="134"/>
                </a:lnTo>
                <a:lnTo>
                  <a:pt x="431" y="146"/>
                </a:lnTo>
                <a:lnTo>
                  <a:pt x="475" y="108"/>
                </a:lnTo>
                <a:lnTo>
                  <a:pt x="524" y="47"/>
                </a:lnTo>
                <a:lnTo>
                  <a:pt x="524" y="0"/>
                </a:lnTo>
                <a:lnTo>
                  <a:pt x="595" y="22"/>
                </a:lnTo>
                <a:lnTo>
                  <a:pt x="679" y="45"/>
                </a:lnTo>
                <a:lnTo>
                  <a:pt x="725" y="120"/>
                </a:lnTo>
                <a:lnTo>
                  <a:pt x="784" y="187"/>
                </a:lnTo>
                <a:lnTo>
                  <a:pt x="774" y="240"/>
                </a:lnTo>
                <a:lnTo>
                  <a:pt x="860" y="317"/>
                </a:lnTo>
                <a:lnTo>
                  <a:pt x="860" y="402"/>
                </a:lnTo>
                <a:lnTo>
                  <a:pt x="815" y="425"/>
                </a:lnTo>
                <a:lnTo>
                  <a:pt x="731" y="533"/>
                </a:lnTo>
                <a:lnTo>
                  <a:pt x="725" y="575"/>
                </a:lnTo>
              </a:path>
            </a:pathLst>
          </a:custGeom>
          <a:solidFill>
            <a:srgbClr val="FF781D"/>
          </a:solidFill>
          <a:ln w="6350">
            <a:solidFill>
              <a:schemeClr val="bg1"/>
            </a:solidFill>
            <a:prstDash val="solid"/>
            <a:round/>
          </a:ln>
        </p:spPr>
        <p:txBody>
          <a:bodyPr/>
          <a:lstStyle/>
          <a:p>
            <a:endParaRPr lang="zh-CN" altLang="en-US"/>
          </a:p>
        </p:txBody>
      </p:sp>
      <p:sp>
        <p:nvSpPr>
          <p:cNvPr id="177" name="Freeform 82"/>
          <p:cNvSpPr/>
          <p:nvPr/>
        </p:nvSpPr>
        <p:spPr bwMode="gray">
          <a:xfrm>
            <a:off x="5357664" y="4273325"/>
            <a:ext cx="449263" cy="504825"/>
          </a:xfrm>
          <a:custGeom>
            <a:avLst/>
            <a:gdLst>
              <a:gd name="T0" fmla="*/ 109 w 565"/>
              <a:gd name="T1" fmla="*/ 11 h 638"/>
              <a:gd name="T2" fmla="*/ 106 w 565"/>
              <a:gd name="T3" fmla="*/ 11 h 638"/>
              <a:gd name="T4" fmla="*/ 103 w 565"/>
              <a:gd name="T5" fmla="*/ 14 h 638"/>
              <a:gd name="T6" fmla="*/ 100 w 565"/>
              <a:gd name="T7" fmla="*/ 21 h 638"/>
              <a:gd name="T8" fmla="*/ 99 w 565"/>
              <a:gd name="T9" fmla="*/ 28 h 638"/>
              <a:gd name="T10" fmla="*/ 96 w 565"/>
              <a:gd name="T11" fmla="*/ 31 h 638"/>
              <a:gd name="T12" fmla="*/ 90 w 565"/>
              <a:gd name="T13" fmla="*/ 29 h 638"/>
              <a:gd name="T14" fmla="*/ 84 w 565"/>
              <a:gd name="T15" fmla="*/ 26 h 638"/>
              <a:gd name="T16" fmla="*/ 80 w 565"/>
              <a:gd name="T17" fmla="*/ 26 h 638"/>
              <a:gd name="T18" fmla="*/ 82 w 565"/>
              <a:gd name="T19" fmla="*/ 32 h 638"/>
              <a:gd name="T20" fmla="*/ 87 w 565"/>
              <a:gd name="T21" fmla="*/ 36 h 638"/>
              <a:gd name="T22" fmla="*/ 93 w 565"/>
              <a:gd name="T23" fmla="*/ 38 h 638"/>
              <a:gd name="T24" fmla="*/ 101 w 565"/>
              <a:gd name="T25" fmla="*/ 35 h 638"/>
              <a:gd name="T26" fmla="*/ 104 w 565"/>
              <a:gd name="T27" fmla="*/ 31 h 638"/>
              <a:gd name="T28" fmla="*/ 106 w 565"/>
              <a:gd name="T29" fmla="*/ 25 h 638"/>
              <a:gd name="T30" fmla="*/ 110 w 565"/>
              <a:gd name="T31" fmla="*/ 24 h 638"/>
              <a:gd name="T32" fmla="*/ 117 w 565"/>
              <a:gd name="T33" fmla="*/ 30 h 638"/>
              <a:gd name="T34" fmla="*/ 126 w 565"/>
              <a:gd name="T35" fmla="*/ 34 h 638"/>
              <a:gd name="T36" fmla="*/ 131 w 565"/>
              <a:gd name="T37" fmla="*/ 36 h 638"/>
              <a:gd name="T38" fmla="*/ 138 w 565"/>
              <a:gd name="T39" fmla="*/ 38 h 638"/>
              <a:gd name="T40" fmla="*/ 142 w 565"/>
              <a:gd name="T41" fmla="*/ 44 h 638"/>
              <a:gd name="T42" fmla="*/ 139 w 565"/>
              <a:gd name="T43" fmla="*/ 51 h 638"/>
              <a:gd name="T44" fmla="*/ 133 w 565"/>
              <a:gd name="T45" fmla="*/ 58 h 638"/>
              <a:gd name="T46" fmla="*/ 130 w 565"/>
              <a:gd name="T47" fmla="*/ 60 h 638"/>
              <a:gd name="T48" fmla="*/ 134 w 565"/>
              <a:gd name="T49" fmla="*/ 60 h 638"/>
              <a:gd name="T50" fmla="*/ 139 w 565"/>
              <a:gd name="T51" fmla="*/ 60 h 638"/>
              <a:gd name="T52" fmla="*/ 141 w 565"/>
              <a:gd name="T53" fmla="*/ 63 h 638"/>
              <a:gd name="T54" fmla="*/ 136 w 565"/>
              <a:gd name="T55" fmla="*/ 67 h 638"/>
              <a:gd name="T56" fmla="*/ 129 w 565"/>
              <a:gd name="T57" fmla="*/ 71 h 638"/>
              <a:gd name="T58" fmla="*/ 126 w 565"/>
              <a:gd name="T59" fmla="*/ 73 h 638"/>
              <a:gd name="T60" fmla="*/ 129 w 565"/>
              <a:gd name="T61" fmla="*/ 73 h 638"/>
              <a:gd name="T62" fmla="*/ 135 w 565"/>
              <a:gd name="T63" fmla="*/ 78 h 638"/>
              <a:gd name="T64" fmla="*/ 136 w 565"/>
              <a:gd name="T65" fmla="*/ 88 h 638"/>
              <a:gd name="T66" fmla="*/ 138 w 565"/>
              <a:gd name="T67" fmla="*/ 98 h 638"/>
              <a:gd name="T68" fmla="*/ 141 w 565"/>
              <a:gd name="T69" fmla="*/ 104 h 638"/>
              <a:gd name="T70" fmla="*/ 141 w 565"/>
              <a:gd name="T71" fmla="*/ 108 h 638"/>
              <a:gd name="T72" fmla="*/ 136 w 565"/>
              <a:gd name="T73" fmla="*/ 112 h 638"/>
              <a:gd name="T74" fmla="*/ 129 w 565"/>
              <a:gd name="T75" fmla="*/ 111 h 638"/>
              <a:gd name="T76" fmla="*/ 123 w 565"/>
              <a:gd name="T77" fmla="*/ 110 h 638"/>
              <a:gd name="T78" fmla="*/ 119 w 565"/>
              <a:gd name="T79" fmla="*/ 116 h 638"/>
              <a:gd name="T80" fmla="*/ 118 w 565"/>
              <a:gd name="T81" fmla="*/ 122 h 638"/>
              <a:gd name="T82" fmla="*/ 116 w 565"/>
              <a:gd name="T83" fmla="*/ 129 h 638"/>
              <a:gd name="T84" fmla="*/ 113 w 565"/>
              <a:gd name="T85" fmla="*/ 136 h 638"/>
              <a:gd name="T86" fmla="*/ 112 w 565"/>
              <a:gd name="T87" fmla="*/ 146 h 638"/>
              <a:gd name="T88" fmla="*/ 112 w 565"/>
              <a:gd name="T89" fmla="*/ 150 h 638"/>
              <a:gd name="T90" fmla="*/ 102 w 565"/>
              <a:gd name="T91" fmla="*/ 158 h 638"/>
              <a:gd name="T92" fmla="*/ 88 w 565"/>
              <a:gd name="T93" fmla="*/ 158 h 638"/>
              <a:gd name="T94" fmla="*/ 69 w 565"/>
              <a:gd name="T95" fmla="*/ 148 h 638"/>
              <a:gd name="T96" fmla="*/ 47 w 565"/>
              <a:gd name="T97" fmla="*/ 155 h 638"/>
              <a:gd name="T98" fmla="*/ 35 w 565"/>
              <a:gd name="T99" fmla="*/ 128 h 638"/>
              <a:gd name="T100" fmla="*/ 20 w 565"/>
              <a:gd name="T101" fmla="*/ 113 h 638"/>
              <a:gd name="T102" fmla="*/ 5 w 565"/>
              <a:gd name="T103" fmla="*/ 83 h 638"/>
              <a:gd name="T104" fmla="*/ 27 w 565"/>
              <a:gd name="T105" fmla="*/ 49 h 638"/>
              <a:gd name="T106" fmla="*/ 42 w 565"/>
              <a:gd name="T107" fmla="*/ 36 h 638"/>
              <a:gd name="T108" fmla="*/ 46 w 565"/>
              <a:gd name="T109" fmla="*/ 12 h 638"/>
              <a:gd name="T110" fmla="*/ 56 w 565"/>
              <a:gd name="T111" fmla="*/ 0 h 638"/>
              <a:gd name="T112" fmla="*/ 76 w 565"/>
              <a:gd name="T113" fmla="*/ 7 h 638"/>
              <a:gd name="T114" fmla="*/ 96 w 565"/>
              <a:gd name="T115" fmla="*/ 1 h 638"/>
              <a:gd name="T116" fmla="*/ 109 w 565"/>
              <a:gd name="T117" fmla="*/ 11 h 63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565"/>
              <a:gd name="T178" fmla="*/ 0 h 638"/>
              <a:gd name="T179" fmla="*/ 565 w 565"/>
              <a:gd name="T180" fmla="*/ 638 h 638"/>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565" h="638">
                <a:moveTo>
                  <a:pt x="433" y="44"/>
                </a:moveTo>
                <a:lnTo>
                  <a:pt x="433" y="44"/>
                </a:lnTo>
                <a:lnTo>
                  <a:pt x="429" y="46"/>
                </a:lnTo>
                <a:lnTo>
                  <a:pt x="423" y="47"/>
                </a:lnTo>
                <a:lnTo>
                  <a:pt x="417" y="53"/>
                </a:lnTo>
                <a:lnTo>
                  <a:pt x="411" y="59"/>
                </a:lnTo>
                <a:lnTo>
                  <a:pt x="403" y="69"/>
                </a:lnTo>
                <a:lnTo>
                  <a:pt x="398" y="85"/>
                </a:lnTo>
                <a:lnTo>
                  <a:pt x="396" y="99"/>
                </a:lnTo>
                <a:lnTo>
                  <a:pt x="394" y="112"/>
                </a:lnTo>
                <a:lnTo>
                  <a:pt x="392" y="122"/>
                </a:lnTo>
                <a:lnTo>
                  <a:pt x="384" y="126"/>
                </a:lnTo>
                <a:lnTo>
                  <a:pt x="372" y="122"/>
                </a:lnTo>
                <a:lnTo>
                  <a:pt x="360" y="118"/>
                </a:lnTo>
                <a:lnTo>
                  <a:pt x="346" y="110"/>
                </a:lnTo>
                <a:lnTo>
                  <a:pt x="335" y="107"/>
                </a:lnTo>
                <a:lnTo>
                  <a:pt x="325" y="105"/>
                </a:lnTo>
                <a:lnTo>
                  <a:pt x="319" y="107"/>
                </a:lnTo>
                <a:lnTo>
                  <a:pt x="317" y="118"/>
                </a:lnTo>
                <a:lnTo>
                  <a:pt x="325" y="128"/>
                </a:lnTo>
                <a:lnTo>
                  <a:pt x="337" y="138"/>
                </a:lnTo>
                <a:lnTo>
                  <a:pt x="346" y="146"/>
                </a:lnTo>
                <a:lnTo>
                  <a:pt x="358" y="152"/>
                </a:lnTo>
                <a:lnTo>
                  <a:pt x="372" y="154"/>
                </a:lnTo>
                <a:lnTo>
                  <a:pt x="388" y="150"/>
                </a:lnTo>
                <a:lnTo>
                  <a:pt x="402" y="142"/>
                </a:lnTo>
                <a:lnTo>
                  <a:pt x="407" y="134"/>
                </a:lnTo>
                <a:lnTo>
                  <a:pt x="413" y="124"/>
                </a:lnTo>
                <a:lnTo>
                  <a:pt x="417" y="112"/>
                </a:lnTo>
                <a:lnTo>
                  <a:pt x="423" y="103"/>
                </a:lnTo>
                <a:lnTo>
                  <a:pt x="429" y="97"/>
                </a:lnTo>
                <a:lnTo>
                  <a:pt x="437" y="97"/>
                </a:lnTo>
                <a:lnTo>
                  <a:pt x="447" y="105"/>
                </a:lnTo>
                <a:lnTo>
                  <a:pt x="468" y="122"/>
                </a:lnTo>
                <a:lnTo>
                  <a:pt x="486" y="132"/>
                </a:lnTo>
                <a:lnTo>
                  <a:pt x="502" y="138"/>
                </a:lnTo>
                <a:lnTo>
                  <a:pt x="514" y="142"/>
                </a:lnTo>
                <a:lnTo>
                  <a:pt x="524" y="144"/>
                </a:lnTo>
                <a:lnTo>
                  <a:pt x="537" y="148"/>
                </a:lnTo>
                <a:lnTo>
                  <a:pt x="549" y="154"/>
                </a:lnTo>
                <a:lnTo>
                  <a:pt x="559" y="164"/>
                </a:lnTo>
                <a:lnTo>
                  <a:pt x="565" y="177"/>
                </a:lnTo>
                <a:lnTo>
                  <a:pt x="561" y="191"/>
                </a:lnTo>
                <a:lnTo>
                  <a:pt x="553" y="207"/>
                </a:lnTo>
                <a:lnTo>
                  <a:pt x="543" y="221"/>
                </a:lnTo>
                <a:lnTo>
                  <a:pt x="531" y="232"/>
                </a:lnTo>
                <a:lnTo>
                  <a:pt x="524" y="240"/>
                </a:lnTo>
                <a:lnTo>
                  <a:pt x="520" y="242"/>
                </a:lnTo>
                <a:lnTo>
                  <a:pt x="524" y="242"/>
                </a:lnTo>
                <a:lnTo>
                  <a:pt x="533" y="242"/>
                </a:lnTo>
                <a:lnTo>
                  <a:pt x="543" y="240"/>
                </a:lnTo>
                <a:lnTo>
                  <a:pt x="555" y="242"/>
                </a:lnTo>
                <a:lnTo>
                  <a:pt x="561" y="246"/>
                </a:lnTo>
                <a:lnTo>
                  <a:pt x="561" y="252"/>
                </a:lnTo>
                <a:lnTo>
                  <a:pt x="555" y="262"/>
                </a:lnTo>
                <a:lnTo>
                  <a:pt x="543" y="270"/>
                </a:lnTo>
                <a:lnTo>
                  <a:pt x="529" y="278"/>
                </a:lnTo>
                <a:lnTo>
                  <a:pt x="516" y="286"/>
                </a:lnTo>
                <a:lnTo>
                  <a:pt x="506" y="290"/>
                </a:lnTo>
                <a:lnTo>
                  <a:pt x="502" y="292"/>
                </a:lnTo>
                <a:lnTo>
                  <a:pt x="506" y="292"/>
                </a:lnTo>
                <a:lnTo>
                  <a:pt x="516" y="295"/>
                </a:lnTo>
                <a:lnTo>
                  <a:pt x="528" y="303"/>
                </a:lnTo>
                <a:lnTo>
                  <a:pt x="537" y="315"/>
                </a:lnTo>
                <a:lnTo>
                  <a:pt x="541" y="329"/>
                </a:lnTo>
                <a:lnTo>
                  <a:pt x="543" y="353"/>
                </a:lnTo>
                <a:lnTo>
                  <a:pt x="543" y="374"/>
                </a:lnTo>
                <a:lnTo>
                  <a:pt x="549" y="396"/>
                </a:lnTo>
                <a:lnTo>
                  <a:pt x="555" y="408"/>
                </a:lnTo>
                <a:lnTo>
                  <a:pt x="561" y="418"/>
                </a:lnTo>
                <a:lnTo>
                  <a:pt x="565" y="425"/>
                </a:lnTo>
                <a:lnTo>
                  <a:pt x="563" y="435"/>
                </a:lnTo>
                <a:lnTo>
                  <a:pt x="553" y="445"/>
                </a:lnTo>
                <a:lnTo>
                  <a:pt x="541" y="451"/>
                </a:lnTo>
                <a:lnTo>
                  <a:pt x="528" y="449"/>
                </a:lnTo>
                <a:lnTo>
                  <a:pt x="514" y="445"/>
                </a:lnTo>
                <a:lnTo>
                  <a:pt x="502" y="441"/>
                </a:lnTo>
                <a:lnTo>
                  <a:pt x="490" y="443"/>
                </a:lnTo>
                <a:lnTo>
                  <a:pt x="482" y="453"/>
                </a:lnTo>
                <a:lnTo>
                  <a:pt x="476" y="465"/>
                </a:lnTo>
                <a:lnTo>
                  <a:pt x="474" y="479"/>
                </a:lnTo>
                <a:lnTo>
                  <a:pt x="472" y="492"/>
                </a:lnTo>
                <a:lnTo>
                  <a:pt x="470" y="506"/>
                </a:lnTo>
                <a:lnTo>
                  <a:pt x="463" y="518"/>
                </a:lnTo>
                <a:lnTo>
                  <a:pt x="457" y="532"/>
                </a:lnTo>
                <a:lnTo>
                  <a:pt x="449" y="545"/>
                </a:lnTo>
                <a:lnTo>
                  <a:pt x="447" y="567"/>
                </a:lnTo>
                <a:lnTo>
                  <a:pt x="445" y="587"/>
                </a:lnTo>
                <a:lnTo>
                  <a:pt x="445" y="599"/>
                </a:lnTo>
                <a:lnTo>
                  <a:pt x="445" y="604"/>
                </a:lnTo>
                <a:lnTo>
                  <a:pt x="445" y="606"/>
                </a:lnTo>
                <a:lnTo>
                  <a:pt x="405" y="634"/>
                </a:lnTo>
                <a:lnTo>
                  <a:pt x="382" y="610"/>
                </a:lnTo>
                <a:lnTo>
                  <a:pt x="350" y="634"/>
                </a:lnTo>
                <a:lnTo>
                  <a:pt x="317" y="638"/>
                </a:lnTo>
                <a:lnTo>
                  <a:pt x="274" y="595"/>
                </a:lnTo>
                <a:lnTo>
                  <a:pt x="234" y="638"/>
                </a:lnTo>
                <a:lnTo>
                  <a:pt x="185" y="622"/>
                </a:lnTo>
                <a:lnTo>
                  <a:pt x="146" y="565"/>
                </a:lnTo>
                <a:lnTo>
                  <a:pt x="140" y="514"/>
                </a:lnTo>
                <a:lnTo>
                  <a:pt x="91" y="514"/>
                </a:lnTo>
                <a:lnTo>
                  <a:pt x="77" y="453"/>
                </a:lnTo>
                <a:lnTo>
                  <a:pt x="0" y="394"/>
                </a:lnTo>
                <a:lnTo>
                  <a:pt x="18" y="333"/>
                </a:lnTo>
                <a:lnTo>
                  <a:pt x="77" y="272"/>
                </a:lnTo>
                <a:lnTo>
                  <a:pt x="106" y="199"/>
                </a:lnTo>
                <a:lnTo>
                  <a:pt x="134" y="156"/>
                </a:lnTo>
                <a:lnTo>
                  <a:pt x="165" y="144"/>
                </a:lnTo>
                <a:lnTo>
                  <a:pt x="144" y="101"/>
                </a:lnTo>
                <a:lnTo>
                  <a:pt x="183" y="51"/>
                </a:lnTo>
                <a:lnTo>
                  <a:pt x="179" y="8"/>
                </a:lnTo>
                <a:lnTo>
                  <a:pt x="224" y="0"/>
                </a:lnTo>
                <a:lnTo>
                  <a:pt x="252" y="34"/>
                </a:lnTo>
                <a:lnTo>
                  <a:pt x="301" y="30"/>
                </a:lnTo>
                <a:lnTo>
                  <a:pt x="344" y="20"/>
                </a:lnTo>
                <a:lnTo>
                  <a:pt x="384" y="4"/>
                </a:lnTo>
                <a:lnTo>
                  <a:pt x="415" y="22"/>
                </a:lnTo>
                <a:lnTo>
                  <a:pt x="433" y="44"/>
                </a:lnTo>
              </a:path>
            </a:pathLst>
          </a:custGeom>
          <a:solidFill>
            <a:srgbClr val="FF781D"/>
          </a:solidFill>
          <a:ln w="6350">
            <a:solidFill>
              <a:schemeClr val="bg1"/>
            </a:solidFill>
            <a:prstDash val="solid"/>
            <a:round/>
          </a:ln>
        </p:spPr>
        <p:txBody>
          <a:bodyPr/>
          <a:lstStyle/>
          <a:p>
            <a:endParaRPr lang="zh-CN" altLang="en-US"/>
          </a:p>
        </p:txBody>
      </p:sp>
      <p:cxnSp>
        <p:nvCxnSpPr>
          <p:cNvPr id="115" name="直接连接符 114"/>
          <p:cNvCxnSpPr/>
          <p:nvPr/>
        </p:nvCxnSpPr>
        <p:spPr>
          <a:xfrm>
            <a:off x="5791265" y="2989833"/>
            <a:ext cx="252413" cy="248444"/>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19" name="直接连接符 118"/>
          <p:cNvCxnSpPr/>
          <p:nvPr/>
        </p:nvCxnSpPr>
        <p:spPr>
          <a:xfrm>
            <a:off x="6043678" y="3238277"/>
            <a:ext cx="225165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28" name="直接连接符 127"/>
          <p:cNvCxnSpPr/>
          <p:nvPr/>
        </p:nvCxnSpPr>
        <p:spPr>
          <a:xfrm>
            <a:off x="5577810" y="3499339"/>
            <a:ext cx="252413" cy="248444"/>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29" name="直接连接符 128"/>
          <p:cNvCxnSpPr/>
          <p:nvPr/>
        </p:nvCxnSpPr>
        <p:spPr>
          <a:xfrm>
            <a:off x="5830223" y="3747783"/>
            <a:ext cx="2465105"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30" name="直接连接符 129"/>
          <p:cNvCxnSpPr/>
          <p:nvPr/>
        </p:nvCxnSpPr>
        <p:spPr>
          <a:xfrm flipV="1">
            <a:off x="5727428" y="4411440"/>
            <a:ext cx="316250" cy="204787"/>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32" name="直接连接符 131"/>
          <p:cNvCxnSpPr/>
          <p:nvPr/>
        </p:nvCxnSpPr>
        <p:spPr>
          <a:xfrm>
            <a:off x="6043678" y="4411440"/>
            <a:ext cx="225165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33" name="直接连接符 132"/>
          <p:cNvCxnSpPr/>
          <p:nvPr/>
        </p:nvCxnSpPr>
        <p:spPr>
          <a:xfrm>
            <a:off x="5068616" y="5563171"/>
            <a:ext cx="252413" cy="248444"/>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34" name="直接连接符 133"/>
          <p:cNvCxnSpPr/>
          <p:nvPr/>
        </p:nvCxnSpPr>
        <p:spPr>
          <a:xfrm>
            <a:off x="5321029" y="5811615"/>
            <a:ext cx="2189469"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26" name="矩形 125"/>
          <p:cNvSpPr/>
          <p:nvPr/>
        </p:nvSpPr>
        <p:spPr>
          <a:xfrm>
            <a:off x="6725668" y="2757820"/>
            <a:ext cx="1569660" cy="369332"/>
          </a:xfrm>
          <a:prstGeom prst="rect">
            <a:avLst/>
          </a:prstGeom>
        </p:spPr>
        <p:txBody>
          <a:bodyPr wrap="none">
            <a:spAutoFit/>
          </a:bodyPr>
          <a:lstStyle/>
          <a:p>
            <a:r>
              <a:rPr lang="zh-CN" altLang="en-US">
                <a:solidFill>
                  <a:schemeClr val="bg1"/>
                </a:solidFill>
                <a:latin typeface="华文细黑" panose="02010600040101010101" pitchFamily="2" charset="-122"/>
                <a:ea typeface="华文细黑" panose="02010600040101010101" pitchFamily="2" charset="-122"/>
                <a:cs typeface="华文黑体" pitchFamily="2" charset="-122"/>
              </a:rPr>
              <a:t>单击添加文本</a:t>
            </a:r>
            <a:endParaRPr lang="zh-CN" altLang="en-US"/>
          </a:p>
        </p:txBody>
      </p:sp>
      <p:sp>
        <p:nvSpPr>
          <p:cNvPr id="137" name="矩形 136"/>
          <p:cNvSpPr/>
          <p:nvPr/>
        </p:nvSpPr>
        <p:spPr>
          <a:xfrm>
            <a:off x="6725668" y="3333528"/>
            <a:ext cx="1569660" cy="369332"/>
          </a:xfrm>
          <a:prstGeom prst="rect">
            <a:avLst/>
          </a:prstGeom>
        </p:spPr>
        <p:txBody>
          <a:bodyPr wrap="none">
            <a:spAutoFit/>
          </a:bodyPr>
          <a:lstStyle/>
          <a:p>
            <a:r>
              <a:rPr lang="zh-CN" altLang="en-US">
                <a:solidFill>
                  <a:schemeClr val="bg1"/>
                </a:solidFill>
                <a:latin typeface="华文细黑" panose="02010600040101010101" pitchFamily="2" charset="-122"/>
                <a:ea typeface="华文细黑" panose="02010600040101010101" pitchFamily="2" charset="-122"/>
                <a:cs typeface="华文黑体" pitchFamily="2" charset="-122"/>
              </a:rPr>
              <a:t>单击添加文本</a:t>
            </a:r>
            <a:endParaRPr lang="zh-CN" altLang="en-US"/>
          </a:p>
        </p:txBody>
      </p:sp>
      <p:sp>
        <p:nvSpPr>
          <p:cNvPr id="138" name="矩形 137"/>
          <p:cNvSpPr/>
          <p:nvPr/>
        </p:nvSpPr>
        <p:spPr>
          <a:xfrm>
            <a:off x="6725668" y="3998967"/>
            <a:ext cx="1569660" cy="369332"/>
          </a:xfrm>
          <a:prstGeom prst="rect">
            <a:avLst/>
          </a:prstGeom>
        </p:spPr>
        <p:txBody>
          <a:bodyPr wrap="none">
            <a:spAutoFit/>
          </a:bodyPr>
          <a:lstStyle/>
          <a:p>
            <a:r>
              <a:rPr lang="zh-CN" altLang="en-US">
                <a:solidFill>
                  <a:schemeClr val="bg1"/>
                </a:solidFill>
                <a:latin typeface="华文细黑" panose="02010600040101010101" pitchFamily="2" charset="-122"/>
                <a:ea typeface="华文细黑" panose="02010600040101010101" pitchFamily="2" charset="-122"/>
                <a:cs typeface="华文黑体" pitchFamily="2" charset="-122"/>
              </a:rPr>
              <a:t>单击添加文本</a:t>
            </a:r>
            <a:endParaRPr lang="zh-CN" altLang="en-US"/>
          </a:p>
        </p:txBody>
      </p:sp>
      <p:sp>
        <p:nvSpPr>
          <p:cNvPr id="139" name="矩形 138"/>
          <p:cNvSpPr/>
          <p:nvPr/>
        </p:nvSpPr>
        <p:spPr>
          <a:xfrm>
            <a:off x="5964314" y="5328937"/>
            <a:ext cx="1569660" cy="369332"/>
          </a:xfrm>
          <a:prstGeom prst="rect">
            <a:avLst/>
          </a:prstGeom>
        </p:spPr>
        <p:txBody>
          <a:bodyPr wrap="none">
            <a:spAutoFit/>
          </a:bodyPr>
          <a:lstStyle/>
          <a:p>
            <a:r>
              <a:rPr lang="zh-CN" altLang="en-US">
                <a:solidFill>
                  <a:schemeClr val="bg1"/>
                </a:solidFill>
                <a:latin typeface="华文细黑" panose="02010600040101010101" pitchFamily="2" charset="-122"/>
                <a:ea typeface="华文细黑" panose="02010600040101010101" pitchFamily="2" charset="-122"/>
                <a:cs typeface="华文黑体" pitchFamily="2" charset="-122"/>
              </a:rPr>
              <a:t>单击添加文本</a:t>
            </a:r>
            <a:endParaRPr lang="zh-CN" altLang="en-US"/>
          </a:p>
        </p:txBody>
      </p:sp>
      <p:sp>
        <p:nvSpPr>
          <p:cNvPr id="153" name="矩形标注 152"/>
          <p:cNvSpPr/>
          <p:nvPr/>
        </p:nvSpPr>
        <p:spPr>
          <a:xfrm>
            <a:off x="7770873" y="4793187"/>
            <a:ext cx="3960440" cy="1284703"/>
          </a:xfrm>
          <a:prstGeom prst="wedgeRectCallout">
            <a:avLst>
              <a:gd name="adj1" fmla="val -76538"/>
              <a:gd name="adj2" fmla="val -45959"/>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0" name="矩形 149"/>
          <p:cNvSpPr/>
          <p:nvPr/>
        </p:nvSpPr>
        <p:spPr>
          <a:xfrm>
            <a:off x="8003786" y="5003429"/>
            <a:ext cx="3439495" cy="923330"/>
          </a:xfrm>
          <a:prstGeom prst="rect">
            <a:avLst/>
          </a:prstGeom>
        </p:spPr>
        <p:txBody>
          <a:bodyPr wrap="square">
            <a:spAutoFit/>
          </a:bodyPr>
          <a:lstStyle/>
          <a:p>
            <a:r>
              <a:rPr lang="zh-CN" altLang="en-US">
                <a:solidFill>
                  <a:schemeClr val="bg1"/>
                </a:solidFill>
                <a:latin typeface="华文细黑" panose="02010600040101010101" pitchFamily="2" charset="-122"/>
                <a:ea typeface="华文细黑" panose="02010600040101010101" pitchFamily="2" charset="-122"/>
                <a:cs typeface="华文黑体" pitchFamily="2" charset="-122"/>
              </a:rPr>
              <a:t>单击添加文本单击添加文本单击添加文本单击添加文本单击添加文本单击添加文本</a:t>
            </a:r>
            <a:endParaRPr lang="zh-CN" altLang="en-US">
              <a:solidFill>
                <a:schemeClr val="bg1"/>
              </a:solidFill>
              <a:latin typeface="华文细黑" panose="02010600040101010101" pitchFamily="2" charset="-122"/>
              <a:ea typeface="华文细黑" panose="02010600040101010101" pitchFamily="2" charset="-122"/>
              <a:cs typeface="华文黑体" pitchFamily="2" charset="-122"/>
            </a:endParaRPr>
          </a:p>
        </p:txBody>
      </p:sp>
      <p:sp>
        <p:nvSpPr>
          <p:cNvPr id="89" name="圆角矩形 88"/>
          <p:cNvSpPr/>
          <p:nvPr/>
        </p:nvSpPr>
        <p:spPr>
          <a:xfrm>
            <a:off x="8894702" y="260648"/>
            <a:ext cx="2673112" cy="600163"/>
          </a:xfrm>
          <a:prstGeom prst="roundRect">
            <a:avLst/>
          </a:prstGeom>
          <a:solidFill>
            <a:srgbClr val="FFFFFF"/>
          </a:solidFill>
          <a:ln>
            <a:noFill/>
          </a:ln>
          <a:effectLst>
            <a:reflection blurRad="6350" stA="25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1" name="TextBox 90"/>
          <p:cNvSpPr txBox="1"/>
          <p:nvPr/>
        </p:nvSpPr>
        <p:spPr>
          <a:xfrm>
            <a:off x="9061707" y="260648"/>
            <a:ext cx="2339102" cy="523220"/>
          </a:xfrm>
          <a:prstGeom prst="rect">
            <a:avLst/>
          </a:prstGeom>
          <a:noFill/>
        </p:spPr>
        <p:txBody>
          <a:bodyPr wrap="none" rtlCol="0" anchor="ctr">
            <a:spAutoFit/>
          </a:bodyPr>
          <a:lstStyle>
            <a:defPPr>
              <a:defRPr lang="zh-CN"/>
            </a:defPPr>
            <a:lvl1pPr algn="ctr">
              <a:defRPr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anose="02010600040101010101" pitchFamily="2" charset="-122"/>
                <a:cs typeface="华文黑体" pitchFamily="2" charset="-122"/>
              </a:defRPr>
            </a:lvl1pPr>
          </a:lstStyle>
          <a:p>
            <a:r>
              <a:rPr lang="zh-CN" altLang="en-US" sz="2800"/>
              <a:t>点击添加标题</a:t>
            </a:r>
            <a:endParaRPr lang="zh-CN" altLang="en-US" sz="2800"/>
          </a:p>
        </p:txBody>
      </p:sp>
    </p:spTree>
  </p:cSld>
  <p:clrMapOvr>
    <a:masterClrMapping/>
  </p:clrMapOvr>
  <mc:AlternateContent xmlns:mc="http://schemas.openxmlformats.org/markup-compatibility/2006">
    <mc:Choice xmlns:p14="http://schemas.microsoft.com/office/powerpoint/2010/main"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89"/>
                                            </p:tgtEl>
                                            <p:attrNameLst>
                                              <p:attrName>style.visibility</p:attrName>
                                            </p:attrNameLst>
                                          </p:cBhvr>
                                          <p:to>
                                            <p:strVal val="visible"/>
                                          </p:to>
                                        </p:set>
                                        <p:animEffect transition="in" filter="fade">
                                          <p:cBhvr>
                                            <p:cTn id="7" dur="300"/>
                                            <p:tgtEl>
                                              <p:spTgt spid="8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91"/>
                                            </p:tgtEl>
                                            <p:attrNameLst>
                                              <p:attrName>style.visibility</p:attrName>
                                            </p:attrNameLst>
                                          </p:cBhvr>
                                          <p:to>
                                            <p:strVal val="visible"/>
                                          </p:to>
                                        </p:set>
                                        <p:animEffect transition="in" filter="fade">
                                          <p:cBhvr>
                                            <p:cTn id="10" dur="300"/>
                                            <p:tgtEl>
                                              <p:spTgt spid="91"/>
                                            </p:tgtEl>
                                          </p:cBhvr>
                                        </p:animEffect>
                                      </p:childTnLst>
                                    </p:cTn>
                                  </p:par>
                                  <p:par>
                                    <p:cTn id="11" presetID="2" presetClass="entr" presetSubtype="8" accel="58000" fill="hold" nodeType="withEffect" p14:presetBounceEnd="58000">
                                      <p:stCondLst>
                                        <p:cond delay="0"/>
                                      </p:stCondLst>
                                      <p:childTnLst>
                                        <p:set>
                                          <p:cBhvr>
                                            <p:cTn id="12" dur="1" fill="hold">
                                              <p:stCondLst>
                                                <p:cond delay="0"/>
                                              </p:stCondLst>
                                            </p:cTn>
                                            <p:tgtEl>
                                              <p:spTgt spid="20"/>
                                            </p:tgtEl>
                                            <p:attrNameLst>
                                              <p:attrName>style.visibility</p:attrName>
                                            </p:attrNameLst>
                                          </p:cBhvr>
                                          <p:to>
                                            <p:strVal val="visible"/>
                                          </p:to>
                                        </p:set>
                                        <p:anim calcmode="lin" valueType="num" p14:bounceEnd="58000">
                                          <p:cBhvr additive="base">
                                            <p:cTn id="13" dur="1000" fill="hold"/>
                                            <p:tgtEl>
                                              <p:spTgt spid="20"/>
                                            </p:tgtEl>
                                            <p:attrNameLst>
                                              <p:attrName>ppt_x</p:attrName>
                                            </p:attrNameLst>
                                          </p:cBhvr>
                                          <p:tavLst>
                                            <p:tav tm="0">
                                              <p:val>
                                                <p:strVal val="0-#ppt_w/2"/>
                                              </p:val>
                                            </p:tav>
                                            <p:tav tm="100000">
                                              <p:val>
                                                <p:strVal val="#ppt_x"/>
                                              </p:val>
                                            </p:tav>
                                          </p:tavLst>
                                        </p:anim>
                                        <p:anim calcmode="lin" valueType="num" p14:bounceEnd="58000">
                                          <p:cBhvr additive="base">
                                            <p:cTn id="14" dur="1000" fill="hold"/>
                                            <p:tgtEl>
                                              <p:spTgt spid="20"/>
                                            </p:tgtEl>
                                            <p:attrNameLst>
                                              <p:attrName>ppt_y</p:attrName>
                                            </p:attrNameLst>
                                          </p:cBhvr>
                                          <p:tavLst>
                                            <p:tav tm="0">
                                              <p:val>
                                                <p:strVal val="#ppt_y"/>
                                              </p:val>
                                            </p:tav>
                                            <p:tav tm="100000">
                                              <p:val>
                                                <p:strVal val="#ppt_y"/>
                                              </p:val>
                                            </p:tav>
                                          </p:tavLst>
                                        </p:anim>
                                      </p:childTnLst>
                                    </p:cTn>
                                  </p:par>
                                  <p:par>
                                    <p:cTn id="15" presetID="10" presetClass="entr" presetSubtype="0" fill="hold" grpId="0" nodeType="withEffect">
                                      <p:stCondLst>
                                        <p:cond delay="1000"/>
                                      </p:stCondLst>
                                      <p:childTnLst>
                                        <p:set>
                                          <p:cBhvr>
                                            <p:cTn id="16" dur="1" fill="hold">
                                              <p:stCondLst>
                                                <p:cond delay="0"/>
                                              </p:stCondLst>
                                            </p:cTn>
                                            <p:tgtEl>
                                              <p:spTgt spid="123"/>
                                            </p:tgtEl>
                                            <p:attrNameLst>
                                              <p:attrName>style.visibility</p:attrName>
                                            </p:attrNameLst>
                                          </p:cBhvr>
                                          <p:to>
                                            <p:strVal val="visible"/>
                                          </p:to>
                                        </p:set>
                                        <p:animEffect transition="in" filter="fade">
                                          <p:cBhvr>
                                            <p:cTn id="17" dur="500"/>
                                            <p:tgtEl>
                                              <p:spTgt spid="123"/>
                                            </p:tgtEl>
                                          </p:cBhvr>
                                        </p:animEffect>
                                      </p:childTnLst>
                                    </p:cTn>
                                  </p:par>
                                  <p:par>
                                    <p:cTn id="18" presetID="10" presetClass="entr" presetSubtype="0" fill="hold" grpId="0" nodeType="withEffect">
                                      <p:stCondLst>
                                        <p:cond delay="1300"/>
                                      </p:stCondLst>
                                      <p:childTnLst>
                                        <p:set>
                                          <p:cBhvr>
                                            <p:cTn id="19" dur="1" fill="hold">
                                              <p:stCondLst>
                                                <p:cond delay="0"/>
                                              </p:stCondLst>
                                            </p:cTn>
                                            <p:tgtEl>
                                              <p:spTgt spid="131"/>
                                            </p:tgtEl>
                                            <p:attrNameLst>
                                              <p:attrName>style.visibility</p:attrName>
                                            </p:attrNameLst>
                                          </p:cBhvr>
                                          <p:to>
                                            <p:strVal val="visible"/>
                                          </p:to>
                                        </p:set>
                                        <p:animEffect transition="in" filter="fade">
                                          <p:cBhvr>
                                            <p:cTn id="20" dur="500"/>
                                            <p:tgtEl>
                                              <p:spTgt spid="131"/>
                                            </p:tgtEl>
                                          </p:cBhvr>
                                        </p:animEffect>
                                      </p:childTnLst>
                                    </p:cTn>
                                  </p:par>
                                  <p:par>
                                    <p:cTn id="21" presetID="10" presetClass="entr" presetSubtype="0" fill="hold" grpId="0" nodeType="withEffect">
                                      <p:stCondLst>
                                        <p:cond delay="1800"/>
                                      </p:stCondLst>
                                      <p:childTnLst>
                                        <p:set>
                                          <p:cBhvr>
                                            <p:cTn id="22" dur="1" fill="hold">
                                              <p:stCondLst>
                                                <p:cond delay="0"/>
                                              </p:stCondLst>
                                            </p:cTn>
                                            <p:tgtEl>
                                              <p:spTgt spid="177"/>
                                            </p:tgtEl>
                                            <p:attrNameLst>
                                              <p:attrName>style.visibility</p:attrName>
                                            </p:attrNameLst>
                                          </p:cBhvr>
                                          <p:to>
                                            <p:strVal val="visible"/>
                                          </p:to>
                                        </p:set>
                                        <p:animEffect transition="in" filter="fade">
                                          <p:cBhvr>
                                            <p:cTn id="23" dur="500"/>
                                            <p:tgtEl>
                                              <p:spTgt spid="177"/>
                                            </p:tgtEl>
                                          </p:cBhvr>
                                        </p:animEffect>
                                      </p:childTnLst>
                                    </p:cTn>
                                  </p:par>
                                  <p:par>
                                    <p:cTn id="24" presetID="10" presetClass="entr" presetSubtype="0" fill="hold" grpId="0" nodeType="withEffect">
                                      <p:stCondLst>
                                        <p:cond delay="1500"/>
                                      </p:stCondLst>
                                      <p:childTnLst>
                                        <p:set>
                                          <p:cBhvr>
                                            <p:cTn id="25" dur="1" fill="hold">
                                              <p:stCondLst>
                                                <p:cond delay="0"/>
                                              </p:stCondLst>
                                            </p:cTn>
                                            <p:tgtEl>
                                              <p:spTgt spid="109"/>
                                            </p:tgtEl>
                                            <p:attrNameLst>
                                              <p:attrName>style.visibility</p:attrName>
                                            </p:attrNameLst>
                                          </p:cBhvr>
                                          <p:to>
                                            <p:strVal val="visible"/>
                                          </p:to>
                                        </p:set>
                                        <p:animEffect transition="in" filter="fade">
                                          <p:cBhvr>
                                            <p:cTn id="26" dur="500"/>
                                            <p:tgtEl>
                                              <p:spTgt spid="109"/>
                                            </p:tgtEl>
                                          </p:cBhvr>
                                        </p:animEffect>
                                      </p:childTnLst>
                                    </p:cTn>
                                  </p:par>
                                </p:childTnLst>
                              </p:cTn>
                            </p:par>
                            <p:par>
                              <p:cTn id="27" fill="hold">
                                <p:stCondLst>
                                  <p:cond delay="500"/>
                                </p:stCondLst>
                                <p:childTnLst>
                                  <p:par>
                                    <p:cTn id="28" presetID="10" presetClass="entr" presetSubtype="0" fill="hold" nodeType="afterEffect">
                                      <p:stCondLst>
                                        <p:cond delay="0"/>
                                      </p:stCondLst>
                                      <p:childTnLst>
                                        <p:set>
                                          <p:cBhvr>
                                            <p:cTn id="29" dur="1" fill="hold">
                                              <p:stCondLst>
                                                <p:cond delay="0"/>
                                              </p:stCondLst>
                                            </p:cTn>
                                            <p:tgtEl>
                                              <p:spTgt spid="115"/>
                                            </p:tgtEl>
                                            <p:attrNameLst>
                                              <p:attrName>style.visibility</p:attrName>
                                            </p:attrNameLst>
                                          </p:cBhvr>
                                          <p:to>
                                            <p:strVal val="visible"/>
                                          </p:to>
                                        </p:set>
                                        <p:animEffect transition="in" filter="fade">
                                          <p:cBhvr>
                                            <p:cTn id="30" dur="500"/>
                                            <p:tgtEl>
                                              <p:spTgt spid="115"/>
                                            </p:tgtEl>
                                          </p:cBhvr>
                                        </p:animEffect>
                                      </p:childTnLst>
                                    </p:cTn>
                                  </p:par>
                                  <p:par>
                                    <p:cTn id="31" presetID="10" presetClass="entr" presetSubtype="0" fill="hold" nodeType="withEffect">
                                      <p:stCondLst>
                                        <p:cond delay="0"/>
                                      </p:stCondLst>
                                      <p:childTnLst>
                                        <p:set>
                                          <p:cBhvr>
                                            <p:cTn id="32" dur="1" fill="hold">
                                              <p:stCondLst>
                                                <p:cond delay="0"/>
                                              </p:stCondLst>
                                            </p:cTn>
                                            <p:tgtEl>
                                              <p:spTgt spid="119"/>
                                            </p:tgtEl>
                                            <p:attrNameLst>
                                              <p:attrName>style.visibility</p:attrName>
                                            </p:attrNameLst>
                                          </p:cBhvr>
                                          <p:to>
                                            <p:strVal val="visible"/>
                                          </p:to>
                                        </p:set>
                                        <p:animEffect transition="in" filter="fade">
                                          <p:cBhvr>
                                            <p:cTn id="33" dur="500"/>
                                            <p:tgtEl>
                                              <p:spTgt spid="119"/>
                                            </p:tgtEl>
                                          </p:cBhvr>
                                        </p:animEffect>
                                      </p:childTnLst>
                                    </p:cTn>
                                  </p:par>
                                  <p:par>
                                    <p:cTn id="34" presetID="10" presetClass="entr" presetSubtype="0" fill="hold" nodeType="withEffect">
                                      <p:stCondLst>
                                        <p:cond delay="0"/>
                                      </p:stCondLst>
                                      <p:childTnLst>
                                        <p:set>
                                          <p:cBhvr>
                                            <p:cTn id="35" dur="1" fill="hold">
                                              <p:stCondLst>
                                                <p:cond delay="0"/>
                                              </p:stCondLst>
                                            </p:cTn>
                                            <p:tgtEl>
                                              <p:spTgt spid="128"/>
                                            </p:tgtEl>
                                            <p:attrNameLst>
                                              <p:attrName>style.visibility</p:attrName>
                                            </p:attrNameLst>
                                          </p:cBhvr>
                                          <p:to>
                                            <p:strVal val="visible"/>
                                          </p:to>
                                        </p:set>
                                        <p:animEffect transition="in" filter="fade">
                                          <p:cBhvr>
                                            <p:cTn id="36" dur="500"/>
                                            <p:tgtEl>
                                              <p:spTgt spid="128"/>
                                            </p:tgtEl>
                                          </p:cBhvr>
                                        </p:animEffect>
                                      </p:childTnLst>
                                    </p:cTn>
                                  </p:par>
                                  <p:par>
                                    <p:cTn id="37" presetID="10" presetClass="entr" presetSubtype="0" fill="hold" nodeType="withEffect">
                                      <p:stCondLst>
                                        <p:cond delay="0"/>
                                      </p:stCondLst>
                                      <p:childTnLst>
                                        <p:set>
                                          <p:cBhvr>
                                            <p:cTn id="38" dur="1" fill="hold">
                                              <p:stCondLst>
                                                <p:cond delay="0"/>
                                              </p:stCondLst>
                                            </p:cTn>
                                            <p:tgtEl>
                                              <p:spTgt spid="129"/>
                                            </p:tgtEl>
                                            <p:attrNameLst>
                                              <p:attrName>style.visibility</p:attrName>
                                            </p:attrNameLst>
                                          </p:cBhvr>
                                          <p:to>
                                            <p:strVal val="visible"/>
                                          </p:to>
                                        </p:set>
                                        <p:animEffect transition="in" filter="fade">
                                          <p:cBhvr>
                                            <p:cTn id="39" dur="500"/>
                                            <p:tgtEl>
                                              <p:spTgt spid="129"/>
                                            </p:tgtEl>
                                          </p:cBhvr>
                                        </p:animEffect>
                                      </p:childTnLst>
                                    </p:cTn>
                                  </p:par>
                                  <p:par>
                                    <p:cTn id="40" presetID="10" presetClass="entr" presetSubtype="0" fill="hold" nodeType="withEffect">
                                      <p:stCondLst>
                                        <p:cond delay="0"/>
                                      </p:stCondLst>
                                      <p:childTnLst>
                                        <p:set>
                                          <p:cBhvr>
                                            <p:cTn id="41" dur="1" fill="hold">
                                              <p:stCondLst>
                                                <p:cond delay="0"/>
                                              </p:stCondLst>
                                            </p:cTn>
                                            <p:tgtEl>
                                              <p:spTgt spid="130"/>
                                            </p:tgtEl>
                                            <p:attrNameLst>
                                              <p:attrName>style.visibility</p:attrName>
                                            </p:attrNameLst>
                                          </p:cBhvr>
                                          <p:to>
                                            <p:strVal val="visible"/>
                                          </p:to>
                                        </p:set>
                                        <p:animEffect transition="in" filter="fade">
                                          <p:cBhvr>
                                            <p:cTn id="42" dur="500"/>
                                            <p:tgtEl>
                                              <p:spTgt spid="130"/>
                                            </p:tgtEl>
                                          </p:cBhvr>
                                        </p:animEffect>
                                      </p:childTnLst>
                                    </p:cTn>
                                  </p:par>
                                  <p:par>
                                    <p:cTn id="43" presetID="10" presetClass="entr" presetSubtype="0" fill="hold" nodeType="withEffect">
                                      <p:stCondLst>
                                        <p:cond delay="0"/>
                                      </p:stCondLst>
                                      <p:childTnLst>
                                        <p:set>
                                          <p:cBhvr>
                                            <p:cTn id="44" dur="1" fill="hold">
                                              <p:stCondLst>
                                                <p:cond delay="0"/>
                                              </p:stCondLst>
                                            </p:cTn>
                                            <p:tgtEl>
                                              <p:spTgt spid="132"/>
                                            </p:tgtEl>
                                            <p:attrNameLst>
                                              <p:attrName>style.visibility</p:attrName>
                                            </p:attrNameLst>
                                          </p:cBhvr>
                                          <p:to>
                                            <p:strVal val="visible"/>
                                          </p:to>
                                        </p:set>
                                        <p:animEffect transition="in" filter="fade">
                                          <p:cBhvr>
                                            <p:cTn id="45" dur="500"/>
                                            <p:tgtEl>
                                              <p:spTgt spid="132"/>
                                            </p:tgtEl>
                                          </p:cBhvr>
                                        </p:animEffect>
                                      </p:childTnLst>
                                    </p:cTn>
                                  </p:par>
                                  <p:par>
                                    <p:cTn id="46" presetID="10" presetClass="entr" presetSubtype="0" fill="hold" nodeType="withEffect">
                                      <p:stCondLst>
                                        <p:cond delay="0"/>
                                      </p:stCondLst>
                                      <p:childTnLst>
                                        <p:set>
                                          <p:cBhvr>
                                            <p:cTn id="47" dur="1" fill="hold">
                                              <p:stCondLst>
                                                <p:cond delay="0"/>
                                              </p:stCondLst>
                                            </p:cTn>
                                            <p:tgtEl>
                                              <p:spTgt spid="133"/>
                                            </p:tgtEl>
                                            <p:attrNameLst>
                                              <p:attrName>style.visibility</p:attrName>
                                            </p:attrNameLst>
                                          </p:cBhvr>
                                          <p:to>
                                            <p:strVal val="visible"/>
                                          </p:to>
                                        </p:set>
                                        <p:animEffect transition="in" filter="fade">
                                          <p:cBhvr>
                                            <p:cTn id="48" dur="500"/>
                                            <p:tgtEl>
                                              <p:spTgt spid="133"/>
                                            </p:tgtEl>
                                          </p:cBhvr>
                                        </p:animEffect>
                                      </p:childTnLst>
                                    </p:cTn>
                                  </p:par>
                                  <p:par>
                                    <p:cTn id="49" presetID="10" presetClass="entr" presetSubtype="0" fill="hold" nodeType="withEffect">
                                      <p:stCondLst>
                                        <p:cond delay="0"/>
                                      </p:stCondLst>
                                      <p:childTnLst>
                                        <p:set>
                                          <p:cBhvr>
                                            <p:cTn id="50" dur="1" fill="hold">
                                              <p:stCondLst>
                                                <p:cond delay="0"/>
                                              </p:stCondLst>
                                            </p:cTn>
                                            <p:tgtEl>
                                              <p:spTgt spid="134"/>
                                            </p:tgtEl>
                                            <p:attrNameLst>
                                              <p:attrName>style.visibility</p:attrName>
                                            </p:attrNameLst>
                                          </p:cBhvr>
                                          <p:to>
                                            <p:strVal val="visible"/>
                                          </p:to>
                                        </p:set>
                                        <p:animEffect transition="in" filter="fade">
                                          <p:cBhvr>
                                            <p:cTn id="51" dur="500"/>
                                            <p:tgtEl>
                                              <p:spTgt spid="134"/>
                                            </p:tgtEl>
                                          </p:cBhvr>
                                        </p:animEffect>
                                      </p:childTnLst>
                                    </p:cTn>
                                  </p:par>
                                  <p:par>
                                    <p:cTn id="52" presetID="10" presetClass="entr" presetSubtype="0" fill="hold" grpId="0" nodeType="withEffect">
                                      <p:stCondLst>
                                        <p:cond delay="0"/>
                                      </p:stCondLst>
                                      <p:childTnLst>
                                        <p:set>
                                          <p:cBhvr>
                                            <p:cTn id="53" dur="1" fill="hold">
                                              <p:stCondLst>
                                                <p:cond delay="0"/>
                                              </p:stCondLst>
                                            </p:cTn>
                                            <p:tgtEl>
                                              <p:spTgt spid="139"/>
                                            </p:tgtEl>
                                            <p:attrNameLst>
                                              <p:attrName>style.visibility</p:attrName>
                                            </p:attrNameLst>
                                          </p:cBhvr>
                                          <p:to>
                                            <p:strVal val="visible"/>
                                          </p:to>
                                        </p:set>
                                        <p:animEffect transition="in" filter="fade">
                                          <p:cBhvr>
                                            <p:cTn id="54" dur="500"/>
                                            <p:tgtEl>
                                              <p:spTgt spid="139"/>
                                            </p:tgtEl>
                                          </p:cBhvr>
                                        </p:animEffect>
                                      </p:childTnLst>
                                    </p:cTn>
                                  </p:par>
                                  <p:par>
                                    <p:cTn id="55" presetID="10" presetClass="entr" presetSubtype="0" fill="hold" grpId="0" nodeType="withEffect">
                                      <p:stCondLst>
                                        <p:cond delay="0"/>
                                      </p:stCondLst>
                                      <p:childTnLst>
                                        <p:set>
                                          <p:cBhvr>
                                            <p:cTn id="56" dur="1" fill="hold">
                                              <p:stCondLst>
                                                <p:cond delay="0"/>
                                              </p:stCondLst>
                                            </p:cTn>
                                            <p:tgtEl>
                                              <p:spTgt spid="138"/>
                                            </p:tgtEl>
                                            <p:attrNameLst>
                                              <p:attrName>style.visibility</p:attrName>
                                            </p:attrNameLst>
                                          </p:cBhvr>
                                          <p:to>
                                            <p:strVal val="visible"/>
                                          </p:to>
                                        </p:set>
                                        <p:animEffect transition="in" filter="fade">
                                          <p:cBhvr>
                                            <p:cTn id="57" dur="500"/>
                                            <p:tgtEl>
                                              <p:spTgt spid="138"/>
                                            </p:tgtEl>
                                          </p:cBhvr>
                                        </p:animEffect>
                                      </p:childTnLst>
                                    </p:cTn>
                                  </p:par>
                                  <p:par>
                                    <p:cTn id="58" presetID="10" presetClass="entr" presetSubtype="0" fill="hold" grpId="0" nodeType="withEffect">
                                      <p:stCondLst>
                                        <p:cond delay="0"/>
                                      </p:stCondLst>
                                      <p:childTnLst>
                                        <p:set>
                                          <p:cBhvr>
                                            <p:cTn id="59" dur="1" fill="hold">
                                              <p:stCondLst>
                                                <p:cond delay="0"/>
                                              </p:stCondLst>
                                            </p:cTn>
                                            <p:tgtEl>
                                              <p:spTgt spid="137"/>
                                            </p:tgtEl>
                                            <p:attrNameLst>
                                              <p:attrName>style.visibility</p:attrName>
                                            </p:attrNameLst>
                                          </p:cBhvr>
                                          <p:to>
                                            <p:strVal val="visible"/>
                                          </p:to>
                                        </p:set>
                                        <p:animEffect transition="in" filter="fade">
                                          <p:cBhvr>
                                            <p:cTn id="60" dur="500"/>
                                            <p:tgtEl>
                                              <p:spTgt spid="137"/>
                                            </p:tgtEl>
                                          </p:cBhvr>
                                        </p:animEffect>
                                      </p:childTnLst>
                                    </p:cTn>
                                  </p:par>
                                  <p:par>
                                    <p:cTn id="61" presetID="10" presetClass="entr" presetSubtype="0" fill="hold" grpId="0" nodeType="withEffect">
                                      <p:stCondLst>
                                        <p:cond delay="0"/>
                                      </p:stCondLst>
                                      <p:childTnLst>
                                        <p:set>
                                          <p:cBhvr>
                                            <p:cTn id="62" dur="1" fill="hold">
                                              <p:stCondLst>
                                                <p:cond delay="0"/>
                                              </p:stCondLst>
                                            </p:cTn>
                                            <p:tgtEl>
                                              <p:spTgt spid="126"/>
                                            </p:tgtEl>
                                            <p:attrNameLst>
                                              <p:attrName>style.visibility</p:attrName>
                                            </p:attrNameLst>
                                          </p:cBhvr>
                                          <p:to>
                                            <p:strVal val="visible"/>
                                          </p:to>
                                        </p:set>
                                        <p:animEffect transition="in" filter="fade">
                                          <p:cBhvr>
                                            <p:cTn id="63" dur="500"/>
                                            <p:tgtEl>
                                              <p:spTgt spid="126"/>
                                            </p:tgtEl>
                                          </p:cBhvr>
                                        </p:animEffect>
                                      </p:childTnLst>
                                    </p:cTn>
                                  </p:par>
                                </p:childTnLst>
                              </p:cTn>
                            </p:par>
                            <p:par>
                              <p:cTn id="64" fill="hold">
                                <p:stCondLst>
                                  <p:cond delay="1000"/>
                                </p:stCondLst>
                                <p:childTnLst>
                                  <p:par>
                                    <p:cTn id="65" presetID="22" presetClass="entr" presetSubtype="8" fill="hold" grpId="0" nodeType="afterEffect">
                                      <p:stCondLst>
                                        <p:cond delay="0"/>
                                      </p:stCondLst>
                                      <p:childTnLst>
                                        <p:set>
                                          <p:cBhvr>
                                            <p:cTn id="66" dur="1" fill="hold">
                                              <p:stCondLst>
                                                <p:cond delay="0"/>
                                              </p:stCondLst>
                                            </p:cTn>
                                            <p:tgtEl>
                                              <p:spTgt spid="153"/>
                                            </p:tgtEl>
                                            <p:attrNameLst>
                                              <p:attrName>style.visibility</p:attrName>
                                            </p:attrNameLst>
                                          </p:cBhvr>
                                          <p:to>
                                            <p:strVal val="visible"/>
                                          </p:to>
                                        </p:set>
                                        <p:animEffect transition="in" filter="wipe(left)">
                                          <p:cBhvr>
                                            <p:cTn id="67" dur="500"/>
                                            <p:tgtEl>
                                              <p:spTgt spid="153"/>
                                            </p:tgtEl>
                                          </p:cBhvr>
                                        </p:animEffect>
                                      </p:childTnLst>
                                    </p:cTn>
                                  </p:par>
                                  <p:par>
                                    <p:cTn id="68" presetID="22" presetClass="entr" presetSubtype="8" fill="hold" grpId="0" nodeType="withEffect">
                                      <p:stCondLst>
                                        <p:cond delay="0"/>
                                      </p:stCondLst>
                                      <p:childTnLst>
                                        <p:set>
                                          <p:cBhvr>
                                            <p:cTn id="69" dur="1" fill="hold">
                                              <p:stCondLst>
                                                <p:cond delay="0"/>
                                              </p:stCondLst>
                                            </p:cTn>
                                            <p:tgtEl>
                                              <p:spTgt spid="150"/>
                                            </p:tgtEl>
                                            <p:attrNameLst>
                                              <p:attrName>style.visibility</p:attrName>
                                            </p:attrNameLst>
                                          </p:cBhvr>
                                          <p:to>
                                            <p:strVal val="visible"/>
                                          </p:to>
                                        </p:set>
                                        <p:animEffect transition="in" filter="wipe(left)">
                                          <p:cBhvr>
                                            <p:cTn id="70" dur="500"/>
                                            <p:tgtEl>
                                              <p:spTgt spid="15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9" grpId="0" animBg="1"/>
          <p:bldP spid="123" grpId="0" animBg="1"/>
          <p:bldP spid="131" grpId="0" animBg="1"/>
          <p:bldP spid="177" grpId="0" animBg="1"/>
          <p:bldP spid="126" grpId="0"/>
          <p:bldP spid="137" grpId="0"/>
          <p:bldP spid="138" grpId="0"/>
          <p:bldP spid="139" grpId="0"/>
          <p:bldP spid="153" grpId="0" animBg="1"/>
          <p:bldP spid="150" grpId="0"/>
          <p:bldP spid="89" grpId="0" animBg="1"/>
          <p:bldP spid="91" grpId="0"/>
        </p:bldLst>
      </p:timing>
    </mc:Choice>
    <mc:Fallback>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89"/>
                                            </p:tgtEl>
                                            <p:attrNameLst>
                                              <p:attrName>style.visibility</p:attrName>
                                            </p:attrNameLst>
                                          </p:cBhvr>
                                          <p:to>
                                            <p:strVal val="visible"/>
                                          </p:to>
                                        </p:set>
                                        <p:animEffect transition="in" filter="fade">
                                          <p:cBhvr>
                                            <p:cTn id="7" dur="300"/>
                                            <p:tgtEl>
                                              <p:spTgt spid="8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91"/>
                                            </p:tgtEl>
                                            <p:attrNameLst>
                                              <p:attrName>style.visibility</p:attrName>
                                            </p:attrNameLst>
                                          </p:cBhvr>
                                          <p:to>
                                            <p:strVal val="visible"/>
                                          </p:to>
                                        </p:set>
                                        <p:animEffect transition="in" filter="fade">
                                          <p:cBhvr>
                                            <p:cTn id="10" dur="300"/>
                                            <p:tgtEl>
                                              <p:spTgt spid="91"/>
                                            </p:tgtEl>
                                          </p:cBhvr>
                                        </p:animEffect>
                                      </p:childTnLst>
                                    </p:cTn>
                                  </p:par>
                                  <p:par>
                                    <p:cTn id="11" presetID="2" presetClass="entr" presetSubtype="8" accel="58000" fill="hold" nodeType="withEffect">
                                      <p:stCondLst>
                                        <p:cond delay="0"/>
                                      </p:stCondLst>
                                      <p:childTnLst>
                                        <p:set>
                                          <p:cBhvr>
                                            <p:cTn id="12" dur="1" fill="hold">
                                              <p:stCondLst>
                                                <p:cond delay="0"/>
                                              </p:stCondLst>
                                            </p:cTn>
                                            <p:tgtEl>
                                              <p:spTgt spid="20"/>
                                            </p:tgtEl>
                                            <p:attrNameLst>
                                              <p:attrName>style.visibility</p:attrName>
                                            </p:attrNameLst>
                                          </p:cBhvr>
                                          <p:to>
                                            <p:strVal val="visible"/>
                                          </p:to>
                                        </p:set>
                                        <p:anim calcmode="lin" valueType="num">
                                          <p:cBhvr additive="base">
                                            <p:cTn id="13" dur="1000" fill="hold"/>
                                            <p:tgtEl>
                                              <p:spTgt spid="20"/>
                                            </p:tgtEl>
                                            <p:attrNameLst>
                                              <p:attrName>ppt_x</p:attrName>
                                            </p:attrNameLst>
                                          </p:cBhvr>
                                          <p:tavLst>
                                            <p:tav tm="0">
                                              <p:val>
                                                <p:strVal val="0-#ppt_w/2"/>
                                              </p:val>
                                            </p:tav>
                                            <p:tav tm="100000">
                                              <p:val>
                                                <p:strVal val="#ppt_x"/>
                                              </p:val>
                                            </p:tav>
                                          </p:tavLst>
                                        </p:anim>
                                        <p:anim calcmode="lin" valueType="num">
                                          <p:cBhvr additive="base">
                                            <p:cTn id="14" dur="1000" fill="hold"/>
                                            <p:tgtEl>
                                              <p:spTgt spid="20"/>
                                            </p:tgtEl>
                                            <p:attrNameLst>
                                              <p:attrName>ppt_y</p:attrName>
                                            </p:attrNameLst>
                                          </p:cBhvr>
                                          <p:tavLst>
                                            <p:tav tm="0">
                                              <p:val>
                                                <p:strVal val="#ppt_y"/>
                                              </p:val>
                                            </p:tav>
                                            <p:tav tm="100000">
                                              <p:val>
                                                <p:strVal val="#ppt_y"/>
                                              </p:val>
                                            </p:tav>
                                          </p:tavLst>
                                        </p:anim>
                                      </p:childTnLst>
                                    </p:cTn>
                                  </p:par>
                                  <p:par>
                                    <p:cTn id="15" presetID="10" presetClass="entr" presetSubtype="0" fill="hold" grpId="0" nodeType="withEffect">
                                      <p:stCondLst>
                                        <p:cond delay="1000"/>
                                      </p:stCondLst>
                                      <p:childTnLst>
                                        <p:set>
                                          <p:cBhvr>
                                            <p:cTn id="16" dur="1" fill="hold">
                                              <p:stCondLst>
                                                <p:cond delay="0"/>
                                              </p:stCondLst>
                                            </p:cTn>
                                            <p:tgtEl>
                                              <p:spTgt spid="123"/>
                                            </p:tgtEl>
                                            <p:attrNameLst>
                                              <p:attrName>style.visibility</p:attrName>
                                            </p:attrNameLst>
                                          </p:cBhvr>
                                          <p:to>
                                            <p:strVal val="visible"/>
                                          </p:to>
                                        </p:set>
                                        <p:animEffect transition="in" filter="fade">
                                          <p:cBhvr>
                                            <p:cTn id="17" dur="500"/>
                                            <p:tgtEl>
                                              <p:spTgt spid="123"/>
                                            </p:tgtEl>
                                          </p:cBhvr>
                                        </p:animEffect>
                                      </p:childTnLst>
                                    </p:cTn>
                                  </p:par>
                                  <p:par>
                                    <p:cTn id="18" presetID="10" presetClass="entr" presetSubtype="0" fill="hold" grpId="0" nodeType="withEffect">
                                      <p:stCondLst>
                                        <p:cond delay="1300"/>
                                      </p:stCondLst>
                                      <p:childTnLst>
                                        <p:set>
                                          <p:cBhvr>
                                            <p:cTn id="19" dur="1" fill="hold">
                                              <p:stCondLst>
                                                <p:cond delay="0"/>
                                              </p:stCondLst>
                                            </p:cTn>
                                            <p:tgtEl>
                                              <p:spTgt spid="131"/>
                                            </p:tgtEl>
                                            <p:attrNameLst>
                                              <p:attrName>style.visibility</p:attrName>
                                            </p:attrNameLst>
                                          </p:cBhvr>
                                          <p:to>
                                            <p:strVal val="visible"/>
                                          </p:to>
                                        </p:set>
                                        <p:animEffect transition="in" filter="fade">
                                          <p:cBhvr>
                                            <p:cTn id="20" dur="500"/>
                                            <p:tgtEl>
                                              <p:spTgt spid="131"/>
                                            </p:tgtEl>
                                          </p:cBhvr>
                                        </p:animEffect>
                                      </p:childTnLst>
                                    </p:cTn>
                                  </p:par>
                                  <p:par>
                                    <p:cTn id="21" presetID="10" presetClass="entr" presetSubtype="0" fill="hold" grpId="0" nodeType="withEffect">
                                      <p:stCondLst>
                                        <p:cond delay="1800"/>
                                      </p:stCondLst>
                                      <p:childTnLst>
                                        <p:set>
                                          <p:cBhvr>
                                            <p:cTn id="22" dur="1" fill="hold">
                                              <p:stCondLst>
                                                <p:cond delay="0"/>
                                              </p:stCondLst>
                                            </p:cTn>
                                            <p:tgtEl>
                                              <p:spTgt spid="177"/>
                                            </p:tgtEl>
                                            <p:attrNameLst>
                                              <p:attrName>style.visibility</p:attrName>
                                            </p:attrNameLst>
                                          </p:cBhvr>
                                          <p:to>
                                            <p:strVal val="visible"/>
                                          </p:to>
                                        </p:set>
                                        <p:animEffect transition="in" filter="fade">
                                          <p:cBhvr>
                                            <p:cTn id="23" dur="500"/>
                                            <p:tgtEl>
                                              <p:spTgt spid="177"/>
                                            </p:tgtEl>
                                          </p:cBhvr>
                                        </p:animEffect>
                                      </p:childTnLst>
                                    </p:cTn>
                                  </p:par>
                                  <p:par>
                                    <p:cTn id="24" presetID="10" presetClass="entr" presetSubtype="0" fill="hold" grpId="0" nodeType="withEffect">
                                      <p:stCondLst>
                                        <p:cond delay="1500"/>
                                      </p:stCondLst>
                                      <p:childTnLst>
                                        <p:set>
                                          <p:cBhvr>
                                            <p:cTn id="25" dur="1" fill="hold">
                                              <p:stCondLst>
                                                <p:cond delay="0"/>
                                              </p:stCondLst>
                                            </p:cTn>
                                            <p:tgtEl>
                                              <p:spTgt spid="109"/>
                                            </p:tgtEl>
                                            <p:attrNameLst>
                                              <p:attrName>style.visibility</p:attrName>
                                            </p:attrNameLst>
                                          </p:cBhvr>
                                          <p:to>
                                            <p:strVal val="visible"/>
                                          </p:to>
                                        </p:set>
                                        <p:animEffect transition="in" filter="fade">
                                          <p:cBhvr>
                                            <p:cTn id="26" dur="500"/>
                                            <p:tgtEl>
                                              <p:spTgt spid="109"/>
                                            </p:tgtEl>
                                          </p:cBhvr>
                                        </p:animEffect>
                                      </p:childTnLst>
                                    </p:cTn>
                                  </p:par>
                                </p:childTnLst>
                              </p:cTn>
                            </p:par>
                            <p:par>
                              <p:cTn id="27" fill="hold">
                                <p:stCondLst>
                                  <p:cond delay="500"/>
                                </p:stCondLst>
                                <p:childTnLst>
                                  <p:par>
                                    <p:cTn id="28" presetID="10" presetClass="entr" presetSubtype="0" fill="hold" nodeType="afterEffect">
                                      <p:stCondLst>
                                        <p:cond delay="0"/>
                                      </p:stCondLst>
                                      <p:childTnLst>
                                        <p:set>
                                          <p:cBhvr>
                                            <p:cTn id="29" dur="1" fill="hold">
                                              <p:stCondLst>
                                                <p:cond delay="0"/>
                                              </p:stCondLst>
                                            </p:cTn>
                                            <p:tgtEl>
                                              <p:spTgt spid="115"/>
                                            </p:tgtEl>
                                            <p:attrNameLst>
                                              <p:attrName>style.visibility</p:attrName>
                                            </p:attrNameLst>
                                          </p:cBhvr>
                                          <p:to>
                                            <p:strVal val="visible"/>
                                          </p:to>
                                        </p:set>
                                        <p:animEffect transition="in" filter="fade">
                                          <p:cBhvr>
                                            <p:cTn id="30" dur="500"/>
                                            <p:tgtEl>
                                              <p:spTgt spid="115"/>
                                            </p:tgtEl>
                                          </p:cBhvr>
                                        </p:animEffect>
                                      </p:childTnLst>
                                    </p:cTn>
                                  </p:par>
                                  <p:par>
                                    <p:cTn id="31" presetID="10" presetClass="entr" presetSubtype="0" fill="hold" nodeType="withEffect">
                                      <p:stCondLst>
                                        <p:cond delay="0"/>
                                      </p:stCondLst>
                                      <p:childTnLst>
                                        <p:set>
                                          <p:cBhvr>
                                            <p:cTn id="32" dur="1" fill="hold">
                                              <p:stCondLst>
                                                <p:cond delay="0"/>
                                              </p:stCondLst>
                                            </p:cTn>
                                            <p:tgtEl>
                                              <p:spTgt spid="119"/>
                                            </p:tgtEl>
                                            <p:attrNameLst>
                                              <p:attrName>style.visibility</p:attrName>
                                            </p:attrNameLst>
                                          </p:cBhvr>
                                          <p:to>
                                            <p:strVal val="visible"/>
                                          </p:to>
                                        </p:set>
                                        <p:animEffect transition="in" filter="fade">
                                          <p:cBhvr>
                                            <p:cTn id="33" dur="500"/>
                                            <p:tgtEl>
                                              <p:spTgt spid="119"/>
                                            </p:tgtEl>
                                          </p:cBhvr>
                                        </p:animEffect>
                                      </p:childTnLst>
                                    </p:cTn>
                                  </p:par>
                                  <p:par>
                                    <p:cTn id="34" presetID="10" presetClass="entr" presetSubtype="0" fill="hold" nodeType="withEffect">
                                      <p:stCondLst>
                                        <p:cond delay="0"/>
                                      </p:stCondLst>
                                      <p:childTnLst>
                                        <p:set>
                                          <p:cBhvr>
                                            <p:cTn id="35" dur="1" fill="hold">
                                              <p:stCondLst>
                                                <p:cond delay="0"/>
                                              </p:stCondLst>
                                            </p:cTn>
                                            <p:tgtEl>
                                              <p:spTgt spid="128"/>
                                            </p:tgtEl>
                                            <p:attrNameLst>
                                              <p:attrName>style.visibility</p:attrName>
                                            </p:attrNameLst>
                                          </p:cBhvr>
                                          <p:to>
                                            <p:strVal val="visible"/>
                                          </p:to>
                                        </p:set>
                                        <p:animEffect transition="in" filter="fade">
                                          <p:cBhvr>
                                            <p:cTn id="36" dur="500"/>
                                            <p:tgtEl>
                                              <p:spTgt spid="128"/>
                                            </p:tgtEl>
                                          </p:cBhvr>
                                        </p:animEffect>
                                      </p:childTnLst>
                                    </p:cTn>
                                  </p:par>
                                  <p:par>
                                    <p:cTn id="37" presetID="10" presetClass="entr" presetSubtype="0" fill="hold" nodeType="withEffect">
                                      <p:stCondLst>
                                        <p:cond delay="0"/>
                                      </p:stCondLst>
                                      <p:childTnLst>
                                        <p:set>
                                          <p:cBhvr>
                                            <p:cTn id="38" dur="1" fill="hold">
                                              <p:stCondLst>
                                                <p:cond delay="0"/>
                                              </p:stCondLst>
                                            </p:cTn>
                                            <p:tgtEl>
                                              <p:spTgt spid="129"/>
                                            </p:tgtEl>
                                            <p:attrNameLst>
                                              <p:attrName>style.visibility</p:attrName>
                                            </p:attrNameLst>
                                          </p:cBhvr>
                                          <p:to>
                                            <p:strVal val="visible"/>
                                          </p:to>
                                        </p:set>
                                        <p:animEffect transition="in" filter="fade">
                                          <p:cBhvr>
                                            <p:cTn id="39" dur="500"/>
                                            <p:tgtEl>
                                              <p:spTgt spid="129"/>
                                            </p:tgtEl>
                                          </p:cBhvr>
                                        </p:animEffect>
                                      </p:childTnLst>
                                    </p:cTn>
                                  </p:par>
                                  <p:par>
                                    <p:cTn id="40" presetID="10" presetClass="entr" presetSubtype="0" fill="hold" nodeType="withEffect">
                                      <p:stCondLst>
                                        <p:cond delay="0"/>
                                      </p:stCondLst>
                                      <p:childTnLst>
                                        <p:set>
                                          <p:cBhvr>
                                            <p:cTn id="41" dur="1" fill="hold">
                                              <p:stCondLst>
                                                <p:cond delay="0"/>
                                              </p:stCondLst>
                                            </p:cTn>
                                            <p:tgtEl>
                                              <p:spTgt spid="130"/>
                                            </p:tgtEl>
                                            <p:attrNameLst>
                                              <p:attrName>style.visibility</p:attrName>
                                            </p:attrNameLst>
                                          </p:cBhvr>
                                          <p:to>
                                            <p:strVal val="visible"/>
                                          </p:to>
                                        </p:set>
                                        <p:animEffect transition="in" filter="fade">
                                          <p:cBhvr>
                                            <p:cTn id="42" dur="500"/>
                                            <p:tgtEl>
                                              <p:spTgt spid="130"/>
                                            </p:tgtEl>
                                          </p:cBhvr>
                                        </p:animEffect>
                                      </p:childTnLst>
                                    </p:cTn>
                                  </p:par>
                                  <p:par>
                                    <p:cTn id="43" presetID="10" presetClass="entr" presetSubtype="0" fill="hold" nodeType="withEffect">
                                      <p:stCondLst>
                                        <p:cond delay="0"/>
                                      </p:stCondLst>
                                      <p:childTnLst>
                                        <p:set>
                                          <p:cBhvr>
                                            <p:cTn id="44" dur="1" fill="hold">
                                              <p:stCondLst>
                                                <p:cond delay="0"/>
                                              </p:stCondLst>
                                            </p:cTn>
                                            <p:tgtEl>
                                              <p:spTgt spid="132"/>
                                            </p:tgtEl>
                                            <p:attrNameLst>
                                              <p:attrName>style.visibility</p:attrName>
                                            </p:attrNameLst>
                                          </p:cBhvr>
                                          <p:to>
                                            <p:strVal val="visible"/>
                                          </p:to>
                                        </p:set>
                                        <p:animEffect transition="in" filter="fade">
                                          <p:cBhvr>
                                            <p:cTn id="45" dur="500"/>
                                            <p:tgtEl>
                                              <p:spTgt spid="132"/>
                                            </p:tgtEl>
                                          </p:cBhvr>
                                        </p:animEffect>
                                      </p:childTnLst>
                                    </p:cTn>
                                  </p:par>
                                  <p:par>
                                    <p:cTn id="46" presetID="10" presetClass="entr" presetSubtype="0" fill="hold" nodeType="withEffect">
                                      <p:stCondLst>
                                        <p:cond delay="0"/>
                                      </p:stCondLst>
                                      <p:childTnLst>
                                        <p:set>
                                          <p:cBhvr>
                                            <p:cTn id="47" dur="1" fill="hold">
                                              <p:stCondLst>
                                                <p:cond delay="0"/>
                                              </p:stCondLst>
                                            </p:cTn>
                                            <p:tgtEl>
                                              <p:spTgt spid="133"/>
                                            </p:tgtEl>
                                            <p:attrNameLst>
                                              <p:attrName>style.visibility</p:attrName>
                                            </p:attrNameLst>
                                          </p:cBhvr>
                                          <p:to>
                                            <p:strVal val="visible"/>
                                          </p:to>
                                        </p:set>
                                        <p:animEffect transition="in" filter="fade">
                                          <p:cBhvr>
                                            <p:cTn id="48" dur="500"/>
                                            <p:tgtEl>
                                              <p:spTgt spid="133"/>
                                            </p:tgtEl>
                                          </p:cBhvr>
                                        </p:animEffect>
                                      </p:childTnLst>
                                    </p:cTn>
                                  </p:par>
                                  <p:par>
                                    <p:cTn id="49" presetID="10" presetClass="entr" presetSubtype="0" fill="hold" nodeType="withEffect">
                                      <p:stCondLst>
                                        <p:cond delay="0"/>
                                      </p:stCondLst>
                                      <p:childTnLst>
                                        <p:set>
                                          <p:cBhvr>
                                            <p:cTn id="50" dur="1" fill="hold">
                                              <p:stCondLst>
                                                <p:cond delay="0"/>
                                              </p:stCondLst>
                                            </p:cTn>
                                            <p:tgtEl>
                                              <p:spTgt spid="134"/>
                                            </p:tgtEl>
                                            <p:attrNameLst>
                                              <p:attrName>style.visibility</p:attrName>
                                            </p:attrNameLst>
                                          </p:cBhvr>
                                          <p:to>
                                            <p:strVal val="visible"/>
                                          </p:to>
                                        </p:set>
                                        <p:animEffect transition="in" filter="fade">
                                          <p:cBhvr>
                                            <p:cTn id="51" dur="500"/>
                                            <p:tgtEl>
                                              <p:spTgt spid="134"/>
                                            </p:tgtEl>
                                          </p:cBhvr>
                                        </p:animEffect>
                                      </p:childTnLst>
                                    </p:cTn>
                                  </p:par>
                                  <p:par>
                                    <p:cTn id="52" presetID="10" presetClass="entr" presetSubtype="0" fill="hold" grpId="0" nodeType="withEffect">
                                      <p:stCondLst>
                                        <p:cond delay="0"/>
                                      </p:stCondLst>
                                      <p:childTnLst>
                                        <p:set>
                                          <p:cBhvr>
                                            <p:cTn id="53" dur="1" fill="hold">
                                              <p:stCondLst>
                                                <p:cond delay="0"/>
                                              </p:stCondLst>
                                            </p:cTn>
                                            <p:tgtEl>
                                              <p:spTgt spid="139"/>
                                            </p:tgtEl>
                                            <p:attrNameLst>
                                              <p:attrName>style.visibility</p:attrName>
                                            </p:attrNameLst>
                                          </p:cBhvr>
                                          <p:to>
                                            <p:strVal val="visible"/>
                                          </p:to>
                                        </p:set>
                                        <p:animEffect transition="in" filter="fade">
                                          <p:cBhvr>
                                            <p:cTn id="54" dur="500"/>
                                            <p:tgtEl>
                                              <p:spTgt spid="139"/>
                                            </p:tgtEl>
                                          </p:cBhvr>
                                        </p:animEffect>
                                      </p:childTnLst>
                                    </p:cTn>
                                  </p:par>
                                  <p:par>
                                    <p:cTn id="55" presetID="10" presetClass="entr" presetSubtype="0" fill="hold" grpId="0" nodeType="withEffect">
                                      <p:stCondLst>
                                        <p:cond delay="0"/>
                                      </p:stCondLst>
                                      <p:childTnLst>
                                        <p:set>
                                          <p:cBhvr>
                                            <p:cTn id="56" dur="1" fill="hold">
                                              <p:stCondLst>
                                                <p:cond delay="0"/>
                                              </p:stCondLst>
                                            </p:cTn>
                                            <p:tgtEl>
                                              <p:spTgt spid="138"/>
                                            </p:tgtEl>
                                            <p:attrNameLst>
                                              <p:attrName>style.visibility</p:attrName>
                                            </p:attrNameLst>
                                          </p:cBhvr>
                                          <p:to>
                                            <p:strVal val="visible"/>
                                          </p:to>
                                        </p:set>
                                        <p:animEffect transition="in" filter="fade">
                                          <p:cBhvr>
                                            <p:cTn id="57" dur="500"/>
                                            <p:tgtEl>
                                              <p:spTgt spid="138"/>
                                            </p:tgtEl>
                                          </p:cBhvr>
                                        </p:animEffect>
                                      </p:childTnLst>
                                    </p:cTn>
                                  </p:par>
                                  <p:par>
                                    <p:cTn id="58" presetID="10" presetClass="entr" presetSubtype="0" fill="hold" grpId="0" nodeType="withEffect">
                                      <p:stCondLst>
                                        <p:cond delay="0"/>
                                      </p:stCondLst>
                                      <p:childTnLst>
                                        <p:set>
                                          <p:cBhvr>
                                            <p:cTn id="59" dur="1" fill="hold">
                                              <p:stCondLst>
                                                <p:cond delay="0"/>
                                              </p:stCondLst>
                                            </p:cTn>
                                            <p:tgtEl>
                                              <p:spTgt spid="137"/>
                                            </p:tgtEl>
                                            <p:attrNameLst>
                                              <p:attrName>style.visibility</p:attrName>
                                            </p:attrNameLst>
                                          </p:cBhvr>
                                          <p:to>
                                            <p:strVal val="visible"/>
                                          </p:to>
                                        </p:set>
                                        <p:animEffect transition="in" filter="fade">
                                          <p:cBhvr>
                                            <p:cTn id="60" dur="500"/>
                                            <p:tgtEl>
                                              <p:spTgt spid="137"/>
                                            </p:tgtEl>
                                          </p:cBhvr>
                                        </p:animEffect>
                                      </p:childTnLst>
                                    </p:cTn>
                                  </p:par>
                                  <p:par>
                                    <p:cTn id="61" presetID="10" presetClass="entr" presetSubtype="0" fill="hold" grpId="0" nodeType="withEffect">
                                      <p:stCondLst>
                                        <p:cond delay="0"/>
                                      </p:stCondLst>
                                      <p:childTnLst>
                                        <p:set>
                                          <p:cBhvr>
                                            <p:cTn id="62" dur="1" fill="hold">
                                              <p:stCondLst>
                                                <p:cond delay="0"/>
                                              </p:stCondLst>
                                            </p:cTn>
                                            <p:tgtEl>
                                              <p:spTgt spid="126"/>
                                            </p:tgtEl>
                                            <p:attrNameLst>
                                              <p:attrName>style.visibility</p:attrName>
                                            </p:attrNameLst>
                                          </p:cBhvr>
                                          <p:to>
                                            <p:strVal val="visible"/>
                                          </p:to>
                                        </p:set>
                                        <p:animEffect transition="in" filter="fade">
                                          <p:cBhvr>
                                            <p:cTn id="63" dur="500"/>
                                            <p:tgtEl>
                                              <p:spTgt spid="126"/>
                                            </p:tgtEl>
                                          </p:cBhvr>
                                        </p:animEffect>
                                      </p:childTnLst>
                                    </p:cTn>
                                  </p:par>
                                </p:childTnLst>
                              </p:cTn>
                            </p:par>
                            <p:par>
                              <p:cTn id="64" fill="hold">
                                <p:stCondLst>
                                  <p:cond delay="1000"/>
                                </p:stCondLst>
                                <p:childTnLst>
                                  <p:par>
                                    <p:cTn id="65" presetID="22" presetClass="entr" presetSubtype="8" fill="hold" grpId="0" nodeType="afterEffect">
                                      <p:stCondLst>
                                        <p:cond delay="0"/>
                                      </p:stCondLst>
                                      <p:childTnLst>
                                        <p:set>
                                          <p:cBhvr>
                                            <p:cTn id="66" dur="1" fill="hold">
                                              <p:stCondLst>
                                                <p:cond delay="0"/>
                                              </p:stCondLst>
                                            </p:cTn>
                                            <p:tgtEl>
                                              <p:spTgt spid="153"/>
                                            </p:tgtEl>
                                            <p:attrNameLst>
                                              <p:attrName>style.visibility</p:attrName>
                                            </p:attrNameLst>
                                          </p:cBhvr>
                                          <p:to>
                                            <p:strVal val="visible"/>
                                          </p:to>
                                        </p:set>
                                        <p:animEffect transition="in" filter="wipe(left)">
                                          <p:cBhvr>
                                            <p:cTn id="67" dur="500"/>
                                            <p:tgtEl>
                                              <p:spTgt spid="153"/>
                                            </p:tgtEl>
                                          </p:cBhvr>
                                        </p:animEffect>
                                      </p:childTnLst>
                                    </p:cTn>
                                  </p:par>
                                  <p:par>
                                    <p:cTn id="68" presetID="22" presetClass="entr" presetSubtype="8" fill="hold" grpId="0" nodeType="withEffect">
                                      <p:stCondLst>
                                        <p:cond delay="0"/>
                                      </p:stCondLst>
                                      <p:childTnLst>
                                        <p:set>
                                          <p:cBhvr>
                                            <p:cTn id="69" dur="1" fill="hold">
                                              <p:stCondLst>
                                                <p:cond delay="0"/>
                                              </p:stCondLst>
                                            </p:cTn>
                                            <p:tgtEl>
                                              <p:spTgt spid="150"/>
                                            </p:tgtEl>
                                            <p:attrNameLst>
                                              <p:attrName>style.visibility</p:attrName>
                                            </p:attrNameLst>
                                          </p:cBhvr>
                                          <p:to>
                                            <p:strVal val="visible"/>
                                          </p:to>
                                        </p:set>
                                        <p:animEffect transition="in" filter="wipe(left)">
                                          <p:cBhvr>
                                            <p:cTn id="70" dur="500"/>
                                            <p:tgtEl>
                                              <p:spTgt spid="15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9" grpId="0" animBg="1"/>
          <p:bldP spid="123" grpId="0" animBg="1"/>
          <p:bldP spid="131" grpId="0" animBg="1"/>
          <p:bldP spid="177" grpId="0" animBg="1"/>
          <p:bldP spid="126" grpId="0"/>
          <p:bldP spid="137" grpId="0"/>
          <p:bldP spid="138" grpId="0"/>
          <p:bldP spid="139" grpId="0"/>
          <p:bldP spid="153" grpId="0" animBg="1"/>
          <p:bldP spid="150" grpId="0"/>
          <p:bldP spid="89" grpId="0" animBg="1"/>
          <p:bldP spid="91" grpId="0"/>
        </p:bldLst>
      </p:timing>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矩形 33" hidden="1"/>
          <p:cNvSpPr/>
          <p:nvPr/>
        </p:nvSpPr>
        <p:spPr>
          <a:xfrm>
            <a:off x="2584817" y="2133288"/>
            <a:ext cx="936104" cy="6551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smtClean="0">
                <a:solidFill>
                  <a:srgbClr val="B0F533"/>
                </a:solidFill>
                <a:latin typeface="Gill Sans MT Pro Light" pitchFamily="34" charset="0"/>
              </a:rPr>
              <a:t>1</a:t>
            </a:r>
            <a:endParaRPr lang="zh-CN" altLang="en-US" sz="3600">
              <a:solidFill>
                <a:srgbClr val="B0F533"/>
              </a:solidFill>
              <a:latin typeface="Gill Sans MT Pro Light" pitchFamily="34" charset="0"/>
            </a:endParaRPr>
          </a:p>
        </p:txBody>
      </p:sp>
      <p:sp>
        <p:nvSpPr>
          <p:cNvPr id="35" name="矩形 34" hidden="1"/>
          <p:cNvSpPr/>
          <p:nvPr/>
        </p:nvSpPr>
        <p:spPr>
          <a:xfrm>
            <a:off x="3621305" y="2133288"/>
            <a:ext cx="5984291" cy="655104"/>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smtClean="0">
                <a:latin typeface="华文黑体" pitchFamily="2" charset="-122"/>
                <a:ea typeface="华文黑体" pitchFamily="2" charset="-122"/>
                <a:cs typeface="华文黑体" pitchFamily="2" charset="-122"/>
              </a:rPr>
              <a:t>                     点击添加标题</a:t>
            </a:r>
            <a:endParaRPr lang="zh-CN" altLang="en-US" sz="2800">
              <a:latin typeface="华文黑体" pitchFamily="2" charset="-122"/>
              <a:ea typeface="华文黑体" pitchFamily="2" charset="-122"/>
              <a:cs typeface="华文黑体" pitchFamily="2" charset="-122"/>
            </a:endParaRPr>
          </a:p>
        </p:txBody>
      </p:sp>
      <p:sp>
        <p:nvSpPr>
          <p:cNvPr id="9" name="矩形 8"/>
          <p:cNvSpPr/>
          <p:nvPr/>
        </p:nvSpPr>
        <p:spPr>
          <a:xfrm>
            <a:off x="1702717" y="1916832"/>
            <a:ext cx="3877985" cy="397660"/>
          </a:xfrm>
          <a:prstGeom prst="rect">
            <a:avLst/>
          </a:prstGeom>
          <a:solidFill>
            <a:srgbClr val="FF78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000" smtClean="0">
                <a:latin typeface="华文细黑" panose="02010600040101010101" pitchFamily="2" charset="-122"/>
                <a:ea typeface="华文细黑" panose="02010600040101010101" pitchFamily="2" charset="-122"/>
                <a:cs typeface="华文黑体" pitchFamily="2" charset="-122"/>
              </a:rPr>
              <a:t>  点击添加标题</a:t>
            </a:r>
            <a:endParaRPr lang="zh-CN" altLang="en-US" sz="2000">
              <a:latin typeface="华文细黑" panose="02010600040101010101" pitchFamily="2" charset="-122"/>
              <a:ea typeface="华文细黑" panose="02010600040101010101" pitchFamily="2" charset="-122"/>
              <a:cs typeface="华文黑体" pitchFamily="2" charset="-122"/>
            </a:endParaRPr>
          </a:p>
        </p:txBody>
      </p:sp>
      <p:sp>
        <p:nvSpPr>
          <p:cNvPr id="2" name="矩形 1"/>
          <p:cNvSpPr/>
          <p:nvPr/>
        </p:nvSpPr>
        <p:spPr>
          <a:xfrm>
            <a:off x="1702718" y="2399989"/>
            <a:ext cx="3467616" cy="338554"/>
          </a:xfrm>
          <a:prstGeom prst="rect">
            <a:avLst/>
          </a:prstGeom>
        </p:spPr>
        <p:txBody>
          <a:bodyPr wrap="none">
            <a:spAutoFit/>
          </a:bodyPr>
          <a:lstStyle/>
          <a:p>
            <a:r>
              <a:rPr lang="zh-CN" altLang="en-US" sz="1600">
                <a:solidFill>
                  <a:schemeClr val="bg1"/>
                </a:solidFill>
                <a:latin typeface="华文细黑" panose="02010600040101010101" pitchFamily="2" charset="-122"/>
                <a:ea typeface="华文细黑" panose="02010600040101010101" pitchFamily="2" charset="-122"/>
                <a:cs typeface="华文黑体" pitchFamily="2" charset="-122"/>
              </a:rPr>
              <a:t>单击添加</a:t>
            </a:r>
            <a:r>
              <a:rPr lang="zh-CN" altLang="en-US" sz="1600" smtClean="0">
                <a:solidFill>
                  <a:schemeClr val="bg1"/>
                </a:solidFill>
                <a:latin typeface="华文细黑" panose="02010600040101010101" pitchFamily="2" charset="-122"/>
                <a:ea typeface="华文细黑" panose="02010600040101010101" pitchFamily="2" charset="-122"/>
                <a:cs typeface="华文黑体" pitchFamily="2" charset="-122"/>
              </a:rPr>
              <a:t>文本</a:t>
            </a:r>
            <a:r>
              <a:rPr lang="zh-CN" altLang="en-US" sz="1600">
                <a:solidFill>
                  <a:schemeClr val="bg1"/>
                </a:solidFill>
                <a:latin typeface="华文细黑" panose="02010600040101010101" pitchFamily="2" charset="-122"/>
                <a:ea typeface="华文细黑" panose="02010600040101010101" pitchFamily="2" charset="-122"/>
                <a:cs typeface="华文黑体" pitchFamily="2" charset="-122"/>
              </a:rPr>
              <a:t>单击添加</a:t>
            </a:r>
            <a:r>
              <a:rPr lang="zh-CN" altLang="en-US" sz="1600" smtClean="0">
                <a:solidFill>
                  <a:schemeClr val="bg1"/>
                </a:solidFill>
                <a:latin typeface="华文细黑" panose="02010600040101010101" pitchFamily="2" charset="-122"/>
                <a:ea typeface="华文细黑" panose="02010600040101010101" pitchFamily="2" charset="-122"/>
                <a:cs typeface="华文黑体" pitchFamily="2" charset="-122"/>
              </a:rPr>
              <a:t>文本</a:t>
            </a:r>
            <a:r>
              <a:rPr lang="zh-CN" altLang="en-US" sz="1600">
                <a:solidFill>
                  <a:schemeClr val="bg1"/>
                </a:solidFill>
                <a:latin typeface="华文细黑" panose="02010600040101010101" pitchFamily="2" charset="-122"/>
                <a:ea typeface="华文细黑" panose="02010600040101010101" pitchFamily="2" charset="-122"/>
                <a:cs typeface="华文黑体" pitchFamily="2" charset="-122"/>
              </a:rPr>
              <a:t>单击</a:t>
            </a:r>
            <a:r>
              <a:rPr lang="zh-CN" altLang="en-US" sz="1600" smtClean="0">
                <a:solidFill>
                  <a:schemeClr val="bg1"/>
                </a:solidFill>
                <a:latin typeface="华文细黑" panose="02010600040101010101" pitchFamily="2" charset="-122"/>
                <a:ea typeface="华文细黑" panose="02010600040101010101" pitchFamily="2" charset="-122"/>
                <a:cs typeface="华文黑体" pitchFamily="2" charset="-122"/>
              </a:rPr>
              <a:t>添加</a:t>
            </a:r>
            <a:endParaRPr lang="zh-CN" altLang="en-US" sz="1600"/>
          </a:p>
        </p:txBody>
      </p:sp>
      <p:sp>
        <p:nvSpPr>
          <p:cNvPr id="3" name="椭圆 2"/>
          <p:cNvSpPr/>
          <p:nvPr/>
        </p:nvSpPr>
        <p:spPr>
          <a:xfrm>
            <a:off x="6743193" y="1969007"/>
            <a:ext cx="2304425" cy="2304425"/>
          </a:xfrm>
          <a:prstGeom prst="ellipse">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7" name="椭圆 16"/>
          <p:cNvSpPr/>
          <p:nvPr/>
        </p:nvSpPr>
        <p:spPr>
          <a:xfrm>
            <a:off x="8458755" y="2023228"/>
            <a:ext cx="3052649" cy="3052649"/>
          </a:xfrm>
          <a:prstGeom prst="ellipse">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8" name="椭圆 17"/>
          <p:cNvSpPr/>
          <p:nvPr/>
        </p:nvSpPr>
        <p:spPr>
          <a:xfrm>
            <a:off x="7429248" y="3356823"/>
            <a:ext cx="2304425" cy="2304425"/>
          </a:xfrm>
          <a:prstGeom prst="ellipse">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9" name="椭圆 18"/>
          <p:cNvSpPr/>
          <p:nvPr/>
        </p:nvSpPr>
        <p:spPr>
          <a:xfrm>
            <a:off x="8458754" y="2506386"/>
            <a:ext cx="588864" cy="1558887"/>
          </a:xfrm>
          <a:custGeom>
            <a:avLst/>
            <a:gdLst/>
            <a:ahLst/>
            <a:cxnLst/>
            <a:rect l="l" t="t" r="r" b="b"/>
            <a:pathLst>
              <a:path w="588864" h="1558887">
                <a:moveTo>
                  <a:pt x="411656" y="0"/>
                </a:moveTo>
                <a:cubicBezTo>
                  <a:pt x="524298" y="176821"/>
                  <a:pt x="588864" y="386869"/>
                  <a:pt x="588864" y="611998"/>
                </a:cubicBezTo>
                <a:cubicBezTo>
                  <a:pt x="588864" y="1004605"/>
                  <a:pt x="392502" y="1351348"/>
                  <a:pt x="92291" y="1558887"/>
                </a:cubicBezTo>
                <a:cubicBezTo>
                  <a:pt x="31956" y="1397444"/>
                  <a:pt x="0" y="1222619"/>
                  <a:pt x="0" y="1040331"/>
                </a:cubicBezTo>
                <a:cubicBezTo>
                  <a:pt x="0" y="637777"/>
                  <a:pt x="155840" y="271621"/>
                  <a:pt x="411656" y="0"/>
                </a:cubicBezTo>
                <a:close/>
              </a:path>
            </a:pathLst>
          </a:custGeom>
          <a:solidFill>
            <a:srgbClr val="FF781D"/>
          </a:solidFill>
          <a:ln w="6350">
            <a:solidFill>
              <a:schemeClr val="bg1"/>
            </a:solidFill>
            <a:prstDash val="solid"/>
            <a:round/>
          </a:ln>
        </p:spPr>
        <p:txBody>
          <a:bodyPr/>
          <a:lstStyle/>
          <a:p>
            <a:endParaRPr lang="zh-CN" altLang="en-US">
              <a:solidFill>
                <a:schemeClr val="tx1"/>
              </a:solidFill>
            </a:endParaRPr>
          </a:p>
        </p:txBody>
      </p:sp>
      <p:sp>
        <p:nvSpPr>
          <p:cNvPr id="21" name="椭圆 20"/>
          <p:cNvSpPr/>
          <p:nvPr/>
        </p:nvSpPr>
        <p:spPr>
          <a:xfrm>
            <a:off x="7475870" y="3356823"/>
            <a:ext cx="1528389" cy="916610"/>
          </a:xfrm>
          <a:custGeom>
            <a:avLst/>
            <a:gdLst/>
            <a:ahLst/>
            <a:cxnLst/>
            <a:rect l="l" t="t" r="r" b="b"/>
            <a:pathLst>
              <a:path w="1528389" h="916610">
                <a:moveTo>
                  <a:pt x="1107222" y="0"/>
                </a:moveTo>
                <a:cubicBezTo>
                  <a:pt x="1256013" y="0"/>
                  <a:pt x="1398216" y="28203"/>
                  <a:pt x="1528389" y="80545"/>
                </a:cubicBezTo>
                <a:cubicBezTo>
                  <a:pt x="1391880" y="563324"/>
                  <a:pt x="947781" y="916610"/>
                  <a:pt x="421167" y="916610"/>
                </a:cubicBezTo>
                <a:cubicBezTo>
                  <a:pt x="272376" y="916610"/>
                  <a:pt x="130173" y="888407"/>
                  <a:pt x="0" y="836065"/>
                </a:cubicBezTo>
                <a:cubicBezTo>
                  <a:pt x="136509" y="353286"/>
                  <a:pt x="580608" y="0"/>
                  <a:pt x="1107222" y="0"/>
                </a:cubicBezTo>
                <a:close/>
              </a:path>
            </a:pathLst>
          </a:custGeom>
          <a:solidFill>
            <a:srgbClr val="FF781D"/>
          </a:solidFill>
          <a:ln w="6350">
            <a:solidFill>
              <a:schemeClr val="bg1"/>
            </a:solidFill>
            <a:prstDash val="solid"/>
            <a:round/>
          </a:ln>
        </p:spPr>
        <p:txBody>
          <a:bodyPr/>
          <a:lstStyle/>
          <a:p>
            <a:endParaRPr lang="zh-CN" altLang="en-US">
              <a:solidFill>
                <a:schemeClr val="tx1"/>
              </a:solidFill>
            </a:endParaRPr>
          </a:p>
        </p:txBody>
      </p:sp>
      <p:sp>
        <p:nvSpPr>
          <p:cNvPr id="24" name="椭圆 23"/>
          <p:cNvSpPr/>
          <p:nvPr/>
        </p:nvSpPr>
        <p:spPr>
          <a:xfrm>
            <a:off x="8459548" y="3360093"/>
            <a:ext cx="1274919" cy="1670562"/>
          </a:xfrm>
          <a:custGeom>
            <a:avLst/>
            <a:gdLst/>
            <a:ahLst/>
            <a:cxnLst/>
            <a:rect l="l" t="t" r="r" b="b"/>
            <a:pathLst>
              <a:path w="1274919" h="1670562">
                <a:moveTo>
                  <a:pt x="122706" y="0"/>
                </a:moveTo>
                <a:cubicBezTo>
                  <a:pt x="759056" y="0"/>
                  <a:pt x="1274919" y="515863"/>
                  <a:pt x="1274919" y="1152213"/>
                </a:cubicBezTo>
                <a:cubicBezTo>
                  <a:pt x="1274919" y="1338862"/>
                  <a:pt x="1230539" y="1515144"/>
                  <a:pt x="1150722" y="1670562"/>
                </a:cubicBezTo>
                <a:cubicBezTo>
                  <a:pt x="489149" y="1504867"/>
                  <a:pt x="0" y="905922"/>
                  <a:pt x="0" y="192730"/>
                </a:cubicBezTo>
                <a:cubicBezTo>
                  <a:pt x="0" y="129311"/>
                  <a:pt x="3868" y="66795"/>
                  <a:pt x="12629" y="5559"/>
                </a:cubicBezTo>
                <a:cubicBezTo>
                  <a:pt x="48836" y="1757"/>
                  <a:pt x="85566" y="0"/>
                  <a:pt x="122706" y="0"/>
                </a:cubicBezTo>
                <a:close/>
              </a:path>
            </a:pathLst>
          </a:custGeom>
          <a:solidFill>
            <a:srgbClr val="FF781D"/>
          </a:solidFill>
          <a:ln w="6350">
            <a:solidFill>
              <a:schemeClr val="bg1"/>
            </a:solidFill>
            <a:prstDash val="solid"/>
            <a:round/>
          </a:ln>
        </p:spPr>
        <p:txBody>
          <a:bodyPr/>
          <a:lstStyle/>
          <a:p>
            <a:endParaRPr lang="zh-CN" altLang="en-US">
              <a:solidFill>
                <a:schemeClr val="tx1"/>
              </a:solidFill>
            </a:endParaRPr>
          </a:p>
        </p:txBody>
      </p:sp>
      <p:sp>
        <p:nvSpPr>
          <p:cNvPr id="30" name="椭圆 18"/>
          <p:cNvSpPr/>
          <p:nvPr/>
        </p:nvSpPr>
        <p:spPr>
          <a:xfrm>
            <a:off x="8460052" y="3357712"/>
            <a:ext cx="540923" cy="705180"/>
          </a:xfrm>
          <a:custGeom>
            <a:avLst/>
            <a:gdLst/>
            <a:ahLst/>
            <a:cxnLst/>
            <a:rect l="l" t="t" r="r" b="b"/>
            <a:pathLst>
              <a:path w="540923" h="705180">
                <a:moveTo>
                  <a:pt x="122706" y="0"/>
                </a:moveTo>
                <a:cubicBezTo>
                  <a:pt x="270386" y="0"/>
                  <a:pt x="411576" y="27783"/>
                  <a:pt x="540923" y="79465"/>
                </a:cubicBezTo>
                <a:lnTo>
                  <a:pt x="523043" y="135306"/>
                </a:lnTo>
                <a:lnTo>
                  <a:pt x="498733" y="200413"/>
                </a:lnTo>
                <a:lnTo>
                  <a:pt x="456612" y="291907"/>
                </a:lnTo>
                <a:lnTo>
                  <a:pt x="437723" y="324937"/>
                </a:lnTo>
                <a:cubicBezTo>
                  <a:pt x="376133" y="436177"/>
                  <a:pt x="295593" y="535331"/>
                  <a:pt x="201017" y="619033"/>
                </a:cubicBezTo>
                <a:lnTo>
                  <a:pt x="197459" y="622238"/>
                </a:lnTo>
                <a:cubicBezTo>
                  <a:pt x="163880" y="651940"/>
                  <a:pt x="128477" y="679616"/>
                  <a:pt x="91497" y="705180"/>
                </a:cubicBezTo>
                <a:cubicBezTo>
                  <a:pt x="48879" y="591143"/>
                  <a:pt x="20420" y="470429"/>
                  <a:pt x="8234" y="345035"/>
                </a:cubicBezTo>
                <a:cubicBezTo>
                  <a:pt x="2544" y="294988"/>
                  <a:pt x="0" y="244156"/>
                  <a:pt x="0" y="192730"/>
                </a:cubicBezTo>
                <a:cubicBezTo>
                  <a:pt x="0" y="129311"/>
                  <a:pt x="3868" y="66795"/>
                  <a:pt x="12629" y="5559"/>
                </a:cubicBezTo>
                <a:cubicBezTo>
                  <a:pt x="48836" y="1757"/>
                  <a:pt x="85566" y="0"/>
                  <a:pt x="122706" y="0"/>
                </a:cubicBezTo>
                <a:close/>
              </a:path>
            </a:pathLst>
          </a:custGeom>
          <a:solidFill>
            <a:srgbClr val="47A7FF"/>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zh-CN" altLang="en-US" sz="2000">
              <a:solidFill>
                <a:schemeClr val="lt1"/>
              </a:solidFill>
              <a:latin typeface="华文细黑" panose="02010600040101010101" pitchFamily="2" charset="-122"/>
              <a:ea typeface="华文细黑" panose="02010600040101010101" pitchFamily="2" charset="-122"/>
              <a:cs typeface="华文黑体" pitchFamily="2" charset="-122"/>
            </a:endParaRPr>
          </a:p>
        </p:txBody>
      </p:sp>
      <p:sp>
        <p:nvSpPr>
          <p:cNvPr id="41" name="矩形 40"/>
          <p:cNvSpPr/>
          <p:nvPr/>
        </p:nvSpPr>
        <p:spPr>
          <a:xfrm>
            <a:off x="1702717" y="2859365"/>
            <a:ext cx="3877985" cy="397660"/>
          </a:xfrm>
          <a:prstGeom prst="rect">
            <a:avLst/>
          </a:prstGeom>
          <a:solidFill>
            <a:srgbClr val="FF78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000" smtClean="0">
                <a:latin typeface="华文细黑" panose="02010600040101010101" pitchFamily="2" charset="-122"/>
                <a:ea typeface="华文细黑" panose="02010600040101010101" pitchFamily="2" charset="-122"/>
                <a:cs typeface="华文黑体" pitchFamily="2" charset="-122"/>
              </a:rPr>
              <a:t>  点击添加标题</a:t>
            </a:r>
            <a:endParaRPr lang="zh-CN" altLang="en-US" sz="2000">
              <a:latin typeface="华文细黑" panose="02010600040101010101" pitchFamily="2" charset="-122"/>
              <a:ea typeface="华文细黑" panose="02010600040101010101" pitchFamily="2" charset="-122"/>
              <a:cs typeface="华文黑体" pitchFamily="2" charset="-122"/>
            </a:endParaRPr>
          </a:p>
        </p:txBody>
      </p:sp>
      <p:sp>
        <p:nvSpPr>
          <p:cNvPr id="42" name="矩形 41"/>
          <p:cNvSpPr/>
          <p:nvPr/>
        </p:nvSpPr>
        <p:spPr>
          <a:xfrm>
            <a:off x="1702718" y="3342522"/>
            <a:ext cx="3467616" cy="338554"/>
          </a:xfrm>
          <a:prstGeom prst="rect">
            <a:avLst/>
          </a:prstGeom>
        </p:spPr>
        <p:txBody>
          <a:bodyPr wrap="none">
            <a:spAutoFit/>
          </a:bodyPr>
          <a:lstStyle/>
          <a:p>
            <a:r>
              <a:rPr lang="zh-CN" altLang="en-US" sz="1600" dirty="0">
                <a:solidFill>
                  <a:schemeClr val="bg1"/>
                </a:solidFill>
                <a:latin typeface="华文细黑" panose="02010600040101010101" pitchFamily="2" charset="-122"/>
                <a:ea typeface="华文细黑" panose="02010600040101010101" pitchFamily="2" charset="-122"/>
                <a:cs typeface="华文黑体" pitchFamily="2" charset="-122"/>
              </a:rPr>
              <a:t>单击添加</a:t>
            </a:r>
            <a:r>
              <a:rPr lang="zh-CN" altLang="en-US" sz="1600" dirty="0" smtClean="0">
                <a:solidFill>
                  <a:schemeClr val="bg1"/>
                </a:solidFill>
                <a:latin typeface="华文细黑" panose="02010600040101010101" pitchFamily="2" charset="-122"/>
                <a:ea typeface="华文细黑" panose="02010600040101010101" pitchFamily="2" charset="-122"/>
                <a:cs typeface="华文黑体" pitchFamily="2" charset="-122"/>
              </a:rPr>
              <a:t>文本</a:t>
            </a:r>
            <a:r>
              <a:rPr lang="zh-CN" altLang="en-US" sz="1600" dirty="0">
                <a:solidFill>
                  <a:schemeClr val="bg1"/>
                </a:solidFill>
                <a:latin typeface="华文细黑" panose="02010600040101010101" pitchFamily="2" charset="-122"/>
                <a:ea typeface="华文细黑" panose="02010600040101010101" pitchFamily="2" charset="-122"/>
                <a:cs typeface="华文黑体" pitchFamily="2" charset="-122"/>
              </a:rPr>
              <a:t>单击添加</a:t>
            </a:r>
            <a:r>
              <a:rPr lang="zh-CN" altLang="en-US" sz="1600" dirty="0" smtClean="0">
                <a:solidFill>
                  <a:schemeClr val="bg1"/>
                </a:solidFill>
                <a:latin typeface="华文细黑" panose="02010600040101010101" pitchFamily="2" charset="-122"/>
                <a:ea typeface="华文细黑" panose="02010600040101010101" pitchFamily="2" charset="-122"/>
                <a:cs typeface="华文黑体" pitchFamily="2" charset="-122"/>
              </a:rPr>
              <a:t>文本</a:t>
            </a:r>
            <a:r>
              <a:rPr lang="zh-CN" altLang="en-US" sz="1600" dirty="0">
                <a:solidFill>
                  <a:schemeClr val="bg1"/>
                </a:solidFill>
                <a:latin typeface="华文细黑" panose="02010600040101010101" pitchFamily="2" charset="-122"/>
                <a:ea typeface="华文细黑" panose="02010600040101010101" pitchFamily="2" charset="-122"/>
                <a:cs typeface="华文黑体" pitchFamily="2" charset="-122"/>
              </a:rPr>
              <a:t>单击</a:t>
            </a:r>
            <a:r>
              <a:rPr lang="zh-CN" altLang="en-US" sz="1600" dirty="0" smtClean="0">
                <a:solidFill>
                  <a:schemeClr val="bg1"/>
                </a:solidFill>
                <a:latin typeface="华文细黑" panose="02010600040101010101" pitchFamily="2" charset="-122"/>
                <a:ea typeface="华文细黑" panose="02010600040101010101" pitchFamily="2" charset="-122"/>
                <a:cs typeface="华文黑体" pitchFamily="2" charset="-122"/>
              </a:rPr>
              <a:t>添加</a:t>
            </a:r>
            <a:endParaRPr lang="zh-CN" altLang="en-US" sz="1600" dirty="0"/>
          </a:p>
        </p:txBody>
      </p:sp>
      <p:sp>
        <p:nvSpPr>
          <p:cNvPr id="43" name="矩形 42"/>
          <p:cNvSpPr/>
          <p:nvPr/>
        </p:nvSpPr>
        <p:spPr>
          <a:xfrm>
            <a:off x="1702717" y="3890147"/>
            <a:ext cx="3877985" cy="397660"/>
          </a:xfrm>
          <a:prstGeom prst="rect">
            <a:avLst/>
          </a:prstGeom>
          <a:solidFill>
            <a:srgbClr val="FF78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000" smtClean="0">
                <a:latin typeface="华文细黑" panose="02010600040101010101" pitchFamily="2" charset="-122"/>
                <a:ea typeface="华文细黑" panose="02010600040101010101" pitchFamily="2" charset="-122"/>
                <a:cs typeface="华文黑体" pitchFamily="2" charset="-122"/>
              </a:rPr>
              <a:t>  点击添加标题</a:t>
            </a:r>
            <a:endParaRPr lang="zh-CN" altLang="en-US" sz="2000">
              <a:latin typeface="华文细黑" panose="02010600040101010101" pitchFamily="2" charset="-122"/>
              <a:ea typeface="华文细黑" panose="02010600040101010101" pitchFamily="2" charset="-122"/>
              <a:cs typeface="华文黑体" pitchFamily="2" charset="-122"/>
            </a:endParaRPr>
          </a:p>
        </p:txBody>
      </p:sp>
      <p:sp>
        <p:nvSpPr>
          <p:cNvPr id="44" name="矩形 43"/>
          <p:cNvSpPr/>
          <p:nvPr/>
        </p:nvSpPr>
        <p:spPr>
          <a:xfrm>
            <a:off x="1702718" y="4373304"/>
            <a:ext cx="3467616" cy="338554"/>
          </a:xfrm>
          <a:prstGeom prst="rect">
            <a:avLst/>
          </a:prstGeom>
        </p:spPr>
        <p:txBody>
          <a:bodyPr wrap="none">
            <a:spAutoFit/>
          </a:bodyPr>
          <a:lstStyle/>
          <a:p>
            <a:r>
              <a:rPr lang="zh-CN" altLang="en-US" sz="1600">
                <a:solidFill>
                  <a:schemeClr val="bg1"/>
                </a:solidFill>
                <a:latin typeface="华文细黑" panose="02010600040101010101" pitchFamily="2" charset="-122"/>
                <a:ea typeface="华文细黑" panose="02010600040101010101" pitchFamily="2" charset="-122"/>
                <a:cs typeface="华文黑体" pitchFamily="2" charset="-122"/>
              </a:rPr>
              <a:t>单击添加</a:t>
            </a:r>
            <a:r>
              <a:rPr lang="zh-CN" altLang="en-US" sz="1600" smtClean="0">
                <a:solidFill>
                  <a:schemeClr val="bg1"/>
                </a:solidFill>
                <a:latin typeface="华文细黑" panose="02010600040101010101" pitchFamily="2" charset="-122"/>
                <a:ea typeface="华文细黑" panose="02010600040101010101" pitchFamily="2" charset="-122"/>
                <a:cs typeface="华文黑体" pitchFamily="2" charset="-122"/>
              </a:rPr>
              <a:t>文本</a:t>
            </a:r>
            <a:r>
              <a:rPr lang="zh-CN" altLang="en-US" sz="1600">
                <a:solidFill>
                  <a:schemeClr val="bg1"/>
                </a:solidFill>
                <a:latin typeface="华文细黑" panose="02010600040101010101" pitchFamily="2" charset="-122"/>
                <a:ea typeface="华文细黑" panose="02010600040101010101" pitchFamily="2" charset="-122"/>
                <a:cs typeface="华文黑体" pitchFamily="2" charset="-122"/>
              </a:rPr>
              <a:t>单击添加</a:t>
            </a:r>
            <a:r>
              <a:rPr lang="zh-CN" altLang="en-US" sz="1600" smtClean="0">
                <a:solidFill>
                  <a:schemeClr val="bg1"/>
                </a:solidFill>
                <a:latin typeface="华文细黑" panose="02010600040101010101" pitchFamily="2" charset="-122"/>
                <a:ea typeface="华文细黑" panose="02010600040101010101" pitchFamily="2" charset="-122"/>
                <a:cs typeface="华文黑体" pitchFamily="2" charset="-122"/>
              </a:rPr>
              <a:t>文本</a:t>
            </a:r>
            <a:r>
              <a:rPr lang="zh-CN" altLang="en-US" sz="1600">
                <a:solidFill>
                  <a:schemeClr val="bg1"/>
                </a:solidFill>
                <a:latin typeface="华文细黑" panose="02010600040101010101" pitchFamily="2" charset="-122"/>
                <a:ea typeface="华文细黑" panose="02010600040101010101" pitchFamily="2" charset="-122"/>
                <a:cs typeface="华文黑体" pitchFamily="2" charset="-122"/>
              </a:rPr>
              <a:t>单击</a:t>
            </a:r>
            <a:r>
              <a:rPr lang="zh-CN" altLang="en-US" sz="1600" smtClean="0">
                <a:solidFill>
                  <a:schemeClr val="bg1"/>
                </a:solidFill>
                <a:latin typeface="华文细黑" panose="02010600040101010101" pitchFamily="2" charset="-122"/>
                <a:ea typeface="华文细黑" panose="02010600040101010101" pitchFamily="2" charset="-122"/>
                <a:cs typeface="华文黑体" pitchFamily="2" charset="-122"/>
              </a:rPr>
              <a:t>添加</a:t>
            </a:r>
            <a:endParaRPr lang="zh-CN" altLang="en-US" sz="1600"/>
          </a:p>
        </p:txBody>
      </p:sp>
      <p:sp>
        <p:nvSpPr>
          <p:cNvPr id="45" name="矩形 44"/>
          <p:cNvSpPr/>
          <p:nvPr/>
        </p:nvSpPr>
        <p:spPr>
          <a:xfrm>
            <a:off x="1702717" y="4924258"/>
            <a:ext cx="3877985" cy="397660"/>
          </a:xfrm>
          <a:prstGeom prst="rect">
            <a:avLst/>
          </a:prstGeom>
          <a:solidFill>
            <a:srgbClr val="47A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000">
                <a:latin typeface="华文细黑" panose="02010600040101010101" pitchFamily="2" charset="-122"/>
                <a:ea typeface="华文细黑" panose="02010600040101010101" pitchFamily="2" charset="-122"/>
                <a:cs typeface="华文黑体" pitchFamily="2" charset="-122"/>
              </a:rPr>
              <a:t>  点击添加标题</a:t>
            </a:r>
            <a:endParaRPr lang="zh-CN" altLang="en-US" sz="2000">
              <a:latin typeface="华文细黑" panose="02010600040101010101" pitchFamily="2" charset="-122"/>
              <a:ea typeface="华文细黑" panose="02010600040101010101" pitchFamily="2" charset="-122"/>
              <a:cs typeface="华文黑体" pitchFamily="2" charset="-122"/>
            </a:endParaRPr>
          </a:p>
        </p:txBody>
      </p:sp>
      <p:sp>
        <p:nvSpPr>
          <p:cNvPr id="46" name="矩形 45"/>
          <p:cNvSpPr/>
          <p:nvPr/>
        </p:nvSpPr>
        <p:spPr>
          <a:xfrm>
            <a:off x="1702718" y="5407415"/>
            <a:ext cx="3467616" cy="338554"/>
          </a:xfrm>
          <a:prstGeom prst="rect">
            <a:avLst/>
          </a:prstGeom>
        </p:spPr>
        <p:txBody>
          <a:bodyPr wrap="none">
            <a:spAutoFit/>
          </a:bodyPr>
          <a:lstStyle/>
          <a:p>
            <a:r>
              <a:rPr lang="zh-CN" altLang="en-US" sz="1600">
                <a:solidFill>
                  <a:schemeClr val="bg1"/>
                </a:solidFill>
                <a:latin typeface="华文细黑" panose="02010600040101010101" pitchFamily="2" charset="-122"/>
                <a:ea typeface="华文细黑" panose="02010600040101010101" pitchFamily="2" charset="-122"/>
                <a:cs typeface="华文黑体" pitchFamily="2" charset="-122"/>
              </a:rPr>
              <a:t>单击添加</a:t>
            </a:r>
            <a:r>
              <a:rPr lang="zh-CN" altLang="en-US" sz="1600" smtClean="0">
                <a:solidFill>
                  <a:schemeClr val="bg1"/>
                </a:solidFill>
                <a:latin typeface="华文细黑" panose="02010600040101010101" pitchFamily="2" charset="-122"/>
                <a:ea typeface="华文细黑" panose="02010600040101010101" pitchFamily="2" charset="-122"/>
                <a:cs typeface="华文黑体" pitchFamily="2" charset="-122"/>
              </a:rPr>
              <a:t>文本</a:t>
            </a:r>
            <a:r>
              <a:rPr lang="zh-CN" altLang="en-US" sz="1600">
                <a:solidFill>
                  <a:schemeClr val="bg1"/>
                </a:solidFill>
                <a:latin typeface="华文细黑" panose="02010600040101010101" pitchFamily="2" charset="-122"/>
                <a:ea typeface="华文细黑" panose="02010600040101010101" pitchFamily="2" charset="-122"/>
                <a:cs typeface="华文黑体" pitchFamily="2" charset="-122"/>
              </a:rPr>
              <a:t>单击添加</a:t>
            </a:r>
            <a:r>
              <a:rPr lang="zh-CN" altLang="en-US" sz="1600" smtClean="0">
                <a:solidFill>
                  <a:schemeClr val="bg1"/>
                </a:solidFill>
                <a:latin typeface="华文细黑" panose="02010600040101010101" pitchFamily="2" charset="-122"/>
                <a:ea typeface="华文细黑" panose="02010600040101010101" pitchFamily="2" charset="-122"/>
                <a:cs typeface="华文黑体" pitchFamily="2" charset="-122"/>
              </a:rPr>
              <a:t>文本</a:t>
            </a:r>
            <a:r>
              <a:rPr lang="zh-CN" altLang="en-US" sz="1600">
                <a:solidFill>
                  <a:schemeClr val="bg1"/>
                </a:solidFill>
                <a:latin typeface="华文细黑" panose="02010600040101010101" pitchFamily="2" charset="-122"/>
                <a:ea typeface="华文细黑" panose="02010600040101010101" pitchFamily="2" charset="-122"/>
                <a:cs typeface="华文黑体" pitchFamily="2" charset="-122"/>
              </a:rPr>
              <a:t>单击</a:t>
            </a:r>
            <a:r>
              <a:rPr lang="zh-CN" altLang="en-US" sz="1600" smtClean="0">
                <a:solidFill>
                  <a:schemeClr val="bg1"/>
                </a:solidFill>
                <a:latin typeface="华文细黑" panose="02010600040101010101" pitchFamily="2" charset="-122"/>
                <a:ea typeface="华文细黑" panose="02010600040101010101" pitchFamily="2" charset="-122"/>
                <a:cs typeface="华文黑体" pitchFamily="2" charset="-122"/>
              </a:rPr>
              <a:t>添加</a:t>
            </a:r>
            <a:endParaRPr lang="zh-CN" altLang="en-US" sz="1600"/>
          </a:p>
        </p:txBody>
      </p:sp>
      <p:sp>
        <p:nvSpPr>
          <p:cNvPr id="23" name="圆角矩形 22"/>
          <p:cNvSpPr/>
          <p:nvPr/>
        </p:nvSpPr>
        <p:spPr>
          <a:xfrm>
            <a:off x="8894702" y="260648"/>
            <a:ext cx="2673112" cy="600163"/>
          </a:xfrm>
          <a:prstGeom prst="roundRect">
            <a:avLst/>
          </a:prstGeom>
          <a:solidFill>
            <a:srgbClr val="FFFFFF"/>
          </a:solidFill>
          <a:ln>
            <a:noFill/>
          </a:ln>
          <a:effectLst>
            <a:reflection blurRad="6350" stA="25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5" name="TextBox 24"/>
          <p:cNvSpPr txBox="1"/>
          <p:nvPr/>
        </p:nvSpPr>
        <p:spPr>
          <a:xfrm>
            <a:off x="9061707" y="260648"/>
            <a:ext cx="2339102" cy="523220"/>
          </a:xfrm>
          <a:prstGeom prst="rect">
            <a:avLst/>
          </a:prstGeom>
          <a:noFill/>
        </p:spPr>
        <p:txBody>
          <a:bodyPr wrap="none" rtlCol="0" anchor="ctr">
            <a:spAutoFit/>
          </a:bodyPr>
          <a:lstStyle>
            <a:defPPr>
              <a:defRPr lang="zh-CN"/>
            </a:defPPr>
            <a:lvl1pPr algn="ctr">
              <a:defRPr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anose="02010600040101010101" pitchFamily="2" charset="-122"/>
                <a:cs typeface="华文黑体" pitchFamily="2" charset="-122"/>
              </a:defRPr>
            </a:lvl1pPr>
          </a:lstStyle>
          <a:p>
            <a:r>
              <a:rPr lang="zh-CN" altLang="en-US" sz="2800"/>
              <a:t>点击添加标题</a:t>
            </a:r>
            <a:endParaRPr lang="zh-CN" altLang="en-US" sz="280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fade">
                                      <p:cBhvr>
                                        <p:cTn id="7" dur="300"/>
                                        <p:tgtEl>
                                          <p:spTgt spid="2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5"/>
                                        </p:tgtEl>
                                        <p:attrNameLst>
                                          <p:attrName>style.visibility</p:attrName>
                                        </p:attrNameLst>
                                      </p:cBhvr>
                                      <p:to>
                                        <p:strVal val="visible"/>
                                      </p:to>
                                    </p:set>
                                    <p:animEffect transition="in" filter="fade">
                                      <p:cBhvr>
                                        <p:cTn id="10" dur="300"/>
                                        <p:tgtEl>
                                          <p:spTgt spid="25"/>
                                        </p:tgtEl>
                                      </p:cBhvr>
                                    </p:animEffect>
                                  </p:childTnLst>
                                </p:cTn>
                              </p:par>
                            </p:childTnLst>
                          </p:cTn>
                        </p:par>
                        <p:par>
                          <p:cTn id="11" fill="hold">
                            <p:stCondLst>
                              <p:cond delay="500"/>
                            </p:stCondLst>
                            <p:childTnLst>
                              <p:par>
                                <p:cTn id="12" presetID="31" presetClass="entr" presetSubtype="0" fill="hold" grpId="0" nodeType="afterEffect">
                                  <p:stCondLst>
                                    <p:cond delay="0"/>
                                  </p:stCondLst>
                                  <p:childTnLst>
                                    <p:set>
                                      <p:cBhvr>
                                        <p:cTn id="13" dur="1" fill="hold">
                                          <p:stCondLst>
                                            <p:cond delay="0"/>
                                          </p:stCondLst>
                                        </p:cTn>
                                        <p:tgtEl>
                                          <p:spTgt spid="3"/>
                                        </p:tgtEl>
                                        <p:attrNameLst>
                                          <p:attrName>style.visibility</p:attrName>
                                        </p:attrNameLst>
                                      </p:cBhvr>
                                      <p:to>
                                        <p:strVal val="visible"/>
                                      </p:to>
                                    </p:set>
                                    <p:anim calcmode="lin" valueType="num">
                                      <p:cBhvr>
                                        <p:cTn id="14" dur="1000" fill="hold"/>
                                        <p:tgtEl>
                                          <p:spTgt spid="3"/>
                                        </p:tgtEl>
                                        <p:attrNameLst>
                                          <p:attrName>ppt_w</p:attrName>
                                        </p:attrNameLst>
                                      </p:cBhvr>
                                      <p:tavLst>
                                        <p:tav tm="0">
                                          <p:val>
                                            <p:fltVal val="0"/>
                                          </p:val>
                                        </p:tav>
                                        <p:tav tm="100000">
                                          <p:val>
                                            <p:strVal val="#ppt_w"/>
                                          </p:val>
                                        </p:tav>
                                      </p:tavLst>
                                    </p:anim>
                                    <p:anim calcmode="lin" valueType="num">
                                      <p:cBhvr>
                                        <p:cTn id="15" dur="1000" fill="hold"/>
                                        <p:tgtEl>
                                          <p:spTgt spid="3"/>
                                        </p:tgtEl>
                                        <p:attrNameLst>
                                          <p:attrName>ppt_h</p:attrName>
                                        </p:attrNameLst>
                                      </p:cBhvr>
                                      <p:tavLst>
                                        <p:tav tm="0">
                                          <p:val>
                                            <p:fltVal val="0"/>
                                          </p:val>
                                        </p:tav>
                                        <p:tav tm="100000">
                                          <p:val>
                                            <p:strVal val="#ppt_h"/>
                                          </p:val>
                                        </p:tav>
                                      </p:tavLst>
                                    </p:anim>
                                    <p:anim calcmode="lin" valueType="num">
                                      <p:cBhvr>
                                        <p:cTn id="16" dur="1000" fill="hold"/>
                                        <p:tgtEl>
                                          <p:spTgt spid="3"/>
                                        </p:tgtEl>
                                        <p:attrNameLst>
                                          <p:attrName>style.rotation</p:attrName>
                                        </p:attrNameLst>
                                      </p:cBhvr>
                                      <p:tavLst>
                                        <p:tav tm="0">
                                          <p:val>
                                            <p:fltVal val="90"/>
                                          </p:val>
                                        </p:tav>
                                        <p:tav tm="100000">
                                          <p:val>
                                            <p:fltVal val="0"/>
                                          </p:val>
                                        </p:tav>
                                      </p:tavLst>
                                    </p:anim>
                                    <p:animEffect transition="in" filter="fade">
                                      <p:cBhvr>
                                        <p:cTn id="17" dur="1000"/>
                                        <p:tgtEl>
                                          <p:spTgt spid="3"/>
                                        </p:tgtEl>
                                      </p:cBhvr>
                                    </p:animEffect>
                                  </p:childTnLst>
                                </p:cTn>
                              </p:par>
                              <p:par>
                                <p:cTn id="18" presetID="31" presetClass="entr" presetSubtype="0" fill="hold" grpId="0" nodeType="withEffect">
                                  <p:stCondLst>
                                    <p:cond delay="0"/>
                                  </p:stCondLst>
                                  <p:childTnLst>
                                    <p:set>
                                      <p:cBhvr>
                                        <p:cTn id="19" dur="1" fill="hold">
                                          <p:stCondLst>
                                            <p:cond delay="0"/>
                                          </p:stCondLst>
                                        </p:cTn>
                                        <p:tgtEl>
                                          <p:spTgt spid="18"/>
                                        </p:tgtEl>
                                        <p:attrNameLst>
                                          <p:attrName>style.visibility</p:attrName>
                                        </p:attrNameLst>
                                      </p:cBhvr>
                                      <p:to>
                                        <p:strVal val="visible"/>
                                      </p:to>
                                    </p:set>
                                    <p:anim calcmode="lin" valueType="num">
                                      <p:cBhvr>
                                        <p:cTn id="20" dur="1000" fill="hold"/>
                                        <p:tgtEl>
                                          <p:spTgt spid="18"/>
                                        </p:tgtEl>
                                        <p:attrNameLst>
                                          <p:attrName>ppt_w</p:attrName>
                                        </p:attrNameLst>
                                      </p:cBhvr>
                                      <p:tavLst>
                                        <p:tav tm="0">
                                          <p:val>
                                            <p:fltVal val="0"/>
                                          </p:val>
                                        </p:tav>
                                        <p:tav tm="100000">
                                          <p:val>
                                            <p:strVal val="#ppt_w"/>
                                          </p:val>
                                        </p:tav>
                                      </p:tavLst>
                                    </p:anim>
                                    <p:anim calcmode="lin" valueType="num">
                                      <p:cBhvr>
                                        <p:cTn id="21" dur="1000" fill="hold"/>
                                        <p:tgtEl>
                                          <p:spTgt spid="18"/>
                                        </p:tgtEl>
                                        <p:attrNameLst>
                                          <p:attrName>ppt_h</p:attrName>
                                        </p:attrNameLst>
                                      </p:cBhvr>
                                      <p:tavLst>
                                        <p:tav tm="0">
                                          <p:val>
                                            <p:fltVal val="0"/>
                                          </p:val>
                                        </p:tav>
                                        <p:tav tm="100000">
                                          <p:val>
                                            <p:strVal val="#ppt_h"/>
                                          </p:val>
                                        </p:tav>
                                      </p:tavLst>
                                    </p:anim>
                                    <p:anim calcmode="lin" valueType="num">
                                      <p:cBhvr>
                                        <p:cTn id="22" dur="1000" fill="hold"/>
                                        <p:tgtEl>
                                          <p:spTgt spid="18"/>
                                        </p:tgtEl>
                                        <p:attrNameLst>
                                          <p:attrName>style.rotation</p:attrName>
                                        </p:attrNameLst>
                                      </p:cBhvr>
                                      <p:tavLst>
                                        <p:tav tm="0">
                                          <p:val>
                                            <p:fltVal val="90"/>
                                          </p:val>
                                        </p:tav>
                                        <p:tav tm="100000">
                                          <p:val>
                                            <p:fltVal val="0"/>
                                          </p:val>
                                        </p:tav>
                                      </p:tavLst>
                                    </p:anim>
                                    <p:animEffect transition="in" filter="fade">
                                      <p:cBhvr>
                                        <p:cTn id="23" dur="1000"/>
                                        <p:tgtEl>
                                          <p:spTgt spid="18"/>
                                        </p:tgtEl>
                                      </p:cBhvr>
                                    </p:animEffect>
                                  </p:childTnLst>
                                </p:cTn>
                              </p:par>
                              <p:par>
                                <p:cTn id="24" presetID="31" presetClass="entr" presetSubtype="0" fill="hold" grpId="0" nodeType="withEffect">
                                  <p:stCondLst>
                                    <p:cond delay="0"/>
                                  </p:stCondLst>
                                  <p:childTnLst>
                                    <p:set>
                                      <p:cBhvr>
                                        <p:cTn id="25" dur="1" fill="hold">
                                          <p:stCondLst>
                                            <p:cond delay="0"/>
                                          </p:stCondLst>
                                        </p:cTn>
                                        <p:tgtEl>
                                          <p:spTgt spid="17"/>
                                        </p:tgtEl>
                                        <p:attrNameLst>
                                          <p:attrName>style.visibility</p:attrName>
                                        </p:attrNameLst>
                                      </p:cBhvr>
                                      <p:to>
                                        <p:strVal val="visible"/>
                                      </p:to>
                                    </p:set>
                                    <p:anim calcmode="lin" valueType="num">
                                      <p:cBhvr>
                                        <p:cTn id="26" dur="1000" fill="hold"/>
                                        <p:tgtEl>
                                          <p:spTgt spid="17"/>
                                        </p:tgtEl>
                                        <p:attrNameLst>
                                          <p:attrName>ppt_w</p:attrName>
                                        </p:attrNameLst>
                                      </p:cBhvr>
                                      <p:tavLst>
                                        <p:tav tm="0">
                                          <p:val>
                                            <p:fltVal val="0"/>
                                          </p:val>
                                        </p:tav>
                                        <p:tav tm="100000">
                                          <p:val>
                                            <p:strVal val="#ppt_w"/>
                                          </p:val>
                                        </p:tav>
                                      </p:tavLst>
                                    </p:anim>
                                    <p:anim calcmode="lin" valueType="num">
                                      <p:cBhvr>
                                        <p:cTn id="27" dur="1000" fill="hold"/>
                                        <p:tgtEl>
                                          <p:spTgt spid="17"/>
                                        </p:tgtEl>
                                        <p:attrNameLst>
                                          <p:attrName>ppt_h</p:attrName>
                                        </p:attrNameLst>
                                      </p:cBhvr>
                                      <p:tavLst>
                                        <p:tav tm="0">
                                          <p:val>
                                            <p:fltVal val="0"/>
                                          </p:val>
                                        </p:tav>
                                        <p:tav tm="100000">
                                          <p:val>
                                            <p:strVal val="#ppt_h"/>
                                          </p:val>
                                        </p:tav>
                                      </p:tavLst>
                                    </p:anim>
                                    <p:anim calcmode="lin" valueType="num">
                                      <p:cBhvr>
                                        <p:cTn id="28" dur="1000" fill="hold"/>
                                        <p:tgtEl>
                                          <p:spTgt spid="17"/>
                                        </p:tgtEl>
                                        <p:attrNameLst>
                                          <p:attrName>style.rotation</p:attrName>
                                        </p:attrNameLst>
                                      </p:cBhvr>
                                      <p:tavLst>
                                        <p:tav tm="0">
                                          <p:val>
                                            <p:fltVal val="90"/>
                                          </p:val>
                                        </p:tav>
                                        <p:tav tm="100000">
                                          <p:val>
                                            <p:fltVal val="0"/>
                                          </p:val>
                                        </p:tav>
                                      </p:tavLst>
                                    </p:anim>
                                    <p:animEffect transition="in" filter="fade">
                                      <p:cBhvr>
                                        <p:cTn id="29" dur="1000"/>
                                        <p:tgtEl>
                                          <p:spTgt spid="17"/>
                                        </p:tgtEl>
                                      </p:cBhvr>
                                    </p:animEffect>
                                  </p:childTnLst>
                                </p:cTn>
                              </p:par>
                              <p:par>
                                <p:cTn id="30" presetID="10" presetClass="entr" presetSubtype="0" fill="hold" grpId="0" nodeType="withEffect">
                                  <p:stCondLst>
                                    <p:cond delay="1000"/>
                                  </p:stCondLst>
                                  <p:childTnLst>
                                    <p:set>
                                      <p:cBhvr>
                                        <p:cTn id="31" dur="1" fill="hold">
                                          <p:stCondLst>
                                            <p:cond delay="0"/>
                                          </p:stCondLst>
                                        </p:cTn>
                                        <p:tgtEl>
                                          <p:spTgt spid="19"/>
                                        </p:tgtEl>
                                        <p:attrNameLst>
                                          <p:attrName>style.visibility</p:attrName>
                                        </p:attrNameLst>
                                      </p:cBhvr>
                                      <p:to>
                                        <p:strVal val="visible"/>
                                      </p:to>
                                    </p:set>
                                    <p:animEffect transition="in" filter="fade">
                                      <p:cBhvr>
                                        <p:cTn id="32" dur="500"/>
                                        <p:tgtEl>
                                          <p:spTgt spid="19"/>
                                        </p:tgtEl>
                                      </p:cBhvr>
                                    </p:animEffect>
                                  </p:childTnLst>
                                </p:cTn>
                              </p:par>
                              <p:par>
                                <p:cTn id="33" presetID="26" presetClass="emph" presetSubtype="0" repeatCount="2000" fill="hold" grpId="1" nodeType="withEffect">
                                  <p:stCondLst>
                                    <p:cond delay="1500"/>
                                  </p:stCondLst>
                                  <p:childTnLst>
                                    <p:animEffect transition="out" filter="fade">
                                      <p:cBhvr>
                                        <p:cTn id="34" dur="500" tmFilter="0, 0; .2, .5; .8, .5; 1, 0"/>
                                        <p:tgtEl>
                                          <p:spTgt spid="19"/>
                                        </p:tgtEl>
                                      </p:cBhvr>
                                    </p:animEffect>
                                    <p:animScale>
                                      <p:cBhvr>
                                        <p:cTn id="35" dur="250" autoRev="1" fill="hold"/>
                                        <p:tgtEl>
                                          <p:spTgt spid="19"/>
                                        </p:tgtEl>
                                      </p:cBhvr>
                                      <p:by x="105000" y="105000"/>
                                    </p:animScale>
                                  </p:childTnLst>
                                </p:cTn>
                              </p:par>
                              <p:par>
                                <p:cTn id="36" presetID="10" presetClass="entr" presetSubtype="0" fill="hold" grpId="0" nodeType="withEffect">
                                  <p:stCondLst>
                                    <p:cond delay="2000"/>
                                  </p:stCondLst>
                                  <p:childTnLst>
                                    <p:set>
                                      <p:cBhvr>
                                        <p:cTn id="37" dur="1" fill="hold">
                                          <p:stCondLst>
                                            <p:cond delay="0"/>
                                          </p:stCondLst>
                                        </p:cTn>
                                        <p:tgtEl>
                                          <p:spTgt spid="21"/>
                                        </p:tgtEl>
                                        <p:attrNameLst>
                                          <p:attrName>style.visibility</p:attrName>
                                        </p:attrNameLst>
                                      </p:cBhvr>
                                      <p:to>
                                        <p:strVal val="visible"/>
                                      </p:to>
                                    </p:set>
                                    <p:animEffect transition="in" filter="fade">
                                      <p:cBhvr>
                                        <p:cTn id="38" dur="500"/>
                                        <p:tgtEl>
                                          <p:spTgt spid="21"/>
                                        </p:tgtEl>
                                      </p:cBhvr>
                                    </p:animEffect>
                                  </p:childTnLst>
                                </p:cTn>
                              </p:par>
                              <p:par>
                                <p:cTn id="39" presetID="26" presetClass="emph" presetSubtype="0" repeatCount="2000" fill="hold" grpId="1" nodeType="withEffect">
                                  <p:stCondLst>
                                    <p:cond delay="2500"/>
                                  </p:stCondLst>
                                  <p:childTnLst>
                                    <p:animEffect transition="out" filter="fade">
                                      <p:cBhvr>
                                        <p:cTn id="40" dur="500" tmFilter="0, 0; .2, .5; .8, .5; 1, 0"/>
                                        <p:tgtEl>
                                          <p:spTgt spid="21"/>
                                        </p:tgtEl>
                                      </p:cBhvr>
                                    </p:animEffect>
                                    <p:animScale>
                                      <p:cBhvr>
                                        <p:cTn id="41" dur="250" autoRev="1" fill="hold"/>
                                        <p:tgtEl>
                                          <p:spTgt spid="21"/>
                                        </p:tgtEl>
                                      </p:cBhvr>
                                      <p:by x="105000" y="105000"/>
                                    </p:animScale>
                                  </p:childTnLst>
                                </p:cTn>
                              </p:par>
                              <p:par>
                                <p:cTn id="42" presetID="10" presetClass="entr" presetSubtype="0" fill="hold" grpId="0" nodeType="withEffect">
                                  <p:stCondLst>
                                    <p:cond delay="3000"/>
                                  </p:stCondLst>
                                  <p:childTnLst>
                                    <p:set>
                                      <p:cBhvr>
                                        <p:cTn id="43" dur="1" fill="hold">
                                          <p:stCondLst>
                                            <p:cond delay="0"/>
                                          </p:stCondLst>
                                        </p:cTn>
                                        <p:tgtEl>
                                          <p:spTgt spid="24"/>
                                        </p:tgtEl>
                                        <p:attrNameLst>
                                          <p:attrName>style.visibility</p:attrName>
                                        </p:attrNameLst>
                                      </p:cBhvr>
                                      <p:to>
                                        <p:strVal val="visible"/>
                                      </p:to>
                                    </p:set>
                                    <p:animEffect transition="in" filter="fade">
                                      <p:cBhvr>
                                        <p:cTn id="44" dur="500"/>
                                        <p:tgtEl>
                                          <p:spTgt spid="24"/>
                                        </p:tgtEl>
                                      </p:cBhvr>
                                    </p:animEffect>
                                  </p:childTnLst>
                                </p:cTn>
                              </p:par>
                              <p:par>
                                <p:cTn id="45" presetID="26" presetClass="emph" presetSubtype="0" repeatCount="2000" fill="hold" grpId="1" nodeType="withEffect">
                                  <p:stCondLst>
                                    <p:cond delay="3500"/>
                                  </p:stCondLst>
                                  <p:childTnLst>
                                    <p:animEffect transition="out" filter="fade">
                                      <p:cBhvr>
                                        <p:cTn id="46" dur="500" tmFilter="0, 0; .2, .5; .8, .5; 1, 0"/>
                                        <p:tgtEl>
                                          <p:spTgt spid="24"/>
                                        </p:tgtEl>
                                      </p:cBhvr>
                                    </p:animEffect>
                                    <p:animScale>
                                      <p:cBhvr>
                                        <p:cTn id="47" dur="250" autoRev="1" fill="hold"/>
                                        <p:tgtEl>
                                          <p:spTgt spid="24"/>
                                        </p:tgtEl>
                                      </p:cBhvr>
                                      <p:by x="105000" y="105000"/>
                                    </p:animScale>
                                  </p:childTnLst>
                                </p:cTn>
                              </p:par>
                              <p:par>
                                <p:cTn id="48" presetID="10" presetClass="entr" presetSubtype="0" fill="hold" grpId="0" nodeType="withEffect">
                                  <p:stCondLst>
                                    <p:cond delay="4000"/>
                                  </p:stCondLst>
                                  <p:childTnLst>
                                    <p:set>
                                      <p:cBhvr>
                                        <p:cTn id="49" dur="1" fill="hold">
                                          <p:stCondLst>
                                            <p:cond delay="0"/>
                                          </p:stCondLst>
                                        </p:cTn>
                                        <p:tgtEl>
                                          <p:spTgt spid="30"/>
                                        </p:tgtEl>
                                        <p:attrNameLst>
                                          <p:attrName>style.visibility</p:attrName>
                                        </p:attrNameLst>
                                      </p:cBhvr>
                                      <p:to>
                                        <p:strVal val="visible"/>
                                      </p:to>
                                    </p:set>
                                    <p:animEffect transition="in" filter="fade">
                                      <p:cBhvr>
                                        <p:cTn id="50" dur="500"/>
                                        <p:tgtEl>
                                          <p:spTgt spid="30"/>
                                        </p:tgtEl>
                                      </p:cBhvr>
                                    </p:animEffect>
                                  </p:childTnLst>
                                </p:cTn>
                              </p:par>
                              <p:par>
                                <p:cTn id="51" presetID="26" presetClass="emph" presetSubtype="0" fill="hold" grpId="1" nodeType="withEffect">
                                  <p:stCondLst>
                                    <p:cond delay="4500"/>
                                  </p:stCondLst>
                                  <p:childTnLst>
                                    <p:animEffect transition="out" filter="fade">
                                      <p:cBhvr>
                                        <p:cTn id="52" dur="500" tmFilter="0, 0; .2, .5; .8, .5; 1, 0"/>
                                        <p:tgtEl>
                                          <p:spTgt spid="30"/>
                                        </p:tgtEl>
                                      </p:cBhvr>
                                    </p:animEffect>
                                    <p:animScale>
                                      <p:cBhvr>
                                        <p:cTn id="53" dur="250" autoRev="1" fill="hold"/>
                                        <p:tgtEl>
                                          <p:spTgt spid="30"/>
                                        </p:tgtEl>
                                      </p:cBhvr>
                                      <p:by x="105000" y="105000"/>
                                    </p:animScale>
                                  </p:childTnLst>
                                </p:cTn>
                              </p:par>
                              <p:par>
                                <p:cTn id="54" presetID="14" presetClass="entr" presetSubtype="10" fill="hold" grpId="0" nodeType="withEffect">
                                  <p:stCondLst>
                                    <p:cond delay="1000"/>
                                  </p:stCondLst>
                                  <p:childTnLst>
                                    <p:set>
                                      <p:cBhvr>
                                        <p:cTn id="55" dur="1" fill="hold">
                                          <p:stCondLst>
                                            <p:cond delay="0"/>
                                          </p:stCondLst>
                                        </p:cTn>
                                        <p:tgtEl>
                                          <p:spTgt spid="9"/>
                                        </p:tgtEl>
                                        <p:attrNameLst>
                                          <p:attrName>style.visibility</p:attrName>
                                        </p:attrNameLst>
                                      </p:cBhvr>
                                      <p:to>
                                        <p:strVal val="visible"/>
                                      </p:to>
                                    </p:set>
                                    <p:animEffect transition="in" filter="randombar(horizontal)">
                                      <p:cBhvr>
                                        <p:cTn id="56" dur="500"/>
                                        <p:tgtEl>
                                          <p:spTgt spid="9"/>
                                        </p:tgtEl>
                                      </p:cBhvr>
                                    </p:animEffect>
                                  </p:childTnLst>
                                </p:cTn>
                              </p:par>
                              <p:par>
                                <p:cTn id="57" presetID="14" presetClass="entr" presetSubtype="10" fill="hold" grpId="0" nodeType="withEffect">
                                  <p:stCondLst>
                                    <p:cond delay="1000"/>
                                  </p:stCondLst>
                                  <p:childTnLst>
                                    <p:set>
                                      <p:cBhvr>
                                        <p:cTn id="58" dur="1" fill="hold">
                                          <p:stCondLst>
                                            <p:cond delay="0"/>
                                          </p:stCondLst>
                                        </p:cTn>
                                        <p:tgtEl>
                                          <p:spTgt spid="2"/>
                                        </p:tgtEl>
                                        <p:attrNameLst>
                                          <p:attrName>style.visibility</p:attrName>
                                        </p:attrNameLst>
                                      </p:cBhvr>
                                      <p:to>
                                        <p:strVal val="visible"/>
                                      </p:to>
                                    </p:set>
                                    <p:animEffect transition="in" filter="randombar(horizontal)">
                                      <p:cBhvr>
                                        <p:cTn id="59" dur="500"/>
                                        <p:tgtEl>
                                          <p:spTgt spid="2"/>
                                        </p:tgtEl>
                                      </p:cBhvr>
                                    </p:animEffect>
                                  </p:childTnLst>
                                </p:cTn>
                              </p:par>
                              <p:par>
                                <p:cTn id="60" presetID="14" presetClass="entr" presetSubtype="10" fill="hold" grpId="0" nodeType="withEffect">
                                  <p:stCondLst>
                                    <p:cond delay="2000"/>
                                  </p:stCondLst>
                                  <p:childTnLst>
                                    <p:set>
                                      <p:cBhvr>
                                        <p:cTn id="61" dur="1" fill="hold">
                                          <p:stCondLst>
                                            <p:cond delay="0"/>
                                          </p:stCondLst>
                                        </p:cTn>
                                        <p:tgtEl>
                                          <p:spTgt spid="41"/>
                                        </p:tgtEl>
                                        <p:attrNameLst>
                                          <p:attrName>style.visibility</p:attrName>
                                        </p:attrNameLst>
                                      </p:cBhvr>
                                      <p:to>
                                        <p:strVal val="visible"/>
                                      </p:to>
                                    </p:set>
                                    <p:animEffect transition="in" filter="randombar(horizontal)">
                                      <p:cBhvr>
                                        <p:cTn id="62" dur="500"/>
                                        <p:tgtEl>
                                          <p:spTgt spid="41"/>
                                        </p:tgtEl>
                                      </p:cBhvr>
                                    </p:animEffect>
                                  </p:childTnLst>
                                </p:cTn>
                              </p:par>
                              <p:par>
                                <p:cTn id="63" presetID="14" presetClass="entr" presetSubtype="10" fill="hold" grpId="0" nodeType="withEffect">
                                  <p:stCondLst>
                                    <p:cond delay="2000"/>
                                  </p:stCondLst>
                                  <p:childTnLst>
                                    <p:set>
                                      <p:cBhvr>
                                        <p:cTn id="64" dur="1" fill="hold">
                                          <p:stCondLst>
                                            <p:cond delay="0"/>
                                          </p:stCondLst>
                                        </p:cTn>
                                        <p:tgtEl>
                                          <p:spTgt spid="42"/>
                                        </p:tgtEl>
                                        <p:attrNameLst>
                                          <p:attrName>style.visibility</p:attrName>
                                        </p:attrNameLst>
                                      </p:cBhvr>
                                      <p:to>
                                        <p:strVal val="visible"/>
                                      </p:to>
                                    </p:set>
                                    <p:animEffect transition="in" filter="randombar(horizontal)">
                                      <p:cBhvr>
                                        <p:cTn id="65" dur="500"/>
                                        <p:tgtEl>
                                          <p:spTgt spid="42"/>
                                        </p:tgtEl>
                                      </p:cBhvr>
                                    </p:animEffect>
                                  </p:childTnLst>
                                </p:cTn>
                              </p:par>
                              <p:par>
                                <p:cTn id="66" presetID="14" presetClass="entr" presetSubtype="10" fill="hold" grpId="0" nodeType="withEffect">
                                  <p:stCondLst>
                                    <p:cond delay="3000"/>
                                  </p:stCondLst>
                                  <p:childTnLst>
                                    <p:set>
                                      <p:cBhvr>
                                        <p:cTn id="67" dur="1" fill="hold">
                                          <p:stCondLst>
                                            <p:cond delay="0"/>
                                          </p:stCondLst>
                                        </p:cTn>
                                        <p:tgtEl>
                                          <p:spTgt spid="43"/>
                                        </p:tgtEl>
                                        <p:attrNameLst>
                                          <p:attrName>style.visibility</p:attrName>
                                        </p:attrNameLst>
                                      </p:cBhvr>
                                      <p:to>
                                        <p:strVal val="visible"/>
                                      </p:to>
                                    </p:set>
                                    <p:animEffect transition="in" filter="randombar(horizontal)">
                                      <p:cBhvr>
                                        <p:cTn id="68" dur="500"/>
                                        <p:tgtEl>
                                          <p:spTgt spid="43"/>
                                        </p:tgtEl>
                                      </p:cBhvr>
                                    </p:animEffect>
                                  </p:childTnLst>
                                </p:cTn>
                              </p:par>
                              <p:par>
                                <p:cTn id="69" presetID="14" presetClass="entr" presetSubtype="10" fill="hold" grpId="0" nodeType="withEffect">
                                  <p:stCondLst>
                                    <p:cond delay="3000"/>
                                  </p:stCondLst>
                                  <p:childTnLst>
                                    <p:set>
                                      <p:cBhvr>
                                        <p:cTn id="70" dur="1" fill="hold">
                                          <p:stCondLst>
                                            <p:cond delay="0"/>
                                          </p:stCondLst>
                                        </p:cTn>
                                        <p:tgtEl>
                                          <p:spTgt spid="44"/>
                                        </p:tgtEl>
                                        <p:attrNameLst>
                                          <p:attrName>style.visibility</p:attrName>
                                        </p:attrNameLst>
                                      </p:cBhvr>
                                      <p:to>
                                        <p:strVal val="visible"/>
                                      </p:to>
                                    </p:set>
                                    <p:animEffect transition="in" filter="randombar(horizontal)">
                                      <p:cBhvr>
                                        <p:cTn id="71" dur="500"/>
                                        <p:tgtEl>
                                          <p:spTgt spid="44"/>
                                        </p:tgtEl>
                                      </p:cBhvr>
                                    </p:animEffect>
                                  </p:childTnLst>
                                </p:cTn>
                              </p:par>
                              <p:par>
                                <p:cTn id="72" presetID="14" presetClass="entr" presetSubtype="10" fill="hold" grpId="0" nodeType="withEffect">
                                  <p:stCondLst>
                                    <p:cond delay="4000"/>
                                  </p:stCondLst>
                                  <p:childTnLst>
                                    <p:set>
                                      <p:cBhvr>
                                        <p:cTn id="73" dur="1" fill="hold">
                                          <p:stCondLst>
                                            <p:cond delay="0"/>
                                          </p:stCondLst>
                                        </p:cTn>
                                        <p:tgtEl>
                                          <p:spTgt spid="45"/>
                                        </p:tgtEl>
                                        <p:attrNameLst>
                                          <p:attrName>style.visibility</p:attrName>
                                        </p:attrNameLst>
                                      </p:cBhvr>
                                      <p:to>
                                        <p:strVal val="visible"/>
                                      </p:to>
                                    </p:set>
                                    <p:animEffect transition="in" filter="randombar(horizontal)">
                                      <p:cBhvr>
                                        <p:cTn id="74" dur="500"/>
                                        <p:tgtEl>
                                          <p:spTgt spid="45"/>
                                        </p:tgtEl>
                                      </p:cBhvr>
                                    </p:animEffect>
                                  </p:childTnLst>
                                </p:cTn>
                              </p:par>
                              <p:par>
                                <p:cTn id="75" presetID="14" presetClass="entr" presetSubtype="10" fill="hold" grpId="0" nodeType="withEffect">
                                  <p:stCondLst>
                                    <p:cond delay="4000"/>
                                  </p:stCondLst>
                                  <p:childTnLst>
                                    <p:set>
                                      <p:cBhvr>
                                        <p:cTn id="76" dur="1" fill="hold">
                                          <p:stCondLst>
                                            <p:cond delay="0"/>
                                          </p:stCondLst>
                                        </p:cTn>
                                        <p:tgtEl>
                                          <p:spTgt spid="46"/>
                                        </p:tgtEl>
                                        <p:attrNameLst>
                                          <p:attrName>style.visibility</p:attrName>
                                        </p:attrNameLst>
                                      </p:cBhvr>
                                      <p:to>
                                        <p:strVal val="visible"/>
                                      </p:to>
                                    </p:set>
                                    <p:animEffect transition="in" filter="randombar(horizontal)">
                                      <p:cBhvr>
                                        <p:cTn id="77" dur="500"/>
                                        <p:tgtEl>
                                          <p:spTgt spid="4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2" grpId="0"/>
      <p:bldP spid="3" grpId="0" animBg="1"/>
      <p:bldP spid="17" grpId="0" animBg="1"/>
      <p:bldP spid="18" grpId="0" animBg="1"/>
      <p:bldP spid="19" grpId="0" animBg="1"/>
      <p:bldP spid="19" grpId="1" animBg="1"/>
      <p:bldP spid="21" grpId="0" animBg="1"/>
      <p:bldP spid="21" grpId="1" animBg="1"/>
      <p:bldP spid="24" grpId="0" animBg="1"/>
      <p:bldP spid="24" grpId="1" animBg="1"/>
      <p:bldP spid="30" grpId="0" animBg="1"/>
      <p:bldP spid="30" grpId="1" animBg="1"/>
      <p:bldP spid="41" grpId="0" animBg="1"/>
      <p:bldP spid="42" grpId="0"/>
      <p:bldP spid="43" grpId="0" animBg="1"/>
      <p:bldP spid="44" grpId="0"/>
      <p:bldP spid="45" grpId="0" animBg="1"/>
      <p:bldP spid="46" grpId="0"/>
      <p:bldP spid="23" grpId="0" animBg="1"/>
      <p:bldP spid="25"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6" name="组合 35"/>
          <p:cNvGrpSpPr/>
          <p:nvPr/>
        </p:nvGrpSpPr>
        <p:grpSpPr>
          <a:xfrm>
            <a:off x="2584817" y="1844824"/>
            <a:ext cx="7020779" cy="655104"/>
            <a:chOff x="2584817" y="2125824"/>
            <a:chExt cx="7020779" cy="655104"/>
          </a:xfrm>
        </p:grpSpPr>
        <p:sp>
          <p:nvSpPr>
            <p:cNvPr id="17" name="矩形 16"/>
            <p:cNvSpPr/>
            <p:nvPr/>
          </p:nvSpPr>
          <p:spPr>
            <a:xfrm>
              <a:off x="2584817" y="2125824"/>
              <a:ext cx="936104" cy="655104"/>
            </a:xfrm>
            <a:prstGeom prst="rect">
              <a:avLst/>
            </a:prstGeom>
            <a:solidFill>
              <a:srgbClr val="47A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smtClean="0">
                  <a:latin typeface="HelveticaNeueLT Pro 35 Th" pitchFamily="34" charset="0"/>
                </a:rPr>
                <a:t>1</a:t>
              </a:r>
              <a:endParaRPr lang="zh-CN" altLang="en-US" sz="3600">
                <a:latin typeface="HelveticaNeueLT Pro 35 Th" pitchFamily="34" charset="0"/>
              </a:endParaRPr>
            </a:p>
          </p:txBody>
        </p:sp>
        <p:sp>
          <p:nvSpPr>
            <p:cNvPr id="29" name="矩形 28"/>
            <p:cNvSpPr/>
            <p:nvPr/>
          </p:nvSpPr>
          <p:spPr>
            <a:xfrm>
              <a:off x="3621305" y="2125824"/>
              <a:ext cx="5984291" cy="655104"/>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smtClean="0">
                  <a:latin typeface="华文黑体" pitchFamily="2" charset="-122"/>
                  <a:ea typeface="华文黑体" pitchFamily="2" charset="-122"/>
                  <a:cs typeface="华文黑体" pitchFamily="2" charset="-122"/>
                </a:rPr>
                <a:t>                     点击添加标题</a:t>
              </a:r>
              <a:endParaRPr lang="zh-CN" altLang="en-US" sz="2800">
                <a:latin typeface="华文黑体" pitchFamily="2" charset="-122"/>
                <a:ea typeface="华文黑体" pitchFamily="2" charset="-122"/>
                <a:cs typeface="华文黑体" pitchFamily="2" charset="-122"/>
              </a:endParaRPr>
            </a:p>
          </p:txBody>
        </p:sp>
      </p:grpSp>
      <p:grpSp>
        <p:nvGrpSpPr>
          <p:cNvPr id="37" name="组合 36"/>
          <p:cNvGrpSpPr/>
          <p:nvPr/>
        </p:nvGrpSpPr>
        <p:grpSpPr>
          <a:xfrm>
            <a:off x="2584817" y="2695295"/>
            <a:ext cx="7020779" cy="655104"/>
            <a:chOff x="2584817" y="2976295"/>
            <a:chExt cx="7020779" cy="655104"/>
          </a:xfrm>
        </p:grpSpPr>
        <p:sp>
          <p:nvSpPr>
            <p:cNvPr id="26" name="矩形 25"/>
            <p:cNvSpPr/>
            <p:nvPr/>
          </p:nvSpPr>
          <p:spPr>
            <a:xfrm>
              <a:off x="2584817" y="2976295"/>
              <a:ext cx="936104" cy="655104"/>
            </a:xfrm>
            <a:prstGeom prst="rect">
              <a:avLst/>
            </a:prstGeom>
            <a:solidFill>
              <a:srgbClr val="47A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smtClean="0">
                  <a:latin typeface="HelveticaNeueLT Pro 35 Th" pitchFamily="34" charset="0"/>
                </a:rPr>
                <a:t>2</a:t>
              </a:r>
              <a:endParaRPr lang="zh-CN" altLang="en-US" sz="3600">
                <a:latin typeface="HelveticaNeueLT Pro 35 Th" pitchFamily="34" charset="0"/>
              </a:endParaRPr>
            </a:p>
          </p:txBody>
        </p:sp>
        <p:sp>
          <p:nvSpPr>
            <p:cNvPr id="30" name="矩形 29"/>
            <p:cNvSpPr/>
            <p:nvPr/>
          </p:nvSpPr>
          <p:spPr>
            <a:xfrm>
              <a:off x="3621305" y="2976295"/>
              <a:ext cx="5984291" cy="655104"/>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smtClean="0">
                  <a:latin typeface="华文黑体" pitchFamily="2" charset="-122"/>
                  <a:ea typeface="华文黑体" pitchFamily="2" charset="-122"/>
                  <a:cs typeface="华文黑体" pitchFamily="2" charset="-122"/>
                </a:rPr>
                <a:t>                     点击添加标题</a:t>
              </a:r>
              <a:endParaRPr lang="zh-CN" altLang="en-US" sz="2800">
                <a:latin typeface="华文黑体" pitchFamily="2" charset="-122"/>
                <a:ea typeface="华文黑体" pitchFamily="2" charset="-122"/>
                <a:cs typeface="华文黑体" pitchFamily="2" charset="-122"/>
              </a:endParaRPr>
            </a:p>
          </p:txBody>
        </p:sp>
      </p:grpSp>
      <p:grpSp>
        <p:nvGrpSpPr>
          <p:cNvPr id="38" name="组合 37"/>
          <p:cNvGrpSpPr/>
          <p:nvPr/>
        </p:nvGrpSpPr>
        <p:grpSpPr>
          <a:xfrm>
            <a:off x="2584817" y="3545766"/>
            <a:ext cx="7020779" cy="655104"/>
            <a:chOff x="2584817" y="3826766"/>
            <a:chExt cx="7020779" cy="655104"/>
          </a:xfrm>
        </p:grpSpPr>
        <p:sp>
          <p:nvSpPr>
            <p:cNvPr id="27" name="矩形 26"/>
            <p:cNvSpPr/>
            <p:nvPr/>
          </p:nvSpPr>
          <p:spPr>
            <a:xfrm>
              <a:off x="2584817" y="3826766"/>
              <a:ext cx="936104" cy="655104"/>
            </a:xfrm>
            <a:prstGeom prst="rect">
              <a:avLst/>
            </a:prstGeom>
            <a:solidFill>
              <a:srgbClr val="47A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smtClean="0">
                  <a:latin typeface="HelveticaNeueLT Pro 35 Th" pitchFamily="34" charset="0"/>
                </a:rPr>
                <a:t>3</a:t>
              </a:r>
              <a:endParaRPr lang="zh-CN" altLang="en-US" sz="3600">
                <a:latin typeface="HelveticaNeueLT Pro 35 Th" pitchFamily="34" charset="0"/>
              </a:endParaRPr>
            </a:p>
          </p:txBody>
        </p:sp>
        <p:sp>
          <p:nvSpPr>
            <p:cNvPr id="31" name="矩形 30"/>
            <p:cNvSpPr/>
            <p:nvPr/>
          </p:nvSpPr>
          <p:spPr>
            <a:xfrm>
              <a:off x="3621305" y="3826766"/>
              <a:ext cx="5984291" cy="655104"/>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smtClean="0">
                  <a:latin typeface="华文黑体" pitchFamily="2" charset="-122"/>
                  <a:ea typeface="华文黑体" pitchFamily="2" charset="-122"/>
                  <a:cs typeface="华文黑体" pitchFamily="2" charset="-122"/>
                </a:rPr>
                <a:t>                     点击添加标题</a:t>
              </a:r>
              <a:endParaRPr lang="zh-CN" altLang="en-US" sz="2800">
                <a:latin typeface="华文黑体" pitchFamily="2" charset="-122"/>
                <a:ea typeface="华文黑体" pitchFamily="2" charset="-122"/>
                <a:cs typeface="华文黑体" pitchFamily="2" charset="-122"/>
              </a:endParaRPr>
            </a:p>
          </p:txBody>
        </p:sp>
      </p:grpSp>
      <p:grpSp>
        <p:nvGrpSpPr>
          <p:cNvPr id="39" name="组合 38"/>
          <p:cNvGrpSpPr/>
          <p:nvPr/>
        </p:nvGrpSpPr>
        <p:grpSpPr>
          <a:xfrm>
            <a:off x="2584817" y="4396236"/>
            <a:ext cx="7020779" cy="655104"/>
            <a:chOff x="2584817" y="4677236"/>
            <a:chExt cx="7020779" cy="655104"/>
          </a:xfrm>
        </p:grpSpPr>
        <p:sp>
          <p:nvSpPr>
            <p:cNvPr id="28" name="矩形 27"/>
            <p:cNvSpPr/>
            <p:nvPr/>
          </p:nvSpPr>
          <p:spPr>
            <a:xfrm>
              <a:off x="2584817" y="4677236"/>
              <a:ext cx="936104" cy="655104"/>
            </a:xfrm>
            <a:prstGeom prst="rect">
              <a:avLst/>
            </a:prstGeom>
            <a:solidFill>
              <a:srgbClr val="47A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smtClean="0">
                  <a:latin typeface="HelveticaNeueLT Pro 35 Th" pitchFamily="34" charset="0"/>
                </a:rPr>
                <a:t>4</a:t>
              </a:r>
              <a:endParaRPr lang="zh-CN" altLang="en-US" sz="3600">
                <a:latin typeface="HelveticaNeueLT Pro 35 Th" pitchFamily="34" charset="0"/>
              </a:endParaRPr>
            </a:p>
          </p:txBody>
        </p:sp>
        <p:sp>
          <p:nvSpPr>
            <p:cNvPr id="32" name="矩形 31"/>
            <p:cNvSpPr/>
            <p:nvPr/>
          </p:nvSpPr>
          <p:spPr>
            <a:xfrm>
              <a:off x="3621305" y="4677236"/>
              <a:ext cx="5984291" cy="655104"/>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smtClean="0">
                  <a:latin typeface="华文黑体" pitchFamily="2" charset="-122"/>
                  <a:ea typeface="华文黑体" pitchFamily="2" charset="-122"/>
                  <a:cs typeface="华文黑体" pitchFamily="2" charset="-122"/>
                </a:rPr>
                <a:t>                     点击添加标题</a:t>
              </a:r>
              <a:endParaRPr lang="zh-CN" altLang="en-US" sz="2800">
                <a:latin typeface="华文黑体" pitchFamily="2" charset="-122"/>
                <a:ea typeface="华文黑体" pitchFamily="2" charset="-122"/>
                <a:cs typeface="华文黑体" pitchFamily="2" charset="-122"/>
              </a:endParaRPr>
            </a:p>
          </p:txBody>
        </p:sp>
      </p:grpSp>
      <p:grpSp>
        <p:nvGrpSpPr>
          <p:cNvPr id="40" name="组合 39"/>
          <p:cNvGrpSpPr/>
          <p:nvPr/>
        </p:nvGrpSpPr>
        <p:grpSpPr>
          <a:xfrm>
            <a:off x="2584817" y="5236232"/>
            <a:ext cx="7020779" cy="655104"/>
            <a:chOff x="2584817" y="4677236"/>
            <a:chExt cx="7020779" cy="655104"/>
          </a:xfrm>
        </p:grpSpPr>
        <p:sp>
          <p:nvSpPr>
            <p:cNvPr id="41" name="矩形 40"/>
            <p:cNvSpPr/>
            <p:nvPr/>
          </p:nvSpPr>
          <p:spPr>
            <a:xfrm>
              <a:off x="2584817" y="4677236"/>
              <a:ext cx="936104" cy="655104"/>
            </a:xfrm>
            <a:prstGeom prst="rect">
              <a:avLst/>
            </a:prstGeom>
            <a:solidFill>
              <a:srgbClr val="47A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smtClean="0">
                  <a:latin typeface="HelveticaNeueLT Pro 35 Th" pitchFamily="34" charset="0"/>
                </a:rPr>
                <a:t>5</a:t>
              </a:r>
              <a:endParaRPr lang="zh-CN" altLang="en-US" sz="3600">
                <a:latin typeface="HelveticaNeueLT Pro 35 Th" pitchFamily="34" charset="0"/>
              </a:endParaRPr>
            </a:p>
          </p:txBody>
        </p:sp>
        <p:sp>
          <p:nvSpPr>
            <p:cNvPr id="42" name="矩形 41"/>
            <p:cNvSpPr/>
            <p:nvPr/>
          </p:nvSpPr>
          <p:spPr>
            <a:xfrm>
              <a:off x="3621305" y="4677236"/>
              <a:ext cx="5984291" cy="655104"/>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smtClean="0">
                  <a:latin typeface="华文黑体" pitchFamily="2" charset="-122"/>
                  <a:ea typeface="华文黑体" pitchFamily="2" charset="-122"/>
                  <a:cs typeface="华文黑体" pitchFamily="2" charset="-122"/>
                </a:rPr>
                <a:t>                     点击添加标题</a:t>
              </a:r>
              <a:endParaRPr lang="zh-CN" altLang="en-US" sz="2800">
                <a:latin typeface="华文黑体" pitchFamily="2" charset="-122"/>
                <a:ea typeface="华文黑体" pitchFamily="2" charset="-122"/>
                <a:cs typeface="华文黑体" pitchFamily="2" charset="-122"/>
              </a:endParaRPr>
            </a:p>
          </p:txBody>
        </p:sp>
      </p:grpSp>
      <p:sp>
        <p:nvSpPr>
          <p:cNvPr id="35" name="矩形 34"/>
          <p:cNvSpPr/>
          <p:nvPr/>
        </p:nvSpPr>
        <p:spPr>
          <a:xfrm>
            <a:off x="3621305" y="5236232"/>
            <a:ext cx="5984291" cy="655104"/>
          </a:xfrm>
          <a:prstGeom prst="rect">
            <a:avLst/>
          </a:prstGeom>
          <a:solidFill>
            <a:srgbClr val="FF78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smtClean="0">
                <a:latin typeface="华文黑体" pitchFamily="2" charset="-122"/>
                <a:ea typeface="华文黑体" pitchFamily="2" charset="-122"/>
                <a:cs typeface="华文黑体" pitchFamily="2" charset="-122"/>
              </a:rPr>
              <a:t>                     点击添加标题</a:t>
            </a:r>
            <a:endParaRPr lang="zh-CN" altLang="en-US" sz="2800">
              <a:latin typeface="华文黑体" pitchFamily="2" charset="-122"/>
              <a:ea typeface="华文黑体" pitchFamily="2" charset="-122"/>
              <a:cs typeface="华文黑体" pitchFamily="2" charset="-122"/>
            </a:endParaRPr>
          </a:p>
        </p:txBody>
      </p:sp>
      <p:sp>
        <p:nvSpPr>
          <p:cNvPr id="43" name="矩形 42"/>
          <p:cNvSpPr/>
          <p:nvPr/>
        </p:nvSpPr>
        <p:spPr>
          <a:xfrm>
            <a:off x="2584817" y="5236232"/>
            <a:ext cx="936104" cy="6551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smtClean="0">
                <a:solidFill>
                  <a:srgbClr val="47A7FF"/>
                </a:solidFill>
                <a:latin typeface="HelveticaNeueLT Pro 35 Th" pitchFamily="34" charset="0"/>
              </a:rPr>
              <a:t>5</a:t>
            </a:r>
            <a:endParaRPr lang="zh-CN" altLang="en-US" sz="3600">
              <a:solidFill>
                <a:srgbClr val="47A7FF"/>
              </a:solidFill>
              <a:latin typeface="HelveticaNeueLT Pro 35 Th" pitchFamily="34" charset="0"/>
            </a:endParaRPr>
          </a:p>
        </p:txBody>
      </p:sp>
      <p:sp>
        <p:nvSpPr>
          <p:cNvPr id="24" name="圆角矩形 23"/>
          <p:cNvSpPr/>
          <p:nvPr/>
        </p:nvSpPr>
        <p:spPr>
          <a:xfrm>
            <a:off x="9772022" y="260648"/>
            <a:ext cx="1944216" cy="600163"/>
          </a:xfrm>
          <a:prstGeom prst="roundRect">
            <a:avLst/>
          </a:prstGeom>
          <a:solidFill>
            <a:srgbClr val="FFFFFF"/>
          </a:solidFill>
          <a:ln>
            <a:noFill/>
          </a:ln>
          <a:effectLst>
            <a:reflection blurRad="6350" stA="25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5" name="TextBox 24"/>
          <p:cNvSpPr txBox="1"/>
          <p:nvPr/>
        </p:nvSpPr>
        <p:spPr>
          <a:xfrm>
            <a:off x="10292725" y="260648"/>
            <a:ext cx="902811" cy="523220"/>
          </a:xfrm>
          <a:prstGeom prst="rect">
            <a:avLst/>
          </a:prstGeom>
          <a:noFill/>
        </p:spPr>
        <p:txBody>
          <a:bodyPr wrap="none" rtlCol="0" anchor="ctr">
            <a:spAutoFit/>
          </a:bodyPr>
          <a:lstStyle>
            <a:defPPr>
              <a:defRPr lang="zh-CN"/>
            </a:defPPr>
            <a:lvl1pPr algn="ctr">
              <a:defRPr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anose="02010600040101010101" pitchFamily="2" charset="-122"/>
                <a:cs typeface="华文黑体" pitchFamily="2" charset="-122"/>
              </a:defRPr>
            </a:lvl1pPr>
          </a:lstStyle>
          <a:p>
            <a:r>
              <a:rPr lang="zh-CN" altLang="en-US" sz="2800">
                <a:gradFill>
                  <a:gsLst>
                    <a:gs pos="0">
                      <a:srgbClr val="2A4DFE"/>
                    </a:gs>
                    <a:gs pos="57000">
                      <a:srgbClr val="4F92FF"/>
                    </a:gs>
                    <a:gs pos="70000">
                      <a:srgbClr val="44028C"/>
                    </a:gs>
                    <a:gs pos="100000">
                      <a:srgbClr val="FF09A7"/>
                    </a:gs>
                    <a:gs pos="83000">
                      <a:srgbClr val="B00071"/>
                    </a:gs>
                  </a:gsLst>
                  <a:lin ang="5400000" scaled="0"/>
                </a:gradFill>
              </a:rPr>
              <a:t>目录</a:t>
            </a:r>
            <a:endParaRPr lang="zh-CN" altLang="en-US" sz="2800">
              <a:gradFill>
                <a:gsLst>
                  <a:gs pos="0">
                    <a:srgbClr val="2A4DFE"/>
                  </a:gs>
                  <a:gs pos="57000">
                    <a:srgbClr val="4F92FF"/>
                  </a:gs>
                  <a:gs pos="70000">
                    <a:srgbClr val="44028C"/>
                  </a:gs>
                  <a:gs pos="100000">
                    <a:srgbClr val="FF09A7"/>
                  </a:gs>
                  <a:gs pos="83000">
                    <a:srgbClr val="B00071"/>
                  </a:gs>
                </a:gsLst>
                <a:lin ang="5400000" scaled="0"/>
              </a:gradFill>
            </a:endParaRPr>
          </a:p>
        </p:txBody>
      </p:sp>
      <p:sp>
        <p:nvSpPr>
          <p:cNvPr id="33" name="TextBox 32"/>
          <p:cNvSpPr txBox="1"/>
          <p:nvPr/>
        </p:nvSpPr>
        <p:spPr>
          <a:xfrm>
            <a:off x="7323750" y="276036"/>
            <a:ext cx="2294218" cy="584775"/>
          </a:xfrm>
          <a:prstGeom prst="rect">
            <a:avLst/>
          </a:prstGeom>
          <a:noFill/>
        </p:spPr>
        <p:txBody>
          <a:bodyPr wrap="none" rtlCol="0">
            <a:spAutoFit/>
          </a:bodyPr>
          <a:lstStyle/>
          <a:p>
            <a:pPr algn="ctr"/>
            <a:r>
              <a:rPr lang="en-US" altLang="zh-CN" sz="3200" smtClean="0">
                <a:solidFill>
                  <a:schemeClr val="bg1"/>
                </a:solidFill>
                <a:latin typeface="HelveticaNeueLT Pro 35 Th" pitchFamily="34" charset="0"/>
                <a:ea typeface="华文细黑" panose="02010600040101010101" pitchFamily="2" charset="-122"/>
                <a:cs typeface="华文黑体" pitchFamily="2" charset="-122"/>
              </a:rPr>
              <a:t>CONTENTS</a:t>
            </a:r>
            <a:endParaRPr lang="zh-CN" altLang="en-US" sz="3200">
              <a:solidFill>
                <a:schemeClr val="bg1"/>
              </a:solidFill>
              <a:latin typeface="HelveticaNeueLT Pro 35 Th" pitchFamily="34" charset="0"/>
              <a:ea typeface="华文细黑" panose="02010600040101010101" pitchFamily="2" charset="-122"/>
              <a:cs typeface="华文黑体" pitchFamily="2" charset="-122"/>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4"/>
                                        </p:tgtEl>
                                        <p:attrNameLst>
                                          <p:attrName>style.visibility</p:attrName>
                                        </p:attrNameLst>
                                      </p:cBhvr>
                                      <p:to>
                                        <p:strVal val="visible"/>
                                      </p:to>
                                    </p:set>
                                    <p:animEffect transition="in" filter="fade">
                                      <p:cBhvr>
                                        <p:cTn id="7" dur="300"/>
                                        <p:tgtEl>
                                          <p:spTgt spid="2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5"/>
                                        </p:tgtEl>
                                        <p:attrNameLst>
                                          <p:attrName>style.visibility</p:attrName>
                                        </p:attrNameLst>
                                      </p:cBhvr>
                                      <p:to>
                                        <p:strVal val="visible"/>
                                      </p:to>
                                    </p:set>
                                    <p:animEffect transition="in" filter="fade">
                                      <p:cBhvr>
                                        <p:cTn id="10" dur="300"/>
                                        <p:tgtEl>
                                          <p:spTgt spid="25"/>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3"/>
                                        </p:tgtEl>
                                        <p:attrNameLst>
                                          <p:attrName>style.visibility</p:attrName>
                                        </p:attrNameLst>
                                      </p:cBhvr>
                                      <p:to>
                                        <p:strVal val="visible"/>
                                      </p:to>
                                    </p:set>
                                    <p:animEffect transition="in" filter="fade">
                                      <p:cBhvr>
                                        <p:cTn id="13" dur="300"/>
                                        <p:tgtEl>
                                          <p:spTgt spid="33"/>
                                        </p:tgtEl>
                                      </p:cBhvr>
                                    </p:animEffect>
                                  </p:childTnLst>
                                </p:cTn>
                              </p:par>
                            </p:childTnLst>
                          </p:cTn>
                        </p:par>
                        <p:par>
                          <p:cTn id="14" fill="hold">
                            <p:stCondLst>
                              <p:cond delay="500"/>
                            </p:stCondLst>
                            <p:childTnLst>
                              <p:par>
                                <p:cTn id="15" presetID="22" presetClass="entr" presetSubtype="1" fill="hold" grpId="0" nodeType="afterEffect">
                                  <p:stCondLst>
                                    <p:cond delay="0"/>
                                  </p:stCondLst>
                                  <p:childTnLst>
                                    <p:set>
                                      <p:cBhvr>
                                        <p:cTn id="16" dur="1" fill="hold">
                                          <p:stCondLst>
                                            <p:cond delay="0"/>
                                          </p:stCondLst>
                                        </p:cTn>
                                        <p:tgtEl>
                                          <p:spTgt spid="43"/>
                                        </p:tgtEl>
                                        <p:attrNameLst>
                                          <p:attrName>style.visibility</p:attrName>
                                        </p:attrNameLst>
                                      </p:cBhvr>
                                      <p:to>
                                        <p:strVal val="visible"/>
                                      </p:to>
                                    </p:set>
                                    <p:animEffect transition="in" filter="wipe(up)">
                                      <p:cBhvr>
                                        <p:cTn id="17" dur="500"/>
                                        <p:tgtEl>
                                          <p:spTgt spid="43"/>
                                        </p:tgtEl>
                                      </p:cBhvr>
                                    </p:animEffect>
                                  </p:childTnLst>
                                </p:cTn>
                              </p:par>
                              <p:par>
                                <p:cTn id="18" presetID="22" presetClass="entr" presetSubtype="2" fill="hold" grpId="0" nodeType="withEffect">
                                  <p:stCondLst>
                                    <p:cond delay="0"/>
                                  </p:stCondLst>
                                  <p:childTnLst>
                                    <p:set>
                                      <p:cBhvr>
                                        <p:cTn id="19" dur="1" fill="hold">
                                          <p:stCondLst>
                                            <p:cond delay="0"/>
                                          </p:stCondLst>
                                        </p:cTn>
                                        <p:tgtEl>
                                          <p:spTgt spid="35"/>
                                        </p:tgtEl>
                                        <p:attrNameLst>
                                          <p:attrName>style.visibility</p:attrName>
                                        </p:attrNameLst>
                                      </p:cBhvr>
                                      <p:to>
                                        <p:strVal val="visible"/>
                                      </p:to>
                                    </p:set>
                                    <p:animEffect transition="in" filter="wipe(right)">
                                      <p:cBhvr>
                                        <p:cTn id="20" dur="5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 grpId="0" animBg="1"/>
      <p:bldP spid="43" grpId="0" animBg="1"/>
      <p:bldP spid="24" grpId="0" animBg="1"/>
      <p:bldP spid="25" grpId="0"/>
      <p:bldP spid="33"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矩形 33" hidden="1"/>
          <p:cNvSpPr/>
          <p:nvPr/>
        </p:nvSpPr>
        <p:spPr>
          <a:xfrm>
            <a:off x="2584817" y="2133288"/>
            <a:ext cx="936104" cy="6551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smtClean="0">
                <a:solidFill>
                  <a:srgbClr val="B0F533"/>
                </a:solidFill>
                <a:latin typeface="Gill Sans MT Pro Light" pitchFamily="34" charset="0"/>
              </a:rPr>
              <a:t>1</a:t>
            </a:r>
            <a:endParaRPr lang="zh-CN" altLang="en-US" sz="3600">
              <a:solidFill>
                <a:srgbClr val="B0F533"/>
              </a:solidFill>
              <a:latin typeface="Gill Sans MT Pro Light" pitchFamily="34" charset="0"/>
            </a:endParaRPr>
          </a:p>
        </p:txBody>
      </p:sp>
      <p:sp>
        <p:nvSpPr>
          <p:cNvPr id="35" name="矩形 34" hidden="1"/>
          <p:cNvSpPr/>
          <p:nvPr/>
        </p:nvSpPr>
        <p:spPr>
          <a:xfrm>
            <a:off x="3621305" y="2133288"/>
            <a:ext cx="5984291" cy="655104"/>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smtClean="0">
                <a:latin typeface="华文黑体" pitchFamily="2" charset="-122"/>
                <a:ea typeface="华文黑体" pitchFamily="2" charset="-122"/>
                <a:cs typeface="华文黑体" pitchFamily="2" charset="-122"/>
              </a:rPr>
              <a:t>                     点击添加标题</a:t>
            </a:r>
            <a:endParaRPr lang="zh-CN" altLang="en-US" sz="2800">
              <a:latin typeface="华文黑体" pitchFamily="2" charset="-122"/>
              <a:ea typeface="华文黑体" pitchFamily="2" charset="-122"/>
              <a:cs typeface="华文黑体" pitchFamily="2" charset="-122"/>
            </a:endParaRPr>
          </a:p>
        </p:txBody>
      </p:sp>
      <p:sp>
        <p:nvSpPr>
          <p:cNvPr id="4" name="圆角矩形 3"/>
          <p:cNvSpPr/>
          <p:nvPr/>
        </p:nvSpPr>
        <p:spPr>
          <a:xfrm>
            <a:off x="2308187" y="1556792"/>
            <a:ext cx="6732748" cy="504056"/>
          </a:xfrm>
          <a:prstGeom prst="roundRect">
            <a:avLst>
              <a:gd name="adj" fmla="val 50000"/>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 name="等腰三角形 5"/>
          <p:cNvSpPr/>
          <p:nvPr/>
        </p:nvSpPr>
        <p:spPr>
          <a:xfrm rot="5400000">
            <a:off x="9172531" y="1731199"/>
            <a:ext cx="180081" cy="155242"/>
          </a:xfrm>
          <a:prstGeom prst="triangle">
            <a:avLst/>
          </a:prstGeom>
          <a:solidFill>
            <a:srgbClr val="FF78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0" name="圆角矩形 19"/>
          <p:cNvSpPr/>
          <p:nvPr/>
        </p:nvSpPr>
        <p:spPr>
          <a:xfrm>
            <a:off x="2308187" y="1556792"/>
            <a:ext cx="1683187" cy="504056"/>
          </a:xfrm>
          <a:prstGeom prst="roundRect">
            <a:avLst>
              <a:gd name="adj" fmla="val 50000"/>
            </a:avLst>
          </a:prstGeom>
          <a:solidFill>
            <a:srgbClr val="FF78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 name="矩形 6"/>
          <p:cNvSpPr/>
          <p:nvPr/>
        </p:nvSpPr>
        <p:spPr>
          <a:xfrm>
            <a:off x="9340193" y="1577988"/>
            <a:ext cx="766557" cy="461665"/>
          </a:xfrm>
          <a:prstGeom prst="rect">
            <a:avLst/>
          </a:prstGeom>
        </p:spPr>
        <p:txBody>
          <a:bodyPr wrap="none">
            <a:spAutoFit/>
          </a:bodyPr>
          <a:lstStyle/>
          <a:p>
            <a:pPr algn="ctr"/>
            <a:r>
              <a:rPr lang="en-US" altLang="zh-CN" sz="2400" smtClean="0">
                <a:solidFill>
                  <a:schemeClr val="bg1"/>
                </a:solidFill>
                <a:latin typeface="HelveticaNeueLT Pro 35 Th" pitchFamily="34" charset="0"/>
              </a:rPr>
              <a:t>25%</a:t>
            </a:r>
            <a:endParaRPr lang="zh-CN" altLang="en-US" sz="2400">
              <a:solidFill>
                <a:schemeClr val="bg1"/>
              </a:solidFill>
              <a:latin typeface="HelveticaNeueLT Pro 35 Th" pitchFamily="34" charset="0"/>
            </a:endParaRPr>
          </a:p>
        </p:txBody>
      </p:sp>
      <p:sp>
        <p:nvSpPr>
          <p:cNvPr id="2" name="椭圆 1"/>
          <p:cNvSpPr/>
          <p:nvPr/>
        </p:nvSpPr>
        <p:spPr>
          <a:xfrm>
            <a:off x="1912143" y="1412776"/>
            <a:ext cx="792088" cy="79208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46800" rIns="46800" rtlCol="0" anchor="ctr" anchorCtr="1"/>
          <a:lstStyle/>
          <a:p>
            <a:pPr algn="ctr"/>
            <a:r>
              <a:rPr lang="zh-CN" altLang="en-US" smtClean="0">
                <a:solidFill>
                  <a:schemeClr val="tx1"/>
                </a:solidFill>
                <a:latin typeface="华文细黑" panose="02010600040101010101" pitchFamily="2" charset="-122"/>
                <a:ea typeface="华文细黑" panose="02010600040101010101" pitchFamily="2" charset="-122"/>
              </a:rPr>
              <a:t>标题</a:t>
            </a:r>
            <a:endParaRPr lang="zh-CN" altLang="en-US">
              <a:solidFill>
                <a:schemeClr val="tx1"/>
              </a:solidFill>
              <a:latin typeface="华文细黑" panose="02010600040101010101" pitchFamily="2" charset="-122"/>
              <a:ea typeface="华文细黑" panose="02010600040101010101" pitchFamily="2" charset="-122"/>
            </a:endParaRPr>
          </a:p>
        </p:txBody>
      </p:sp>
      <p:sp>
        <p:nvSpPr>
          <p:cNvPr id="21" name="圆角矩形 20"/>
          <p:cNvSpPr/>
          <p:nvPr/>
        </p:nvSpPr>
        <p:spPr>
          <a:xfrm>
            <a:off x="2308187" y="2492896"/>
            <a:ext cx="6732748" cy="504056"/>
          </a:xfrm>
          <a:prstGeom prst="roundRect">
            <a:avLst>
              <a:gd name="adj" fmla="val 50000"/>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3" name="等腰三角形 22"/>
          <p:cNvSpPr/>
          <p:nvPr/>
        </p:nvSpPr>
        <p:spPr>
          <a:xfrm rot="5400000">
            <a:off x="9172531" y="2667303"/>
            <a:ext cx="180081" cy="155242"/>
          </a:xfrm>
          <a:prstGeom prst="triangle">
            <a:avLst/>
          </a:prstGeom>
          <a:solidFill>
            <a:srgbClr val="FF78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4" name="圆角矩形 23"/>
          <p:cNvSpPr/>
          <p:nvPr/>
        </p:nvSpPr>
        <p:spPr>
          <a:xfrm>
            <a:off x="2308187" y="2492896"/>
            <a:ext cx="3366374" cy="504056"/>
          </a:xfrm>
          <a:prstGeom prst="roundRect">
            <a:avLst>
              <a:gd name="adj" fmla="val 50000"/>
            </a:avLst>
          </a:prstGeom>
          <a:solidFill>
            <a:srgbClr val="FF78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5" name="矩形 24"/>
          <p:cNvSpPr/>
          <p:nvPr/>
        </p:nvSpPr>
        <p:spPr>
          <a:xfrm>
            <a:off x="9340193" y="2514092"/>
            <a:ext cx="766557" cy="461665"/>
          </a:xfrm>
          <a:prstGeom prst="rect">
            <a:avLst/>
          </a:prstGeom>
        </p:spPr>
        <p:txBody>
          <a:bodyPr wrap="none">
            <a:spAutoFit/>
          </a:bodyPr>
          <a:lstStyle/>
          <a:p>
            <a:pPr algn="ctr"/>
            <a:r>
              <a:rPr lang="en-US" altLang="zh-CN" sz="2400" smtClean="0">
                <a:solidFill>
                  <a:schemeClr val="bg1"/>
                </a:solidFill>
                <a:latin typeface="HelveticaNeueLT Pro 35 Th" pitchFamily="34" charset="0"/>
              </a:rPr>
              <a:t>50%</a:t>
            </a:r>
            <a:endParaRPr lang="zh-CN" altLang="en-US" sz="2400">
              <a:solidFill>
                <a:schemeClr val="bg1"/>
              </a:solidFill>
              <a:latin typeface="HelveticaNeueLT Pro 35 Th" pitchFamily="34" charset="0"/>
            </a:endParaRPr>
          </a:p>
        </p:txBody>
      </p:sp>
      <p:sp>
        <p:nvSpPr>
          <p:cNvPr id="26" name="椭圆 25"/>
          <p:cNvSpPr/>
          <p:nvPr/>
        </p:nvSpPr>
        <p:spPr>
          <a:xfrm>
            <a:off x="1912143" y="2348880"/>
            <a:ext cx="792088" cy="79208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46800" rIns="46800" rtlCol="0" anchor="ctr" anchorCtr="1"/>
          <a:lstStyle/>
          <a:p>
            <a:pPr algn="ctr"/>
            <a:r>
              <a:rPr lang="zh-CN" altLang="en-US" smtClean="0">
                <a:solidFill>
                  <a:schemeClr val="tx1"/>
                </a:solidFill>
                <a:latin typeface="华文细黑" panose="02010600040101010101" pitchFamily="2" charset="-122"/>
                <a:ea typeface="华文细黑" panose="02010600040101010101" pitchFamily="2" charset="-122"/>
              </a:rPr>
              <a:t>标题</a:t>
            </a:r>
            <a:endParaRPr lang="zh-CN" altLang="en-US">
              <a:solidFill>
                <a:schemeClr val="tx1"/>
              </a:solidFill>
              <a:latin typeface="华文细黑" panose="02010600040101010101" pitchFamily="2" charset="-122"/>
              <a:ea typeface="华文细黑" panose="02010600040101010101" pitchFamily="2" charset="-122"/>
            </a:endParaRPr>
          </a:p>
        </p:txBody>
      </p:sp>
      <p:sp>
        <p:nvSpPr>
          <p:cNvPr id="27" name="圆角矩形 26"/>
          <p:cNvSpPr/>
          <p:nvPr/>
        </p:nvSpPr>
        <p:spPr>
          <a:xfrm>
            <a:off x="2308187" y="3429000"/>
            <a:ext cx="6732748" cy="504056"/>
          </a:xfrm>
          <a:prstGeom prst="roundRect">
            <a:avLst>
              <a:gd name="adj" fmla="val 50000"/>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8" name="等腰三角形 27"/>
          <p:cNvSpPr/>
          <p:nvPr/>
        </p:nvSpPr>
        <p:spPr>
          <a:xfrm rot="5400000">
            <a:off x="9172531" y="3603407"/>
            <a:ext cx="180081" cy="155242"/>
          </a:xfrm>
          <a:prstGeom prst="triangle">
            <a:avLst/>
          </a:prstGeom>
          <a:solidFill>
            <a:srgbClr val="FF78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9" name="圆角矩形 28"/>
          <p:cNvSpPr/>
          <p:nvPr/>
        </p:nvSpPr>
        <p:spPr>
          <a:xfrm>
            <a:off x="2308187" y="3429000"/>
            <a:ext cx="5076564" cy="504056"/>
          </a:xfrm>
          <a:prstGeom prst="roundRect">
            <a:avLst>
              <a:gd name="adj" fmla="val 50000"/>
            </a:avLst>
          </a:prstGeom>
          <a:solidFill>
            <a:srgbClr val="FF78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0" name="矩形 29"/>
          <p:cNvSpPr/>
          <p:nvPr/>
        </p:nvSpPr>
        <p:spPr>
          <a:xfrm>
            <a:off x="9340193" y="3450196"/>
            <a:ext cx="766557" cy="461665"/>
          </a:xfrm>
          <a:prstGeom prst="rect">
            <a:avLst/>
          </a:prstGeom>
        </p:spPr>
        <p:txBody>
          <a:bodyPr wrap="none">
            <a:spAutoFit/>
          </a:bodyPr>
          <a:lstStyle/>
          <a:p>
            <a:pPr algn="ctr"/>
            <a:r>
              <a:rPr lang="en-US" altLang="zh-CN" sz="2400" smtClean="0">
                <a:solidFill>
                  <a:schemeClr val="bg1"/>
                </a:solidFill>
                <a:latin typeface="HelveticaNeueLT Pro 35 Th" pitchFamily="34" charset="0"/>
              </a:rPr>
              <a:t>75%</a:t>
            </a:r>
            <a:endParaRPr lang="zh-CN" altLang="en-US" sz="2400">
              <a:solidFill>
                <a:schemeClr val="bg1"/>
              </a:solidFill>
              <a:latin typeface="HelveticaNeueLT Pro 35 Th" pitchFamily="34" charset="0"/>
            </a:endParaRPr>
          </a:p>
        </p:txBody>
      </p:sp>
      <p:sp>
        <p:nvSpPr>
          <p:cNvPr id="31" name="椭圆 30"/>
          <p:cNvSpPr/>
          <p:nvPr/>
        </p:nvSpPr>
        <p:spPr>
          <a:xfrm>
            <a:off x="1912143" y="3284984"/>
            <a:ext cx="792088" cy="79208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46800" rIns="46800" rtlCol="0" anchor="ctr" anchorCtr="1"/>
          <a:lstStyle/>
          <a:p>
            <a:pPr algn="ctr"/>
            <a:r>
              <a:rPr lang="zh-CN" altLang="en-US" smtClean="0">
                <a:solidFill>
                  <a:schemeClr val="tx1"/>
                </a:solidFill>
                <a:latin typeface="华文细黑" panose="02010600040101010101" pitchFamily="2" charset="-122"/>
                <a:ea typeface="华文细黑" panose="02010600040101010101" pitchFamily="2" charset="-122"/>
              </a:rPr>
              <a:t>标题</a:t>
            </a:r>
            <a:endParaRPr lang="zh-CN" altLang="en-US">
              <a:solidFill>
                <a:schemeClr val="tx1"/>
              </a:solidFill>
              <a:latin typeface="华文细黑" panose="02010600040101010101" pitchFamily="2" charset="-122"/>
              <a:ea typeface="华文细黑" panose="02010600040101010101" pitchFamily="2" charset="-122"/>
            </a:endParaRPr>
          </a:p>
        </p:txBody>
      </p:sp>
      <p:sp>
        <p:nvSpPr>
          <p:cNvPr id="32" name="圆角矩形 31"/>
          <p:cNvSpPr/>
          <p:nvPr/>
        </p:nvSpPr>
        <p:spPr>
          <a:xfrm>
            <a:off x="2308187" y="4365104"/>
            <a:ext cx="6732748" cy="504056"/>
          </a:xfrm>
          <a:prstGeom prst="roundRect">
            <a:avLst>
              <a:gd name="adj" fmla="val 50000"/>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3" name="等腰三角形 32"/>
          <p:cNvSpPr/>
          <p:nvPr/>
        </p:nvSpPr>
        <p:spPr>
          <a:xfrm rot="5400000">
            <a:off x="9172531" y="4539511"/>
            <a:ext cx="180081" cy="155242"/>
          </a:xfrm>
          <a:prstGeom prst="triangle">
            <a:avLst/>
          </a:prstGeom>
          <a:solidFill>
            <a:srgbClr val="FF78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6" name="圆角矩形 35"/>
          <p:cNvSpPr/>
          <p:nvPr/>
        </p:nvSpPr>
        <p:spPr>
          <a:xfrm>
            <a:off x="2308187" y="4365104"/>
            <a:ext cx="6732748" cy="504056"/>
          </a:xfrm>
          <a:prstGeom prst="roundRect">
            <a:avLst>
              <a:gd name="adj" fmla="val 50000"/>
            </a:avLst>
          </a:prstGeom>
          <a:solidFill>
            <a:srgbClr val="FF78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7" name="矩形 36"/>
          <p:cNvSpPr/>
          <p:nvPr/>
        </p:nvSpPr>
        <p:spPr>
          <a:xfrm>
            <a:off x="9340193" y="4386300"/>
            <a:ext cx="938077" cy="461665"/>
          </a:xfrm>
          <a:prstGeom prst="rect">
            <a:avLst/>
          </a:prstGeom>
        </p:spPr>
        <p:txBody>
          <a:bodyPr wrap="none">
            <a:spAutoFit/>
          </a:bodyPr>
          <a:lstStyle/>
          <a:p>
            <a:pPr algn="ctr"/>
            <a:r>
              <a:rPr lang="en-US" altLang="zh-CN" sz="2400" smtClean="0">
                <a:solidFill>
                  <a:schemeClr val="bg1"/>
                </a:solidFill>
                <a:latin typeface="HelveticaNeueLT Pro 35 Th" pitchFamily="34" charset="0"/>
              </a:rPr>
              <a:t>100%</a:t>
            </a:r>
            <a:endParaRPr lang="zh-CN" altLang="en-US" sz="2400">
              <a:solidFill>
                <a:schemeClr val="bg1"/>
              </a:solidFill>
              <a:latin typeface="HelveticaNeueLT Pro 35 Th" pitchFamily="34" charset="0"/>
            </a:endParaRPr>
          </a:p>
        </p:txBody>
      </p:sp>
      <p:sp>
        <p:nvSpPr>
          <p:cNvPr id="38" name="椭圆 37"/>
          <p:cNvSpPr/>
          <p:nvPr/>
        </p:nvSpPr>
        <p:spPr>
          <a:xfrm>
            <a:off x="1912143" y="4221088"/>
            <a:ext cx="792088" cy="79208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46800" rIns="46800" rtlCol="0" anchor="ctr" anchorCtr="1"/>
          <a:lstStyle/>
          <a:p>
            <a:pPr algn="ctr"/>
            <a:r>
              <a:rPr lang="zh-CN" altLang="en-US" smtClean="0">
                <a:solidFill>
                  <a:schemeClr val="tx1"/>
                </a:solidFill>
                <a:latin typeface="华文细黑" panose="02010600040101010101" pitchFamily="2" charset="-122"/>
                <a:ea typeface="华文细黑" panose="02010600040101010101" pitchFamily="2" charset="-122"/>
              </a:rPr>
              <a:t>标题</a:t>
            </a:r>
            <a:endParaRPr lang="zh-CN" altLang="en-US">
              <a:solidFill>
                <a:schemeClr val="tx1"/>
              </a:solidFill>
              <a:latin typeface="华文细黑" panose="02010600040101010101" pitchFamily="2" charset="-122"/>
              <a:ea typeface="华文细黑" panose="02010600040101010101" pitchFamily="2" charset="-122"/>
            </a:endParaRPr>
          </a:p>
        </p:txBody>
      </p:sp>
      <p:sp>
        <p:nvSpPr>
          <p:cNvPr id="39" name="TextBox 38"/>
          <p:cNvSpPr txBox="1"/>
          <p:nvPr/>
        </p:nvSpPr>
        <p:spPr>
          <a:xfrm>
            <a:off x="2487210" y="5261138"/>
            <a:ext cx="1951812" cy="400110"/>
          </a:xfrm>
          <a:prstGeom prst="rect">
            <a:avLst/>
          </a:prstGeom>
          <a:noFill/>
        </p:spPr>
        <p:txBody>
          <a:bodyPr wrap="square" rtlCol="0">
            <a:spAutoFit/>
          </a:bodyPr>
          <a:lstStyle/>
          <a:p>
            <a:r>
              <a:rPr lang="zh-CN" altLang="en-US" sz="2000" smtClean="0">
                <a:solidFill>
                  <a:schemeClr val="bg1"/>
                </a:solidFill>
                <a:latin typeface="华文黑体" pitchFamily="2" charset="-122"/>
                <a:ea typeface="华文黑体" pitchFamily="2" charset="-122"/>
                <a:cs typeface="华文黑体" pitchFamily="2" charset="-122"/>
              </a:rPr>
              <a:t>单击添加标题</a:t>
            </a:r>
            <a:endParaRPr lang="zh-CN" altLang="en-US" sz="2000">
              <a:solidFill>
                <a:schemeClr val="bg1"/>
              </a:solidFill>
              <a:latin typeface="华文细黑" panose="02010600040101010101" pitchFamily="2" charset="-122"/>
              <a:ea typeface="华文细黑" panose="02010600040101010101" pitchFamily="2" charset="-122"/>
              <a:cs typeface="华文黑体" pitchFamily="2" charset="-122"/>
            </a:endParaRPr>
          </a:p>
        </p:txBody>
      </p:sp>
      <p:sp>
        <p:nvSpPr>
          <p:cNvPr id="40" name="TextBox 39"/>
          <p:cNvSpPr txBox="1"/>
          <p:nvPr/>
        </p:nvSpPr>
        <p:spPr>
          <a:xfrm>
            <a:off x="1912143" y="5804972"/>
            <a:ext cx="8448959" cy="523220"/>
          </a:xfrm>
          <a:prstGeom prst="rect">
            <a:avLst/>
          </a:prstGeom>
          <a:noFill/>
        </p:spPr>
        <p:txBody>
          <a:bodyPr wrap="square" rtlCol="0">
            <a:spAutoFit/>
          </a:bodyPr>
          <a:lstStyle/>
          <a:p>
            <a:r>
              <a:rPr lang="zh-CN" altLang="en-US" sz="1400">
                <a:solidFill>
                  <a:schemeClr val="bg1"/>
                </a:solidFill>
                <a:latin typeface="华文细黑" panose="02010600040101010101" pitchFamily="2" charset="-122"/>
                <a:ea typeface="华文细黑" panose="02010600040101010101" pitchFamily="2" charset="-122"/>
                <a:cs typeface="华文黑体" pitchFamily="2" charset="-122"/>
              </a:rPr>
              <a:t>单击添加文本单击添加文本单击添加文本单击添加文本单击添加文本单击添加文本单击添加</a:t>
            </a:r>
            <a:r>
              <a:rPr lang="zh-CN" altLang="en-US" sz="1400" smtClean="0">
                <a:solidFill>
                  <a:schemeClr val="bg1"/>
                </a:solidFill>
                <a:latin typeface="华文细黑" panose="02010600040101010101" pitchFamily="2" charset="-122"/>
                <a:ea typeface="华文细黑" panose="02010600040101010101" pitchFamily="2" charset="-122"/>
                <a:cs typeface="华文黑体" pitchFamily="2" charset="-122"/>
              </a:rPr>
              <a:t>文本</a:t>
            </a:r>
            <a:r>
              <a:rPr lang="zh-CN" altLang="en-US" sz="1400">
                <a:solidFill>
                  <a:schemeClr val="bg1"/>
                </a:solidFill>
                <a:latin typeface="华文细黑" panose="02010600040101010101" pitchFamily="2" charset="-122"/>
                <a:ea typeface="华文细黑" panose="02010600040101010101" pitchFamily="2" charset="-122"/>
                <a:cs typeface="华文黑体" pitchFamily="2" charset="-122"/>
              </a:rPr>
              <a:t>单击添加文本单击添加文本单击添加文本单击添加文本单击添加文本单击添加文本单击添加</a:t>
            </a:r>
            <a:r>
              <a:rPr lang="zh-CN" altLang="en-US" sz="1400" smtClean="0">
                <a:solidFill>
                  <a:schemeClr val="bg1"/>
                </a:solidFill>
                <a:latin typeface="华文细黑" panose="02010600040101010101" pitchFamily="2" charset="-122"/>
                <a:ea typeface="华文细黑" panose="02010600040101010101" pitchFamily="2" charset="-122"/>
                <a:cs typeface="华文黑体" pitchFamily="2" charset="-122"/>
              </a:rPr>
              <a:t>文本</a:t>
            </a:r>
            <a:endParaRPr lang="zh-CN" altLang="en-US" sz="1400">
              <a:solidFill>
                <a:schemeClr val="bg1"/>
              </a:solidFill>
              <a:latin typeface="华文细黑" panose="02010600040101010101" pitchFamily="2" charset="-122"/>
              <a:ea typeface="华文细黑" panose="02010600040101010101" pitchFamily="2" charset="-122"/>
              <a:cs typeface="华文黑体" pitchFamily="2" charset="-122"/>
            </a:endParaRPr>
          </a:p>
        </p:txBody>
      </p:sp>
      <p:sp>
        <p:nvSpPr>
          <p:cNvPr id="41" name="Freeform 88"/>
          <p:cNvSpPr>
            <a:spLocks noEditPoints="1"/>
          </p:cNvSpPr>
          <p:nvPr/>
        </p:nvSpPr>
        <p:spPr bwMode="auto">
          <a:xfrm>
            <a:off x="2013744" y="5216953"/>
            <a:ext cx="444411" cy="444295"/>
          </a:xfrm>
          <a:custGeom>
            <a:avLst/>
            <a:gdLst>
              <a:gd name="T0" fmla="*/ 207 w 414"/>
              <a:gd name="T1" fmla="*/ 0 h 414"/>
              <a:gd name="T2" fmla="*/ 0 w 414"/>
              <a:gd name="T3" fmla="*/ 207 h 414"/>
              <a:gd name="T4" fmla="*/ 207 w 414"/>
              <a:gd name="T5" fmla="*/ 414 h 414"/>
              <a:gd name="T6" fmla="*/ 414 w 414"/>
              <a:gd name="T7" fmla="*/ 207 h 414"/>
              <a:gd name="T8" fmla="*/ 207 w 414"/>
              <a:gd name="T9" fmla="*/ 0 h 414"/>
              <a:gd name="T10" fmla="*/ 207 w 414"/>
              <a:gd name="T11" fmla="*/ 399 h 414"/>
              <a:gd name="T12" fmla="*/ 15 w 414"/>
              <a:gd name="T13" fmla="*/ 207 h 414"/>
              <a:gd name="T14" fmla="*/ 207 w 414"/>
              <a:gd name="T15" fmla="*/ 15 h 414"/>
              <a:gd name="T16" fmla="*/ 399 w 414"/>
              <a:gd name="T17" fmla="*/ 207 h 414"/>
              <a:gd name="T18" fmla="*/ 207 w 414"/>
              <a:gd name="T19" fmla="*/ 399 h 414"/>
              <a:gd name="T20" fmla="*/ 299 w 414"/>
              <a:gd name="T21" fmla="*/ 174 h 414"/>
              <a:gd name="T22" fmla="*/ 314 w 414"/>
              <a:gd name="T23" fmla="*/ 174 h 414"/>
              <a:gd name="T24" fmla="*/ 314 w 414"/>
              <a:gd name="T25" fmla="*/ 307 h 414"/>
              <a:gd name="T26" fmla="*/ 306 w 414"/>
              <a:gd name="T27" fmla="*/ 314 h 414"/>
              <a:gd name="T28" fmla="*/ 173 w 414"/>
              <a:gd name="T29" fmla="*/ 314 h 414"/>
              <a:gd name="T30" fmla="*/ 173 w 414"/>
              <a:gd name="T31" fmla="*/ 300 h 414"/>
              <a:gd name="T32" fmla="*/ 288 w 414"/>
              <a:gd name="T33" fmla="*/ 300 h 414"/>
              <a:gd name="T34" fmla="*/ 108 w 414"/>
              <a:gd name="T35" fmla="*/ 120 h 414"/>
              <a:gd name="T36" fmla="*/ 119 w 414"/>
              <a:gd name="T37" fmla="*/ 109 h 414"/>
              <a:gd name="T38" fmla="*/ 299 w 414"/>
              <a:gd name="T39" fmla="*/ 289 h 414"/>
              <a:gd name="T40" fmla="*/ 299 w 414"/>
              <a:gd name="T41" fmla="*/ 174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4" h="414">
                <a:moveTo>
                  <a:pt x="207" y="0"/>
                </a:moveTo>
                <a:cubicBezTo>
                  <a:pt x="93" y="0"/>
                  <a:pt x="0" y="93"/>
                  <a:pt x="0" y="207"/>
                </a:cubicBezTo>
                <a:cubicBezTo>
                  <a:pt x="0" y="321"/>
                  <a:pt x="93" y="414"/>
                  <a:pt x="207" y="414"/>
                </a:cubicBezTo>
                <a:cubicBezTo>
                  <a:pt x="321" y="414"/>
                  <a:pt x="414" y="321"/>
                  <a:pt x="414" y="207"/>
                </a:cubicBezTo>
                <a:cubicBezTo>
                  <a:pt x="414" y="93"/>
                  <a:pt x="321" y="0"/>
                  <a:pt x="207" y="0"/>
                </a:cubicBezTo>
                <a:close/>
                <a:moveTo>
                  <a:pt x="207" y="399"/>
                </a:moveTo>
                <a:cubicBezTo>
                  <a:pt x="101" y="399"/>
                  <a:pt x="15" y="313"/>
                  <a:pt x="15" y="207"/>
                </a:cubicBezTo>
                <a:cubicBezTo>
                  <a:pt x="15" y="101"/>
                  <a:pt x="101" y="15"/>
                  <a:pt x="207" y="15"/>
                </a:cubicBezTo>
                <a:cubicBezTo>
                  <a:pt x="313" y="15"/>
                  <a:pt x="399" y="101"/>
                  <a:pt x="399" y="207"/>
                </a:cubicBezTo>
                <a:cubicBezTo>
                  <a:pt x="399" y="313"/>
                  <a:pt x="313" y="399"/>
                  <a:pt x="207" y="399"/>
                </a:cubicBezTo>
                <a:close/>
                <a:moveTo>
                  <a:pt x="299" y="174"/>
                </a:moveTo>
                <a:cubicBezTo>
                  <a:pt x="314" y="174"/>
                  <a:pt x="314" y="174"/>
                  <a:pt x="314" y="174"/>
                </a:cubicBezTo>
                <a:cubicBezTo>
                  <a:pt x="314" y="307"/>
                  <a:pt x="314" y="307"/>
                  <a:pt x="314" y="307"/>
                </a:cubicBezTo>
                <a:cubicBezTo>
                  <a:pt x="314" y="311"/>
                  <a:pt x="310" y="314"/>
                  <a:pt x="306" y="314"/>
                </a:cubicBezTo>
                <a:cubicBezTo>
                  <a:pt x="173" y="314"/>
                  <a:pt x="173" y="314"/>
                  <a:pt x="173" y="314"/>
                </a:cubicBezTo>
                <a:cubicBezTo>
                  <a:pt x="173" y="300"/>
                  <a:pt x="173" y="300"/>
                  <a:pt x="173" y="300"/>
                </a:cubicBezTo>
                <a:cubicBezTo>
                  <a:pt x="288" y="300"/>
                  <a:pt x="288" y="300"/>
                  <a:pt x="288" y="300"/>
                </a:cubicBezTo>
                <a:cubicBezTo>
                  <a:pt x="108" y="120"/>
                  <a:pt x="108" y="120"/>
                  <a:pt x="108" y="120"/>
                </a:cubicBezTo>
                <a:cubicBezTo>
                  <a:pt x="119" y="109"/>
                  <a:pt x="119" y="109"/>
                  <a:pt x="119" y="109"/>
                </a:cubicBezTo>
                <a:cubicBezTo>
                  <a:pt x="299" y="289"/>
                  <a:pt x="299" y="289"/>
                  <a:pt x="299" y="289"/>
                </a:cubicBezTo>
                <a:lnTo>
                  <a:pt x="299" y="174"/>
                </a:lnTo>
                <a:close/>
              </a:path>
            </a:pathLst>
          </a:custGeom>
          <a:solidFill>
            <a:schemeClr val="bg1"/>
          </a:solidFill>
          <a:ln>
            <a:noFill/>
          </a:ln>
        </p:spPr>
        <p:txBody>
          <a:bodyPr vert="horz" wrap="square" lIns="68571" tIns="34286" rIns="68571" bIns="34286" numCol="1" anchor="t" anchorCtr="0" compatLnSpc="1"/>
          <a:lstStyle/>
          <a:p>
            <a:endParaRPr lang="en-US"/>
          </a:p>
        </p:txBody>
      </p:sp>
      <p:cxnSp>
        <p:nvCxnSpPr>
          <p:cNvPr id="42" name="直接连接符 41"/>
          <p:cNvCxnSpPr/>
          <p:nvPr/>
        </p:nvCxnSpPr>
        <p:spPr>
          <a:xfrm>
            <a:off x="2032168" y="5752128"/>
            <a:ext cx="8246102" cy="0"/>
          </a:xfrm>
          <a:prstGeom prst="line">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sp>
        <p:nvSpPr>
          <p:cNvPr id="43" name="圆角矩形 42"/>
          <p:cNvSpPr/>
          <p:nvPr/>
        </p:nvSpPr>
        <p:spPr>
          <a:xfrm>
            <a:off x="8894702" y="260648"/>
            <a:ext cx="2673112" cy="600163"/>
          </a:xfrm>
          <a:prstGeom prst="roundRect">
            <a:avLst/>
          </a:prstGeom>
          <a:solidFill>
            <a:srgbClr val="FFFFFF"/>
          </a:solidFill>
          <a:ln>
            <a:noFill/>
          </a:ln>
          <a:effectLst>
            <a:reflection blurRad="6350" stA="25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4" name="TextBox 43"/>
          <p:cNvSpPr txBox="1"/>
          <p:nvPr/>
        </p:nvSpPr>
        <p:spPr>
          <a:xfrm>
            <a:off x="9061707" y="260648"/>
            <a:ext cx="2339102" cy="523220"/>
          </a:xfrm>
          <a:prstGeom prst="rect">
            <a:avLst/>
          </a:prstGeom>
          <a:noFill/>
        </p:spPr>
        <p:txBody>
          <a:bodyPr wrap="none" rtlCol="0" anchor="ctr">
            <a:spAutoFit/>
          </a:bodyPr>
          <a:lstStyle>
            <a:defPPr>
              <a:defRPr lang="zh-CN"/>
            </a:defPPr>
            <a:lvl1pPr algn="ctr">
              <a:defRPr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anose="02010600040101010101" pitchFamily="2" charset="-122"/>
                <a:cs typeface="华文黑体" pitchFamily="2" charset="-122"/>
              </a:defRPr>
            </a:lvl1pPr>
          </a:lstStyle>
          <a:p>
            <a:r>
              <a:rPr lang="zh-CN" altLang="en-US" sz="2800"/>
              <a:t>点击添加标题</a:t>
            </a:r>
            <a:endParaRPr lang="zh-CN" altLang="en-US" sz="280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43"/>
                                        </p:tgtEl>
                                        <p:attrNameLst>
                                          <p:attrName>style.visibility</p:attrName>
                                        </p:attrNameLst>
                                      </p:cBhvr>
                                      <p:to>
                                        <p:strVal val="visible"/>
                                      </p:to>
                                    </p:set>
                                    <p:animEffect transition="in" filter="fade">
                                      <p:cBhvr>
                                        <p:cTn id="7" dur="300"/>
                                        <p:tgtEl>
                                          <p:spTgt spid="4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4"/>
                                        </p:tgtEl>
                                        <p:attrNameLst>
                                          <p:attrName>style.visibility</p:attrName>
                                        </p:attrNameLst>
                                      </p:cBhvr>
                                      <p:to>
                                        <p:strVal val="visible"/>
                                      </p:to>
                                    </p:set>
                                    <p:animEffect transition="in" filter="fade">
                                      <p:cBhvr>
                                        <p:cTn id="10" dur="300"/>
                                        <p:tgtEl>
                                          <p:spTgt spid="44"/>
                                        </p:tgtEl>
                                      </p:cBhvr>
                                    </p:animEffect>
                                  </p:childTnLst>
                                </p:cTn>
                              </p:par>
                            </p:childTnLst>
                          </p:cTn>
                        </p:par>
                        <p:par>
                          <p:cTn id="11" fill="hold">
                            <p:stCondLst>
                              <p:cond delay="500"/>
                            </p:stCondLst>
                            <p:childTnLst>
                              <p:par>
                                <p:cTn id="12" presetID="53" presetClass="entr" presetSubtype="16" fill="hold" grpId="0" nodeType="afterEffect">
                                  <p:stCondLst>
                                    <p:cond delay="0"/>
                                  </p:stCondLst>
                                  <p:childTnLst>
                                    <p:set>
                                      <p:cBhvr>
                                        <p:cTn id="13" dur="1" fill="hold">
                                          <p:stCondLst>
                                            <p:cond delay="0"/>
                                          </p:stCondLst>
                                        </p:cTn>
                                        <p:tgtEl>
                                          <p:spTgt spid="2"/>
                                        </p:tgtEl>
                                        <p:attrNameLst>
                                          <p:attrName>style.visibility</p:attrName>
                                        </p:attrNameLst>
                                      </p:cBhvr>
                                      <p:to>
                                        <p:strVal val="visible"/>
                                      </p:to>
                                    </p:set>
                                    <p:anim calcmode="lin" valueType="num">
                                      <p:cBhvr>
                                        <p:cTn id="14" dur="500" fill="hold"/>
                                        <p:tgtEl>
                                          <p:spTgt spid="2"/>
                                        </p:tgtEl>
                                        <p:attrNameLst>
                                          <p:attrName>ppt_w</p:attrName>
                                        </p:attrNameLst>
                                      </p:cBhvr>
                                      <p:tavLst>
                                        <p:tav tm="0">
                                          <p:val>
                                            <p:fltVal val="0"/>
                                          </p:val>
                                        </p:tav>
                                        <p:tav tm="100000">
                                          <p:val>
                                            <p:strVal val="#ppt_w"/>
                                          </p:val>
                                        </p:tav>
                                      </p:tavLst>
                                    </p:anim>
                                    <p:anim calcmode="lin" valueType="num">
                                      <p:cBhvr>
                                        <p:cTn id="15" dur="500" fill="hold"/>
                                        <p:tgtEl>
                                          <p:spTgt spid="2"/>
                                        </p:tgtEl>
                                        <p:attrNameLst>
                                          <p:attrName>ppt_h</p:attrName>
                                        </p:attrNameLst>
                                      </p:cBhvr>
                                      <p:tavLst>
                                        <p:tav tm="0">
                                          <p:val>
                                            <p:fltVal val="0"/>
                                          </p:val>
                                        </p:tav>
                                        <p:tav tm="100000">
                                          <p:val>
                                            <p:strVal val="#ppt_h"/>
                                          </p:val>
                                        </p:tav>
                                      </p:tavLst>
                                    </p:anim>
                                    <p:animEffect transition="in" filter="fade">
                                      <p:cBhvr>
                                        <p:cTn id="16" dur="500"/>
                                        <p:tgtEl>
                                          <p:spTgt spid="2"/>
                                        </p:tgtEl>
                                      </p:cBhvr>
                                    </p:animEffect>
                                  </p:childTnLst>
                                </p:cTn>
                              </p:par>
                              <p:par>
                                <p:cTn id="17" presetID="53" presetClass="entr" presetSubtype="16" fill="hold" grpId="0" nodeType="withEffect">
                                  <p:stCondLst>
                                    <p:cond delay="0"/>
                                  </p:stCondLst>
                                  <p:childTnLst>
                                    <p:set>
                                      <p:cBhvr>
                                        <p:cTn id="18" dur="1" fill="hold">
                                          <p:stCondLst>
                                            <p:cond delay="0"/>
                                          </p:stCondLst>
                                        </p:cTn>
                                        <p:tgtEl>
                                          <p:spTgt spid="26"/>
                                        </p:tgtEl>
                                        <p:attrNameLst>
                                          <p:attrName>style.visibility</p:attrName>
                                        </p:attrNameLst>
                                      </p:cBhvr>
                                      <p:to>
                                        <p:strVal val="visible"/>
                                      </p:to>
                                    </p:set>
                                    <p:anim calcmode="lin" valueType="num">
                                      <p:cBhvr>
                                        <p:cTn id="19" dur="500" fill="hold"/>
                                        <p:tgtEl>
                                          <p:spTgt spid="26"/>
                                        </p:tgtEl>
                                        <p:attrNameLst>
                                          <p:attrName>ppt_w</p:attrName>
                                        </p:attrNameLst>
                                      </p:cBhvr>
                                      <p:tavLst>
                                        <p:tav tm="0">
                                          <p:val>
                                            <p:fltVal val="0"/>
                                          </p:val>
                                        </p:tav>
                                        <p:tav tm="100000">
                                          <p:val>
                                            <p:strVal val="#ppt_w"/>
                                          </p:val>
                                        </p:tav>
                                      </p:tavLst>
                                    </p:anim>
                                    <p:anim calcmode="lin" valueType="num">
                                      <p:cBhvr>
                                        <p:cTn id="20" dur="500" fill="hold"/>
                                        <p:tgtEl>
                                          <p:spTgt spid="26"/>
                                        </p:tgtEl>
                                        <p:attrNameLst>
                                          <p:attrName>ppt_h</p:attrName>
                                        </p:attrNameLst>
                                      </p:cBhvr>
                                      <p:tavLst>
                                        <p:tav tm="0">
                                          <p:val>
                                            <p:fltVal val="0"/>
                                          </p:val>
                                        </p:tav>
                                        <p:tav tm="100000">
                                          <p:val>
                                            <p:strVal val="#ppt_h"/>
                                          </p:val>
                                        </p:tav>
                                      </p:tavLst>
                                    </p:anim>
                                    <p:animEffect transition="in" filter="fade">
                                      <p:cBhvr>
                                        <p:cTn id="21" dur="500"/>
                                        <p:tgtEl>
                                          <p:spTgt spid="26"/>
                                        </p:tgtEl>
                                      </p:cBhvr>
                                    </p:animEffect>
                                  </p:childTnLst>
                                </p:cTn>
                              </p:par>
                              <p:par>
                                <p:cTn id="22" presetID="53" presetClass="entr" presetSubtype="16" fill="hold" grpId="0" nodeType="withEffect">
                                  <p:stCondLst>
                                    <p:cond delay="0"/>
                                  </p:stCondLst>
                                  <p:childTnLst>
                                    <p:set>
                                      <p:cBhvr>
                                        <p:cTn id="23" dur="1" fill="hold">
                                          <p:stCondLst>
                                            <p:cond delay="0"/>
                                          </p:stCondLst>
                                        </p:cTn>
                                        <p:tgtEl>
                                          <p:spTgt spid="31"/>
                                        </p:tgtEl>
                                        <p:attrNameLst>
                                          <p:attrName>style.visibility</p:attrName>
                                        </p:attrNameLst>
                                      </p:cBhvr>
                                      <p:to>
                                        <p:strVal val="visible"/>
                                      </p:to>
                                    </p:set>
                                    <p:anim calcmode="lin" valueType="num">
                                      <p:cBhvr>
                                        <p:cTn id="24" dur="500" fill="hold"/>
                                        <p:tgtEl>
                                          <p:spTgt spid="31"/>
                                        </p:tgtEl>
                                        <p:attrNameLst>
                                          <p:attrName>ppt_w</p:attrName>
                                        </p:attrNameLst>
                                      </p:cBhvr>
                                      <p:tavLst>
                                        <p:tav tm="0">
                                          <p:val>
                                            <p:fltVal val="0"/>
                                          </p:val>
                                        </p:tav>
                                        <p:tav tm="100000">
                                          <p:val>
                                            <p:strVal val="#ppt_w"/>
                                          </p:val>
                                        </p:tav>
                                      </p:tavLst>
                                    </p:anim>
                                    <p:anim calcmode="lin" valueType="num">
                                      <p:cBhvr>
                                        <p:cTn id="25" dur="500" fill="hold"/>
                                        <p:tgtEl>
                                          <p:spTgt spid="31"/>
                                        </p:tgtEl>
                                        <p:attrNameLst>
                                          <p:attrName>ppt_h</p:attrName>
                                        </p:attrNameLst>
                                      </p:cBhvr>
                                      <p:tavLst>
                                        <p:tav tm="0">
                                          <p:val>
                                            <p:fltVal val="0"/>
                                          </p:val>
                                        </p:tav>
                                        <p:tav tm="100000">
                                          <p:val>
                                            <p:strVal val="#ppt_h"/>
                                          </p:val>
                                        </p:tav>
                                      </p:tavLst>
                                    </p:anim>
                                    <p:animEffect transition="in" filter="fade">
                                      <p:cBhvr>
                                        <p:cTn id="26" dur="500"/>
                                        <p:tgtEl>
                                          <p:spTgt spid="31"/>
                                        </p:tgtEl>
                                      </p:cBhvr>
                                    </p:animEffect>
                                  </p:childTnLst>
                                </p:cTn>
                              </p:par>
                              <p:par>
                                <p:cTn id="27" presetID="53" presetClass="entr" presetSubtype="16" fill="hold" grpId="0" nodeType="withEffect">
                                  <p:stCondLst>
                                    <p:cond delay="0"/>
                                  </p:stCondLst>
                                  <p:childTnLst>
                                    <p:set>
                                      <p:cBhvr>
                                        <p:cTn id="28" dur="1" fill="hold">
                                          <p:stCondLst>
                                            <p:cond delay="0"/>
                                          </p:stCondLst>
                                        </p:cTn>
                                        <p:tgtEl>
                                          <p:spTgt spid="38"/>
                                        </p:tgtEl>
                                        <p:attrNameLst>
                                          <p:attrName>style.visibility</p:attrName>
                                        </p:attrNameLst>
                                      </p:cBhvr>
                                      <p:to>
                                        <p:strVal val="visible"/>
                                      </p:to>
                                    </p:set>
                                    <p:anim calcmode="lin" valueType="num">
                                      <p:cBhvr>
                                        <p:cTn id="29" dur="500" fill="hold"/>
                                        <p:tgtEl>
                                          <p:spTgt spid="38"/>
                                        </p:tgtEl>
                                        <p:attrNameLst>
                                          <p:attrName>ppt_w</p:attrName>
                                        </p:attrNameLst>
                                      </p:cBhvr>
                                      <p:tavLst>
                                        <p:tav tm="0">
                                          <p:val>
                                            <p:fltVal val="0"/>
                                          </p:val>
                                        </p:tav>
                                        <p:tav tm="100000">
                                          <p:val>
                                            <p:strVal val="#ppt_w"/>
                                          </p:val>
                                        </p:tav>
                                      </p:tavLst>
                                    </p:anim>
                                    <p:anim calcmode="lin" valueType="num">
                                      <p:cBhvr>
                                        <p:cTn id="30" dur="500" fill="hold"/>
                                        <p:tgtEl>
                                          <p:spTgt spid="38"/>
                                        </p:tgtEl>
                                        <p:attrNameLst>
                                          <p:attrName>ppt_h</p:attrName>
                                        </p:attrNameLst>
                                      </p:cBhvr>
                                      <p:tavLst>
                                        <p:tav tm="0">
                                          <p:val>
                                            <p:fltVal val="0"/>
                                          </p:val>
                                        </p:tav>
                                        <p:tav tm="100000">
                                          <p:val>
                                            <p:strVal val="#ppt_h"/>
                                          </p:val>
                                        </p:tav>
                                      </p:tavLst>
                                    </p:anim>
                                    <p:animEffect transition="in" filter="fade">
                                      <p:cBhvr>
                                        <p:cTn id="31" dur="500"/>
                                        <p:tgtEl>
                                          <p:spTgt spid="38"/>
                                        </p:tgtEl>
                                      </p:cBhvr>
                                    </p:animEffect>
                                  </p:childTnLst>
                                </p:cTn>
                              </p:par>
                            </p:childTnLst>
                          </p:cTn>
                        </p:par>
                        <p:par>
                          <p:cTn id="32" fill="hold">
                            <p:stCondLst>
                              <p:cond delay="1000"/>
                            </p:stCondLst>
                            <p:childTnLst>
                              <p:par>
                                <p:cTn id="33" presetID="10" presetClass="entr" presetSubtype="0" fill="hold" grpId="0" nodeType="afterEffect">
                                  <p:stCondLst>
                                    <p:cond delay="0"/>
                                  </p:stCondLst>
                                  <p:childTnLst>
                                    <p:set>
                                      <p:cBhvr>
                                        <p:cTn id="34" dur="1" fill="hold">
                                          <p:stCondLst>
                                            <p:cond delay="0"/>
                                          </p:stCondLst>
                                        </p:cTn>
                                        <p:tgtEl>
                                          <p:spTgt spid="32"/>
                                        </p:tgtEl>
                                        <p:attrNameLst>
                                          <p:attrName>style.visibility</p:attrName>
                                        </p:attrNameLst>
                                      </p:cBhvr>
                                      <p:to>
                                        <p:strVal val="visible"/>
                                      </p:to>
                                    </p:set>
                                    <p:animEffect transition="in" filter="fade">
                                      <p:cBhvr>
                                        <p:cTn id="35" dur="500"/>
                                        <p:tgtEl>
                                          <p:spTgt spid="32"/>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27"/>
                                        </p:tgtEl>
                                        <p:attrNameLst>
                                          <p:attrName>style.visibility</p:attrName>
                                        </p:attrNameLst>
                                      </p:cBhvr>
                                      <p:to>
                                        <p:strVal val="visible"/>
                                      </p:to>
                                    </p:set>
                                    <p:animEffect transition="in" filter="fade">
                                      <p:cBhvr>
                                        <p:cTn id="38" dur="500"/>
                                        <p:tgtEl>
                                          <p:spTgt spid="27"/>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21"/>
                                        </p:tgtEl>
                                        <p:attrNameLst>
                                          <p:attrName>style.visibility</p:attrName>
                                        </p:attrNameLst>
                                      </p:cBhvr>
                                      <p:to>
                                        <p:strVal val="visible"/>
                                      </p:to>
                                    </p:set>
                                    <p:animEffect transition="in" filter="fade">
                                      <p:cBhvr>
                                        <p:cTn id="41" dur="500"/>
                                        <p:tgtEl>
                                          <p:spTgt spid="21"/>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4"/>
                                        </p:tgtEl>
                                        <p:attrNameLst>
                                          <p:attrName>style.visibility</p:attrName>
                                        </p:attrNameLst>
                                      </p:cBhvr>
                                      <p:to>
                                        <p:strVal val="visible"/>
                                      </p:to>
                                    </p:set>
                                    <p:animEffect transition="in" filter="fade">
                                      <p:cBhvr>
                                        <p:cTn id="44" dur="500"/>
                                        <p:tgtEl>
                                          <p:spTgt spid="4"/>
                                        </p:tgtEl>
                                      </p:cBhvr>
                                    </p:animEffect>
                                  </p:childTnLst>
                                </p:cTn>
                              </p:par>
                            </p:childTnLst>
                          </p:cTn>
                        </p:par>
                        <p:par>
                          <p:cTn id="45" fill="hold">
                            <p:stCondLst>
                              <p:cond delay="1500"/>
                            </p:stCondLst>
                            <p:childTnLst>
                              <p:par>
                                <p:cTn id="46" presetID="22" presetClass="entr" presetSubtype="8" fill="hold" grpId="0" nodeType="afterEffect">
                                  <p:stCondLst>
                                    <p:cond delay="0"/>
                                  </p:stCondLst>
                                  <p:childTnLst>
                                    <p:set>
                                      <p:cBhvr>
                                        <p:cTn id="47" dur="1" fill="hold">
                                          <p:stCondLst>
                                            <p:cond delay="0"/>
                                          </p:stCondLst>
                                        </p:cTn>
                                        <p:tgtEl>
                                          <p:spTgt spid="20"/>
                                        </p:tgtEl>
                                        <p:attrNameLst>
                                          <p:attrName>style.visibility</p:attrName>
                                        </p:attrNameLst>
                                      </p:cBhvr>
                                      <p:to>
                                        <p:strVal val="visible"/>
                                      </p:to>
                                    </p:set>
                                    <p:animEffect transition="in" filter="wipe(left)">
                                      <p:cBhvr>
                                        <p:cTn id="48" dur="500"/>
                                        <p:tgtEl>
                                          <p:spTgt spid="20"/>
                                        </p:tgtEl>
                                      </p:cBhvr>
                                    </p:animEffect>
                                  </p:childTnLst>
                                </p:cTn>
                              </p:par>
                            </p:childTnLst>
                          </p:cTn>
                        </p:par>
                        <p:par>
                          <p:cTn id="49" fill="hold">
                            <p:stCondLst>
                              <p:cond delay="2000"/>
                            </p:stCondLst>
                            <p:childTnLst>
                              <p:par>
                                <p:cTn id="50" presetID="22" presetClass="entr" presetSubtype="8" fill="hold" grpId="0" nodeType="afterEffect">
                                  <p:stCondLst>
                                    <p:cond delay="0"/>
                                  </p:stCondLst>
                                  <p:childTnLst>
                                    <p:set>
                                      <p:cBhvr>
                                        <p:cTn id="51" dur="1" fill="hold">
                                          <p:stCondLst>
                                            <p:cond delay="0"/>
                                          </p:stCondLst>
                                        </p:cTn>
                                        <p:tgtEl>
                                          <p:spTgt spid="24"/>
                                        </p:tgtEl>
                                        <p:attrNameLst>
                                          <p:attrName>style.visibility</p:attrName>
                                        </p:attrNameLst>
                                      </p:cBhvr>
                                      <p:to>
                                        <p:strVal val="visible"/>
                                      </p:to>
                                    </p:set>
                                    <p:animEffect transition="in" filter="wipe(left)">
                                      <p:cBhvr>
                                        <p:cTn id="52" dur="500"/>
                                        <p:tgtEl>
                                          <p:spTgt spid="24"/>
                                        </p:tgtEl>
                                      </p:cBhvr>
                                    </p:animEffect>
                                  </p:childTnLst>
                                </p:cTn>
                              </p:par>
                            </p:childTnLst>
                          </p:cTn>
                        </p:par>
                        <p:par>
                          <p:cTn id="53" fill="hold">
                            <p:stCondLst>
                              <p:cond delay="2500"/>
                            </p:stCondLst>
                            <p:childTnLst>
                              <p:par>
                                <p:cTn id="54" presetID="22" presetClass="entr" presetSubtype="8" fill="hold" grpId="0" nodeType="afterEffect">
                                  <p:stCondLst>
                                    <p:cond delay="0"/>
                                  </p:stCondLst>
                                  <p:childTnLst>
                                    <p:set>
                                      <p:cBhvr>
                                        <p:cTn id="55" dur="1" fill="hold">
                                          <p:stCondLst>
                                            <p:cond delay="0"/>
                                          </p:stCondLst>
                                        </p:cTn>
                                        <p:tgtEl>
                                          <p:spTgt spid="29"/>
                                        </p:tgtEl>
                                        <p:attrNameLst>
                                          <p:attrName>style.visibility</p:attrName>
                                        </p:attrNameLst>
                                      </p:cBhvr>
                                      <p:to>
                                        <p:strVal val="visible"/>
                                      </p:to>
                                    </p:set>
                                    <p:animEffect transition="in" filter="wipe(left)">
                                      <p:cBhvr>
                                        <p:cTn id="56" dur="500"/>
                                        <p:tgtEl>
                                          <p:spTgt spid="29"/>
                                        </p:tgtEl>
                                      </p:cBhvr>
                                    </p:animEffect>
                                  </p:childTnLst>
                                </p:cTn>
                              </p:par>
                            </p:childTnLst>
                          </p:cTn>
                        </p:par>
                        <p:par>
                          <p:cTn id="57" fill="hold">
                            <p:stCondLst>
                              <p:cond delay="3000"/>
                            </p:stCondLst>
                            <p:childTnLst>
                              <p:par>
                                <p:cTn id="58" presetID="22" presetClass="entr" presetSubtype="8" fill="hold" grpId="0" nodeType="afterEffect">
                                  <p:stCondLst>
                                    <p:cond delay="0"/>
                                  </p:stCondLst>
                                  <p:childTnLst>
                                    <p:set>
                                      <p:cBhvr>
                                        <p:cTn id="59" dur="1" fill="hold">
                                          <p:stCondLst>
                                            <p:cond delay="0"/>
                                          </p:stCondLst>
                                        </p:cTn>
                                        <p:tgtEl>
                                          <p:spTgt spid="36"/>
                                        </p:tgtEl>
                                        <p:attrNameLst>
                                          <p:attrName>style.visibility</p:attrName>
                                        </p:attrNameLst>
                                      </p:cBhvr>
                                      <p:to>
                                        <p:strVal val="visible"/>
                                      </p:to>
                                    </p:set>
                                    <p:animEffect transition="in" filter="wipe(left)">
                                      <p:cBhvr>
                                        <p:cTn id="60" dur="500"/>
                                        <p:tgtEl>
                                          <p:spTgt spid="36"/>
                                        </p:tgtEl>
                                      </p:cBhvr>
                                    </p:animEffect>
                                  </p:childTnLst>
                                </p:cTn>
                              </p:par>
                            </p:childTnLst>
                          </p:cTn>
                        </p:par>
                        <p:par>
                          <p:cTn id="61" fill="hold">
                            <p:stCondLst>
                              <p:cond delay="3500"/>
                            </p:stCondLst>
                            <p:childTnLst>
                              <p:par>
                                <p:cTn id="62" presetID="2" presetClass="entr" presetSubtype="4" fill="hold" grpId="0" nodeType="afterEffect">
                                  <p:stCondLst>
                                    <p:cond delay="0"/>
                                  </p:stCondLst>
                                  <p:childTnLst>
                                    <p:set>
                                      <p:cBhvr>
                                        <p:cTn id="63" dur="1" fill="hold">
                                          <p:stCondLst>
                                            <p:cond delay="0"/>
                                          </p:stCondLst>
                                        </p:cTn>
                                        <p:tgtEl>
                                          <p:spTgt spid="6"/>
                                        </p:tgtEl>
                                        <p:attrNameLst>
                                          <p:attrName>style.visibility</p:attrName>
                                        </p:attrNameLst>
                                      </p:cBhvr>
                                      <p:to>
                                        <p:strVal val="visible"/>
                                      </p:to>
                                    </p:set>
                                    <p:anim calcmode="lin" valueType="num">
                                      <p:cBhvr additive="base">
                                        <p:cTn id="64" dur="500" fill="hold"/>
                                        <p:tgtEl>
                                          <p:spTgt spid="6"/>
                                        </p:tgtEl>
                                        <p:attrNameLst>
                                          <p:attrName>ppt_x</p:attrName>
                                        </p:attrNameLst>
                                      </p:cBhvr>
                                      <p:tavLst>
                                        <p:tav tm="0">
                                          <p:val>
                                            <p:strVal val="#ppt_x"/>
                                          </p:val>
                                        </p:tav>
                                        <p:tav tm="100000">
                                          <p:val>
                                            <p:strVal val="#ppt_x"/>
                                          </p:val>
                                        </p:tav>
                                      </p:tavLst>
                                    </p:anim>
                                    <p:anim calcmode="lin" valueType="num">
                                      <p:cBhvr additive="base">
                                        <p:cTn id="65" dur="500" fill="hold"/>
                                        <p:tgtEl>
                                          <p:spTgt spid="6"/>
                                        </p:tgtEl>
                                        <p:attrNameLst>
                                          <p:attrName>ppt_y</p:attrName>
                                        </p:attrNameLst>
                                      </p:cBhvr>
                                      <p:tavLst>
                                        <p:tav tm="0">
                                          <p:val>
                                            <p:strVal val="1+#ppt_h/2"/>
                                          </p:val>
                                        </p:tav>
                                        <p:tav tm="100000">
                                          <p:val>
                                            <p:strVal val="#ppt_y"/>
                                          </p:val>
                                        </p:tav>
                                      </p:tavLst>
                                    </p:anim>
                                  </p:childTnLst>
                                </p:cTn>
                              </p:par>
                              <p:par>
                                <p:cTn id="66" presetID="2" presetClass="entr" presetSubtype="4" fill="hold" grpId="0" nodeType="withEffect">
                                  <p:stCondLst>
                                    <p:cond delay="0"/>
                                  </p:stCondLst>
                                  <p:childTnLst>
                                    <p:set>
                                      <p:cBhvr>
                                        <p:cTn id="67" dur="1" fill="hold">
                                          <p:stCondLst>
                                            <p:cond delay="0"/>
                                          </p:stCondLst>
                                        </p:cTn>
                                        <p:tgtEl>
                                          <p:spTgt spid="7"/>
                                        </p:tgtEl>
                                        <p:attrNameLst>
                                          <p:attrName>style.visibility</p:attrName>
                                        </p:attrNameLst>
                                      </p:cBhvr>
                                      <p:to>
                                        <p:strVal val="visible"/>
                                      </p:to>
                                    </p:set>
                                    <p:anim calcmode="lin" valueType="num">
                                      <p:cBhvr additive="base">
                                        <p:cTn id="68" dur="500" fill="hold"/>
                                        <p:tgtEl>
                                          <p:spTgt spid="7"/>
                                        </p:tgtEl>
                                        <p:attrNameLst>
                                          <p:attrName>ppt_x</p:attrName>
                                        </p:attrNameLst>
                                      </p:cBhvr>
                                      <p:tavLst>
                                        <p:tav tm="0">
                                          <p:val>
                                            <p:strVal val="#ppt_x"/>
                                          </p:val>
                                        </p:tav>
                                        <p:tav tm="100000">
                                          <p:val>
                                            <p:strVal val="#ppt_x"/>
                                          </p:val>
                                        </p:tav>
                                      </p:tavLst>
                                    </p:anim>
                                    <p:anim calcmode="lin" valueType="num">
                                      <p:cBhvr additive="base">
                                        <p:cTn id="69" dur="500" fill="hold"/>
                                        <p:tgtEl>
                                          <p:spTgt spid="7"/>
                                        </p:tgtEl>
                                        <p:attrNameLst>
                                          <p:attrName>ppt_y</p:attrName>
                                        </p:attrNameLst>
                                      </p:cBhvr>
                                      <p:tavLst>
                                        <p:tav tm="0">
                                          <p:val>
                                            <p:strVal val="1+#ppt_h/2"/>
                                          </p:val>
                                        </p:tav>
                                        <p:tav tm="100000">
                                          <p:val>
                                            <p:strVal val="#ppt_y"/>
                                          </p:val>
                                        </p:tav>
                                      </p:tavLst>
                                    </p:anim>
                                  </p:childTnLst>
                                </p:cTn>
                              </p:par>
                              <p:par>
                                <p:cTn id="70" presetID="2" presetClass="entr" presetSubtype="4" fill="hold" grpId="0" nodeType="withEffect">
                                  <p:stCondLst>
                                    <p:cond delay="0"/>
                                  </p:stCondLst>
                                  <p:childTnLst>
                                    <p:set>
                                      <p:cBhvr>
                                        <p:cTn id="71" dur="1" fill="hold">
                                          <p:stCondLst>
                                            <p:cond delay="0"/>
                                          </p:stCondLst>
                                        </p:cTn>
                                        <p:tgtEl>
                                          <p:spTgt spid="23"/>
                                        </p:tgtEl>
                                        <p:attrNameLst>
                                          <p:attrName>style.visibility</p:attrName>
                                        </p:attrNameLst>
                                      </p:cBhvr>
                                      <p:to>
                                        <p:strVal val="visible"/>
                                      </p:to>
                                    </p:set>
                                    <p:anim calcmode="lin" valueType="num">
                                      <p:cBhvr additive="base">
                                        <p:cTn id="72" dur="500" fill="hold"/>
                                        <p:tgtEl>
                                          <p:spTgt spid="23"/>
                                        </p:tgtEl>
                                        <p:attrNameLst>
                                          <p:attrName>ppt_x</p:attrName>
                                        </p:attrNameLst>
                                      </p:cBhvr>
                                      <p:tavLst>
                                        <p:tav tm="0">
                                          <p:val>
                                            <p:strVal val="#ppt_x"/>
                                          </p:val>
                                        </p:tav>
                                        <p:tav tm="100000">
                                          <p:val>
                                            <p:strVal val="#ppt_x"/>
                                          </p:val>
                                        </p:tav>
                                      </p:tavLst>
                                    </p:anim>
                                    <p:anim calcmode="lin" valueType="num">
                                      <p:cBhvr additive="base">
                                        <p:cTn id="73" dur="500" fill="hold"/>
                                        <p:tgtEl>
                                          <p:spTgt spid="23"/>
                                        </p:tgtEl>
                                        <p:attrNameLst>
                                          <p:attrName>ppt_y</p:attrName>
                                        </p:attrNameLst>
                                      </p:cBhvr>
                                      <p:tavLst>
                                        <p:tav tm="0">
                                          <p:val>
                                            <p:strVal val="1+#ppt_h/2"/>
                                          </p:val>
                                        </p:tav>
                                        <p:tav tm="100000">
                                          <p:val>
                                            <p:strVal val="#ppt_y"/>
                                          </p:val>
                                        </p:tav>
                                      </p:tavLst>
                                    </p:anim>
                                  </p:childTnLst>
                                </p:cTn>
                              </p:par>
                              <p:par>
                                <p:cTn id="74" presetID="2" presetClass="entr" presetSubtype="4" fill="hold" grpId="0" nodeType="withEffect">
                                  <p:stCondLst>
                                    <p:cond delay="0"/>
                                  </p:stCondLst>
                                  <p:childTnLst>
                                    <p:set>
                                      <p:cBhvr>
                                        <p:cTn id="75" dur="1" fill="hold">
                                          <p:stCondLst>
                                            <p:cond delay="0"/>
                                          </p:stCondLst>
                                        </p:cTn>
                                        <p:tgtEl>
                                          <p:spTgt spid="25"/>
                                        </p:tgtEl>
                                        <p:attrNameLst>
                                          <p:attrName>style.visibility</p:attrName>
                                        </p:attrNameLst>
                                      </p:cBhvr>
                                      <p:to>
                                        <p:strVal val="visible"/>
                                      </p:to>
                                    </p:set>
                                    <p:anim calcmode="lin" valueType="num">
                                      <p:cBhvr additive="base">
                                        <p:cTn id="76" dur="500" fill="hold"/>
                                        <p:tgtEl>
                                          <p:spTgt spid="25"/>
                                        </p:tgtEl>
                                        <p:attrNameLst>
                                          <p:attrName>ppt_x</p:attrName>
                                        </p:attrNameLst>
                                      </p:cBhvr>
                                      <p:tavLst>
                                        <p:tav tm="0">
                                          <p:val>
                                            <p:strVal val="#ppt_x"/>
                                          </p:val>
                                        </p:tav>
                                        <p:tav tm="100000">
                                          <p:val>
                                            <p:strVal val="#ppt_x"/>
                                          </p:val>
                                        </p:tav>
                                      </p:tavLst>
                                    </p:anim>
                                    <p:anim calcmode="lin" valueType="num">
                                      <p:cBhvr additive="base">
                                        <p:cTn id="77" dur="500" fill="hold"/>
                                        <p:tgtEl>
                                          <p:spTgt spid="25"/>
                                        </p:tgtEl>
                                        <p:attrNameLst>
                                          <p:attrName>ppt_y</p:attrName>
                                        </p:attrNameLst>
                                      </p:cBhvr>
                                      <p:tavLst>
                                        <p:tav tm="0">
                                          <p:val>
                                            <p:strVal val="1+#ppt_h/2"/>
                                          </p:val>
                                        </p:tav>
                                        <p:tav tm="100000">
                                          <p:val>
                                            <p:strVal val="#ppt_y"/>
                                          </p:val>
                                        </p:tav>
                                      </p:tavLst>
                                    </p:anim>
                                  </p:childTnLst>
                                </p:cTn>
                              </p:par>
                              <p:par>
                                <p:cTn id="78" presetID="2" presetClass="entr" presetSubtype="4" fill="hold" grpId="0" nodeType="withEffect">
                                  <p:stCondLst>
                                    <p:cond delay="0"/>
                                  </p:stCondLst>
                                  <p:childTnLst>
                                    <p:set>
                                      <p:cBhvr>
                                        <p:cTn id="79" dur="1" fill="hold">
                                          <p:stCondLst>
                                            <p:cond delay="0"/>
                                          </p:stCondLst>
                                        </p:cTn>
                                        <p:tgtEl>
                                          <p:spTgt spid="28"/>
                                        </p:tgtEl>
                                        <p:attrNameLst>
                                          <p:attrName>style.visibility</p:attrName>
                                        </p:attrNameLst>
                                      </p:cBhvr>
                                      <p:to>
                                        <p:strVal val="visible"/>
                                      </p:to>
                                    </p:set>
                                    <p:anim calcmode="lin" valueType="num">
                                      <p:cBhvr additive="base">
                                        <p:cTn id="80" dur="500" fill="hold"/>
                                        <p:tgtEl>
                                          <p:spTgt spid="28"/>
                                        </p:tgtEl>
                                        <p:attrNameLst>
                                          <p:attrName>ppt_x</p:attrName>
                                        </p:attrNameLst>
                                      </p:cBhvr>
                                      <p:tavLst>
                                        <p:tav tm="0">
                                          <p:val>
                                            <p:strVal val="#ppt_x"/>
                                          </p:val>
                                        </p:tav>
                                        <p:tav tm="100000">
                                          <p:val>
                                            <p:strVal val="#ppt_x"/>
                                          </p:val>
                                        </p:tav>
                                      </p:tavLst>
                                    </p:anim>
                                    <p:anim calcmode="lin" valueType="num">
                                      <p:cBhvr additive="base">
                                        <p:cTn id="81" dur="500" fill="hold"/>
                                        <p:tgtEl>
                                          <p:spTgt spid="28"/>
                                        </p:tgtEl>
                                        <p:attrNameLst>
                                          <p:attrName>ppt_y</p:attrName>
                                        </p:attrNameLst>
                                      </p:cBhvr>
                                      <p:tavLst>
                                        <p:tav tm="0">
                                          <p:val>
                                            <p:strVal val="1+#ppt_h/2"/>
                                          </p:val>
                                        </p:tav>
                                        <p:tav tm="100000">
                                          <p:val>
                                            <p:strVal val="#ppt_y"/>
                                          </p:val>
                                        </p:tav>
                                      </p:tavLst>
                                    </p:anim>
                                  </p:childTnLst>
                                </p:cTn>
                              </p:par>
                              <p:par>
                                <p:cTn id="82" presetID="2" presetClass="entr" presetSubtype="4" fill="hold" grpId="0" nodeType="withEffect">
                                  <p:stCondLst>
                                    <p:cond delay="0"/>
                                  </p:stCondLst>
                                  <p:childTnLst>
                                    <p:set>
                                      <p:cBhvr>
                                        <p:cTn id="83" dur="1" fill="hold">
                                          <p:stCondLst>
                                            <p:cond delay="0"/>
                                          </p:stCondLst>
                                        </p:cTn>
                                        <p:tgtEl>
                                          <p:spTgt spid="30"/>
                                        </p:tgtEl>
                                        <p:attrNameLst>
                                          <p:attrName>style.visibility</p:attrName>
                                        </p:attrNameLst>
                                      </p:cBhvr>
                                      <p:to>
                                        <p:strVal val="visible"/>
                                      </p:to>
                                    </p:set>
                                    <p:anim calcmode="lin" valueType="num">
                                      <p:cBhvr additive="base">
                                        <p:cTn id="84" dur="500" fill="hold"/>
                                        <p:tgtEl>
                                          <p:spTgt spid="30"/>
                                        </p:tgtEl>
                                        <p:attrNameLst>
                                          <p:attrName>ppt_x</p:attrName>
                                        </p:attrNameLst>
                                      </p:cBhvr>
                                      <p:tavLst>
                                        <p:tav tm="0">
                                          <p:val>
                                            <p:strVal val="#ppt_x"/>
                                          </p:val>
                                        </p:tav>
                                        <p:tav tm="100000">
                                          <p:val>
                                            <p:strVal val="#ppt_x"/>
                                          </p:val>
                                        </p:tav>
                                      </p:tavLst>
                                    </p:anim>
                                    <p:anim calcmode="lin" valueType="num">
                                      <p:cBhvr additive="base">
                                        <p:cTn id="85" dur="500" fill="hold"/>
                                        <p:tgtEl>
                                          <p:spTgt spid="30"/>
                                        </p:tgtEl>
                                        <p:attrNameLst>
                                          <p:attrName>ppt_y</p:attrName>
                                        </p:attrNameLst>
                                      </p:cBhvr>
                                      <p:tavLst>
                                        <p:tav tm="0">
                                          <p:val>
                                            <p:strVal val="1+#ppt_h/2"/>
                                          </p:val>
                                        </p:tav>
                                        <p:tav tm="100000">
                                          <p:val>
                                            <p:strVal val="#ppt_y"/>
                                          </p:val>
                                        </p:tav>
                                      </p:tavLst>
                                    </p:anim>
                                  </p:childTnLst>
                                </p:cTn>
                              </p:par>
                              <p:par>
                                <p:cTn id="86" presetID="2" presetClass="entr" presetSubtype="4" fill="hold" grpId="0" nodeType="withEffect">
                                  <p:stCondLst>
                                    <p:cond delay="0"/>
                                  </p:stCondLst>
                                  <p:childTnLst>
                                    <p:set>
                                      <p:cBhvr>
                                        <p:cTn id="87" dur="1" fill="hold">
                                          <p:stCondLst>
                                            <p:cond delay="0"/>
                                          </p:stCondLst>
                                        </p:cTn>
                                        <p:tgtEl>
                                          <p:spTgt spid="33"/>
                                        </p:tgtEl>
                                        <p:attrNameLst>
                                          <p:attrName>style.visibility</p:attrName>
                                        </p:attrNameLst>
                                      </p:cBhvr>
                                      <p:to>
                                        <p:strVal val="visible"/>
                                      </p:to>
                                    </p:set>
                                    <p:anim calcmode="lin" valueType="num">
                                      <p:cBhvr additive="base">
                                        <p:cTn id="88" dur="500" fill="hold"/>
                                        <p:tgtEl>
                                          <p:spTgt spid="33"/>
                                        </p:tgtEl>
                                        <p:attrNameLst>
                                          <p:attrName>ppt_x</p:attrName>
                                        </p:attrNameLst>
                                      </p:cBhvr>
                                      <p:tavLst>
                                        <p:tav tm="0">
                                          <p:val>
                                            <p:strVal val="#ppt_x"/>
                                          </p:val>
                                        </p:tav>
                                        <p:tav tm="100000">
                                          <p:val>
                                            <p:strVal val="#ppt_x"/>
                                          </p:val>
                                        </p:tav>
                                      </p:tavLst>
                                    </p:anim>
                                    <p:anim calcmode="lin" valueType="num">
                                      <p:cBhvr additive="base">
                                        <p:cTn id="89" dur="500" fill="hold"/>
                                        <p:tgtEl>
                                          <p:spTgt spid="33"/>
                                        </p:tgtEl>
                                        <p:attrNameLst>
                                          <p:attrName>ppt_y</p:attrName>
                                        </p:attrNameLst>
                                      </p:cBhvr>
                                      <p:tavLst>
                                        <p:tav tm="0">
                                          <p:val>
                                            <p:strVal val="1+#ppt_h/2"/>
                                          </p:val>
                                        </p:tav>
                                        <p:tav tm="100000">
                                          <p:val>
                                            <p:strVal val="#ppt_y"/>
                                          </p:val>
                                        </p:tav>
                                      </p:tavLst>
                                    </p:anim>
                                  </p:childTnLst>
                                </p:cTn>
                              </p:par>
                              <p:par>
                                <p:cTn id="90" presetID="2" presetClass="entr" presetSubtype="4" fill="hold" grpId="0" nodeType="withEffect">
                                  <p:stCondLst>
                                    <p:cond delay="0"/>
                                  </p:stCondLst>
                                  <p:childTnLst>
                                    <p:set>
                                      <p:cBhvr>
                                        <p:cTn id="91" dur="1" fill="hold">
                                          <p:stCondLst>
                                            <p:cond delay="0"/>
                                          </p:stCondLst>
                                        </p:cTn>
                                        <p:tgtEl>
                                          <p:spTgt spid="37"/>
                                        </p:tgtEl>
                                        <p:attrNameLst>
                                          <p:attrName>style.visibility</p:attrName>
                                        </p:attrNameLst>
                                      </p:cBhvr>
                                      <p:to>
                                        <p:strVal val="visible"/>
                                      </p:to>
                                    </p:set>
                                    <p:anim calcmode="lin" valueType="num">
                                      <p:cBhvr additive="base">
                                        <p:cTn id="92" dur="500" fill="hold"/>
                                        <p:tgtEl>
                                          <p:spTgt spid="37"/>
                                        </p:tgtEl>
                                        <p:attrNameLst>
                                          <p:attrName>ppt_x</p:attrName>
                                        </p:attrNameLst>
                                      </p:cBhvr>
                                      <p:tavLst>
                                        <p:tav tm="0">
                                          <p:val>
                                            <p:strVal val="#ppt_x"/>
                                          </p:val>
                                        </p:tav>
                                        <p:tav tm="100000">
                                          <p:val>
                                            <p:strVal val="#ppt_x"/>
                                          </p:val>
                                        </p:tav>
                                      </p:tavLst>
                                    </p:anim>
                                    <p:anim calcmode="lin" valueType="num">
                                      <p:cBhvr additive="base">
                                        <p:cTn id="93" dur="500" fill="hold"/>
                                        <p:tgtEl>
                                          <p:spTgt spid="37"/>
                                        </p:tgtEl>
                                        <p:attrNameLst>
                                          <p:attrName>ppt_y</p:attrName>
                                        </p:attrNameLst>
                                      </p:cBhvr>
                                      <p:tavLst>
                                        <p:tav tm="0">
                                          <p:val>
                                            <p:strVal val="1+#ppt_h/2"/>
                                          </p:val>
                                        </p:tav>
                                        <p:tav tm="100000">
                                          <p:val>
                                            <p:strVal val="#ppt_y"/>
                                          </p:val>
                                        </p:tav>
                                      </p:tavLst>
                                    </p:anim>
                                  </p:childTnLst>
                                </p:cTn>
                              </p:par>
                            </p:childTnLst>
                          </p:cTn>
                        </p:par>
                        <p:par>
                          <p:cTn id="94" fill="hold">
                            <p:stCondLst>
                              <p:cond delay="4000"/>
                            </p:stCondLst>
                            <p:childTnLst>
                              <p:par>
                                <p:cTn id="95" presetID="10" presetClass="entr" presetSubtype="0" fill="hold" grpId="0" nodeType="afterEffect">
                                  <p:stCondLst>
                                    <p:cond delay="0"/>
                                  </p:stCondLst>
                                  <p:childTnLst>
                                    <p:set>
                                      <p:cBhvr>
                                        <p:cTn id="96" dur="1" fill="hold">
                                          <p:stCondLst>
                                            <p:cond delay="0"/>
                                          </p:stCondLst>
                                        </p:cTn>
                                        <p:tgtEl>
                                          <p:spTgt spid="39"/>
                                        </p:tgtEl>
                                        <p:attrNameLst>
                                          <p:attrName>style.visibility</p:attrName>
                                        </p:attrNameLst>
                                      </p:cBhvr>
                                      <p:to>
                                        <p:strVal val="visible"/>
                                      </p:to>
                                    </p:set>
                                    <p:animEffect transition="in" filter="fade">
                                      <p:cBhvr>
                                        <p:cTn id="97" dur="500"/>
                                        <p:tgtEl>
                                          <p:spTgt spid="39"/>
                                        </p:tgtEl>
                                      </p:cBhvr>
                                    </p:animEffect>
                                  </p:childTnLst>
                                </p:cTn>
                              </p:par>
                              <p:par>
                                <p:cTn id="98" presetID="10" presetClass="entr" presetSubtype="0" fill="hold" grpId="0" nodeType="withEffect">
                                  <p:stCondLst>
                                    <p:cond delay="0"/>
                                  </p:stCondLst>
                                  <p:childTnLst>
                                    <p:set>
                                      <p:cBhvr>
                                        <p:cTn id="99" dur="1" fill="hold">
                                          <p:stCondLst>
                                            <p:cond delay="0"/>
                                          </p:stCondLst>
                                        </p:cTn>
                                        <p:tgtEl>
                                          <p:spTgt spid="41"/>
                                        </p:tgtEl>
                                        <p:attrNameLst>
                                          <p:attrName>style.visibility</p:attrName>
                                        </p:attrNameLst>
                                      </p:cBhvr>
                                      <p:to>
                                        <p:strVal val="visible"/>
                                      </p:to>
                                    </p:set>
                                    <p:animEffect transition="in" filter="fade">
                                      <p:cBhvr>
                                        <p:cTn id="100" dur="500"/>
                                        <p:tgtEl>
                                          <p:spTgt spid="41"/>
                                        </p:tgtEl>
                                      </p:cBhvr>
                                    </p:animEffect>
                                  </p:childTnLst>
                                </p:cTn>
                              </p:par>
                              <p:par>
                                <p:cTn id="101" presetID="10" presetClass="entr" presetSubtype="0" fill="hold" nodeType="withEffect">
                                  <p:stCondLst>
                                    <p:cond delay="0"/>
                                  </p:stCondLst>
                                  <p:childTnLst>
                                    <p:set>
                                      <p:cBhvr>
                                        <p:cTn id="102" dur="1" fill="hold">
                                          <p:stCondLst>
                                            <p:cond delay="0"/>
                                          </p:stCondLst>
                                        </p:cTn>
                                        <p:tgtEl>
                                          <p:spTgt spid="42"/>
                                        </p:tgtEl>
                                        <p:attrNameLst>
                                          <p:attrName>style.visibility</p:attrName>
                                        </p:attrNameLst>
                                      </p:cBhvr>
                                      <p:to>
                                        <p:strVal val="visible"/>
                                      </p:to>
                                    </p:set>
                                    <p:animEffect transition="in" filter="fade">
                                      <p:cBhvr>
                                        <p:cTn id="103" dur="500"/>
                                        <p:tgtEl>
                                          <p:spTgt spid="42"/>
                                        </p:tgtEl>
                                      </p:cBhvr>
                                    </p:animEffect>
                                  </p:childTnLst>
                                </p:cTn>
                              </p:par>
                            </p:childTnLst>
                          </p:cTn>
                        </p:par>
                        <p:par>
                          <p:cTn id="104" fill="hold">
                            <p:stCondLst>
                              <p:cond delay="4500"/>
                            </p:stCondLst>
                            <p:childTnLst>
                              <p:par>
                                <p:cTn id="105" presetID="42" presetClass="entr" presetSubtype="0" fill="hold" grpId="0" nodeType="afterEffect">
                                  <p:stCondLst>
                                    <p:cond delay="0"/>
                                  </p:stCondLst>
                                  <p:childTnLst>
                                    <p:set>
                                      <p:cBhvr>
                                        <p:cTn id="106" dur="1" fill="hold">
                                          <p:stCondLst>
                                            <p:cond delay="0"/>
                                          </p:stCondLst>
                                        </p:cTn>
                                        <p:tgtEl>
                                          <p:spTgt spid="40"/>
                                        </p:tgtEl>
                                        <p:attrNameLst>
                                          <p:attrName>style.visibility</p:attrName>
                                        </p:attrNameLst>
                                      </p:cBhvr>
                                      <p:to>
                                        <p:strVal val="visible"/>
                                      </p:to>
                                    </p:set>
                                    <p:animEffect transition="in" filter="fade">
                                      <p:cBhvr>
                                        <p:cTn id="107" dur="1000"/>
                                        <p:tgtEl>
                                          <p:spTgt spid="40"/>
                                        </p:tgtEl>
                                      </p:cBhvr>
                                    </p:animEffect>
                                    <p:anim calcmode="lin" valueType="num">
                                      <p:cBhvr>
                                        <p:cTn id="108" dur="1000" fill="hold"/>
                                        <p:tgtEl>
                                          <p:spTgt spid="40"/>
                                        </p:tgtEl>
                                        <p:attrNameLst>
                                          <p:attrName>ppt_x</p:attrName>
                                        </p:attrNameLst>
                                      </p:cBhvr>
                                      <p:tavLst>
                                        <p:tav tm="0">
                                          <p:val>
                                            <p:strVal val="#ppt_x"/>
                                          </p:val>
                                        </p:tav>
                                        <p:tav tm="100000">
                                          <p:val>
                                            <p:strVal val="#ppt_x"/>
                                          </p:val>
                                        </p:tav>
                                      </p:tavLst>
                                    </p:anim>
                                    <p:anim calcmode="lin" valueType="num">
                                      <p:cBhvr>
                                        <p:cTn id="109" dur="1000" fill="hold"/>
                                        <p:tgtEl>
                                          <p:spTgt spid="40"/>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6" grpId="0" animBg="1"/>
      <p:bldP spid="20" grpId="0" animBg="1"/>
      <p:bldP spid="7" grpId="0"/>
      <p:bldP spid="2" grpId="0" animBg="1"/>
      <p:bldP spid="21" grpId="0" animBg="1"/>
      <p:bldP spid="23" grpId="0" animBg="1"/>
      <p:bldP spid="24" grpId="0" animBg="1"/>
      <p:bldP spid="25" grpId="0"/>
      <p:bldP spid="26" grpId="0" animBg="1"/>
      <p:bldP spid="27" grpId="0" animBg="1"/>
      <p:bldP spid="28" grpId="0" animBg="1"/>
      <p:bldP spid="29" grpId="0" animBg="1"/>
      <p:bldP spid="30" grpId="0"/>
      <p:bldP spid="31" grpId="0" animBg="1"/>
      <p:bldP spid="32" grpId="0" animBg="1"/>
      <p:bldP spid="33" grpId="0" animBg="1"/>
      <p:bldP spid="36" grpId="0" animBg="1"/>
      <p:bldP spid="37" grpId="0"/>
      <p:bldP spid="38" grpId="0" animBg="1"/>
      <p:bldP spid="39" grpId="0"/>
      <p:bldP spid="40" grpId="0"/>
      <p:bldP spid="41" grpId="0" animBg="1"/>
      <p:bldP spid="43" grpId="0" animBg="1"/>
      <p:bldP spid="44"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矩形 33" hidden="1"/>
          <p:cNvSpPr/>
          <p:nvPr/>
        </p:nvSpPr>
        <p:spPr>
          <a:xfrm>
            <a:off x="2584817" y="2133288"/>
            <a:ext cx="936104" cy="6551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smtClean="0">
                <a:solidFill>
                  <a:srgbClr val="B0F533"/>
                </a:solidFill>
                <a:latin typeface="Gill Sans MT Pro Light" pitchFamily="34" charset="0"/>
              </a:rPr>
              <a:t>1</a:t>
            </a:r>
            <a:endParaRPr lang="zh-CN" altLang="en-US" sz="3600">
              <a:solidFill>
                <a:srgbClr val="B0F533"/>
              </a:solidFill>
              <a:latin typeface="Gill Sans MT Pro Light" pitchFamily="34" charset="0"/>
            </a:endParaRPr>
          </a:p>
        </p:txBody>
      </p:sp>
      <p:sp>
        <p:nvSpPr>
          <p:cNvPr id="35" name="矩形 34" hidden="1"/>
          <p:cNvSpPr/>
          <p:nvPr/>
        </p:nvSpPr>
        <p:spPr>
          <a:xfrm>
            <a:off x="3621305" y="2133288"/>
            <a:ext cx="5984291" cy="655104"/>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smtClean="0">
                <a:latin typeface="华文黑体" pitchFamily="2" charset="-122"/>
                <a:ea typeface="华文黑体" pitchFamily="2" charset="-122"/>
                <a:cs typeface="华文黑体" pitchFamily="2" charset="-122"/>
              </a:rPr>
              <a:t>                     点击添加标题</a:t>
            </a:r>
            <a:endParaRPr lang="zh-CN" altLang="en-US" sz="2800">
              <a:latin typeface="华文黑体" pitchFamily="2" charset="-122"/>
              <a:ea typeface="华文黑体" pitchFamily="2" charset="-122"/>
              <a:cs typeface="华文黑体" pitchFamily="2" charset="-122"/>
            </a:endParaRPr>
          </a:p>
        </p:txBody>
      </p:sp>
      <p:pic>
        <p:nvPicPr>
          <p:cNvPr id="5122" name="Picture 2"/>
          <p:cNvPicPr>
            <a:picLocks noChangeAspect="1" noChangeArrowheads="1"/>
          </p:cNvPicPr>
          <p:nvPr/>
        </p:nvPicPr>
        <p:blipFill rotWithShape="1">
          <a:blip r:embed="rId1">
            <a:extLst>
              <a:ext uri="{28A0092B-C50C-407E-A947-70E740481C1C}">
                <a14:useLocalDpi xmlns:a14="http://schemas.microsoft.com/office/drawing/2010/main" val="0"/>
              </a:ext>
            </a:extLst>
          </a:blip>
          <a:srcRect t="23117" b="406"/>
          <a:stretch>
            <a:fillRect/>
          </a:stretch>
        </p:blipFill>
        <p:spPr bwMode="auto">
          <a:xfrm>
            <a:off x="17236" y="1700807"/>
            <a:ext cx="7662146" cy="3896699"/>
          </a:xfrm>
          <a:prstGeom prst="rect">
            <a:avLst/>
          </a:prstGeom>
          <a:noFill/>
          <a:extLst>
            <a:ext uri="{909E8E84-426E-40DD-AFC4-6F175D3DCCD1}">
              <a14:hiddenFill xmlns:a14="http://schemas.microsoft.com/office/drawing/2010/main">
                <a:solidFill>
                  <a:srgbClr val="FFFFFF"/>
                </a:solidFill>
              </a14:hiddenFill>
            </a:ext>
          </a:extLst>
        </p:spPr>
      </p:pic>
      <p:grpSp>
        <p:nvGrpSpPr>
          <p:cNvPr id="3" name="组合 2"/>
          <p:cNvGrpSpPr/>
          <p:nvPr/>
        </p:nvGrpSpPr>
        <p:grpSpPr>
          <a:xfrm>
            <a:off x="7679382" y="1700808"/>
            <a:ext cx="4511031" cy="3896699"/>
            <a:chOff x="5663158" y="1700808"/>
            <a:chExt cx="6527255" cy="3896699"/>
          </a:xfrm>
        </p:grpSpPr>
        <p:sp>
          <p:nvSpPr>
            <p:cNvPr id="2" name="矩形 1"/>
            <p:cNvSpPr/>
            <p:nvPr/>
          </p:nvSpPr>
          <p:spPr>
            <a:xfrm>
              <a:off x="5663158" y="1700808"/>
              <a:ext cx="6527255" cy="3764802"/>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 name="矩形 10"/>
            <p:cNvSpPr/>
            <p:nvPr/>
          </p:nvSpPr>
          <p:spPr>
            <a:xfrm>
              <a:off x="5663158" y="5465610"/>
              <a:ext cx="6527255" cy="131897"/>
            </a:xfrm>
            <a:prstGeom prst="rect">
              <a:avLst/>
            </a:prstGeom>
            <a:solidFill>
              <a:srgbClr val="FF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15" name="TextBox 14"/>
          <p:cNvSpPr txBox="1"/>
          <p:nvPr/>
        </p:nvSpPr>
        <p:spPr>
          <a:xfrm>
            <a:off x="7895406" y="2139821"/>
            <a:ext cx="3835907" cy="2585323"/>
          </a:xfrm>
          <a:prstGeom prst="rect">
            <a:avLst/>
          </a:prstGeom>
          <a:noFill/>
        </p:spPr>
        <p:txBody>
          <a:bodyPr wrap="square" rtlCol="0">
            <a:spAutoFit/>
          </a:bodyPr>
          <a:lstStyle/>
          <a:p>
            <a:pPr>
              <a:buSzPct val="50000"/>
            </a:pPr>
            <a:r>
              <a:rPr lang="zh-CN" altLang="en-US" sz="2400" smtClean="0">
                <a:solidFill>
                  <a:schemeClr val="bg1"/>
                </a:solidFill>
                <a:latin typeface="华文黑体" pitchFamily="2" charset="-122"/>
                <a:ea typeface="华文黑体" pitchFamily="2" charset="-122"/>
                <a:cs typeface="华文黑体" pitchFamily="2" charset="-122"/>
              </a:rPr>
              <a:t>   单击添加标题</a:t>
            </a:r>
            <a:endParaRPr lang="en-US" altLang="zh-CN" sz="2400" smtClean="0">
              <a:solidFill>
                <a:schemeClr val="bg1"/>
              </a:solidFill>
              <a:latin typeface="华文黑体" pitchFamily="2" charset="-122"/>
              <a:ea typeface="华文黑体" pitchFamily="2" charset="-122"/>
              <a:cs typeface="华文黑体" pitchFamily="2" charset="-122"/>
            </a:endParaRPr>
          </a:p>
          <a:p>
            <a:pPr marL="171450" indent="-171450">
              <a:buSzPct val="50000"/>
              <a:buFont typeface="Wingdings" panose="05000000000000000000" pitchFamily="2" charset="2"/>
              <a:buChar char="l"/>
            </a:pPr>
            <a:endParaRPr lang="en-US" altLang="zh-CN" sz="1000" smtClean="0">
              <a:solidFill>
                <a:schemeClr val="bg1"/>
              </a:solidFill>
              <a:latin typeface="华文黑体" pitchFamily="2" charset="-122"/>
              <a:ea typeface="华文黑体" pitchFamily="2" charset="-122"/>
              <a:cs typeface="华文黑体" pitchFamily="2" charset="-122"/>
            </a:endParaRPr>
          </a:p>
          <a:p>
            <a:pPr marL="285750" indent="-285750">
              <a:buSzPct val="50000"/>
              <a:buFont typeface="Wingdings" panose="05000000000000000000" pitchFamily="2" charset="2"/>
              <a:buChar char="l"/>
            </a:pPr>
            <a:r>
              <a:rPr lang="zh-CN" altLang="en-US" smtClean="0">
                <a:solidFill>
                  <a:schemeClr val="bg1"/>
                </a:solidFill>
                <a:latin typeface="华文细黑" panose="02010600040101010101" pitchFamily="2" charset="-122"/>
                <a:ea typeface="华文细黑" panose="02010600040101010101" pitchFamily="2" charset="-122"/>
                <a:cs typeface="华文黑体" pitchFamily="2" charset="-122"/>
              </a:rPr>
              <a:t>单击添加文本单击添加文本单击添加文本</a:t>
            </a:r>
            <a:endParaRPr lang="en-US" altLang="zh-CN" smtClean="0">
              <a:solidFill>
                <a:schemeClr val="bg1"/>
              </a:solidFill>
              <a:latin typeface="华文细黑" panose="02010600040101010101" pitchFamily="2" charset="-122"/>
              <a:ea typeface="华文细黑" panose="02010600040101010101" pitchFamily="2" charset="-122"/>
              <a:cs typeface="华文黑体" pitchFamily="2" charset="-122"/>
            </a:endParaRPr>
          </a:p>
          <a:p>
            <a:pPr marL="285750" indent="-285750">
              <a:buSzPct val="50000"/>
              <a:buFont typeface="Wingdings" panose="05000000000000000000" pitchFamily="2" charset="2"/>
              <a:buChar char="l"/>
            </a:pPr>
            <a:endParaRPr lang="en-US" altLang="zh-CN" sz="1000">
              <a:solidFill>
                <a:schemeClr val="bg1"/>
              </a:solidFill>
              <a:latin typeface="华文细黑" panose="02010600040101010101" pitchFamily="2" charset="-122"/>
              <a:ea typeface="华文细黑" panose="02010600040101010101" pitchFamily="2" charset="-122"/>
              <a:cs typeface="华文黑体" pitchFamily="2" charset="-122"/>
            </a:endParaRPr>
          </a:p>
          <a:p>
            <a:pPr marL="285750" indent="-285750">
              <a:buSzPct val="50000"/>
              <a:buFont typeface="Wingdings" panose="05000000000000000000" pitchFamily="2" charset="2"/>
              <a:buChar char="l"/>
            </a:pPr>
            <a:r>
              <a:rPr lang="zh-CN" altLang="en-US" smtClean="0">
                <a:solidFill>
                  <a:schemeClr val="bg1"/>
                </a:solidFill>
                <a:latin typeface="华文细黑" panose="02010600040101010101" pitchFamily="2" charset="-122"/>
                <a:ea typeface="华文细黑" panose="02010600040101010101" pitchFamily="2" charset="-122"/>
                <a:cs typeface="华文黑体" pitchFamily="2" charset="-122"/>
              </a:rPr>
              <a:t>单击添加</a:t>
            </a:r>
            <a:r>
              <a:rPr lang="zh-CN" altLang="en-US">
                <a:solidFill>
                  <a:schemeClr val="bg1"/>
                </a:solidFill>
                <a:latin typeface="华文细黑" panose="02010600040101010101" pitchFamily="2" charset="-122"/>
                <a:ea typeface="华文细黑" panose="02010600040101010101" pitchFamily="2" charset="-122"/>
                <a:cs typeface="华文黑体" pitchFamily="2" charset="-122"/>
              </a:rPr>
              <a:t>文本单击添加文本单击添加</a:t>
            </a:r>
            <a:r>
              <a:rPr lang="zh-CN" altLang="en-US" smtClean="0">
                <a:solidFill>
                  <a:schemeClr val="bg1"/>
                </a:solidFill>
                <a:latin typeface="华文细黑" panose="02010600040101010101" pitchFamily="2" charset="-122"/>
                <a:ea typeface="华文细黑" panose="02010600040101010101" pitchFamily="2" charset="-122"/>
                <a:cs typeface="华文黑体" pitchFamily="2" charset="-122"/>
              </a:rPr>
              <a:t>文本</a:t>
            </a:r>
            <a:r>
              <a:rPr lang="zh-CN" altLang="en-US">
                <a:solidFill>
                  <a:schemeClr val="bg1"/>
                </a:solidFill>
                <a:latin typeface="华文细黑" panose="02010600040101010101" pitchFamily="2" charset="-122"/>
                <a:ea typeface="华文细黑" panose="02010600040101010101" pitchFamily="2" charset="-122"/>
                <a:cs typeface="华文黑体" pitchFamily="2" charset="-122"/>
              </a:rPr>
              <a:t>单击</a:t>
            </a:r>
            <a:r>
              <a:rPr lang="zh-CN" altLang="en-US" smtClean="0">
                <a:solidFill>
                  <a:schemeClr val="bg1"/>
                </a:solidFill>
                <a:latin typeface="华文细黑" panose="02010600040101010101" pitchFamily="2" charset="-122"/>
                <a:ea typeface="华文细黑" panose="02010600040101010101" pitchFamily="2" charset="-122"/>
                <a:cs typeface="华文黑体" pitchFamily="2" charset="-122"/>
              </a:rPr>
              <a:t>添加</a:t>
            </a:r>
            <a:endParaRPr lang="en-US" altLang="zh-CN" smtClean="0">
              <a:solidFill>
                <a:schemeClr val="bg1"/>
              </a:solidFill>
              <a:latin typeface="华文细黑" panose="02010600040101010101" pitchFamily="2" charset="-122"/>
              <a:ea typeface="华文细黑" panose="02010600040101010101" pitchFamily="2" charset="-122"/>
              <a:cs typeface="华文黑体" pitchFamily="2" charset="-122"/>
            </a:endParaRPr>
          </a:p>
          <a:p>
            <a:pPr marL="285750" indent="-285750">
              <a:buSzPct val="50000"/>
              <a:buFont typeface="Wingdings" panose="05000000000000000000" pitchFamily="2" charset="2"/>
              <a:buChar char="l"/>
            </a:pPr>
            <a:endParaRPr lang="en-US" altLang="zh-CN" sz="1000">
              <a:solidFill>
                <a:schemeClr val="bg1"/>
              </a:solidFill>
              <a:latin typeface="华文细黑" panose="02010600040101010101" pitchFamily="2" charset="-122"/>
              <a:ea typeface="华文细黑" panose="02010600040101010101" pitchFamily="2" charset="-122"/>
              <a:cs typeface="华文黑体" pitchFamily="2" charset="-122"/>
            </a:endParaRPr>
          </a:p>
          <a:p>
            <a:pPr marL="285750" indent="-285750">
              <a:buSzPct val="50000"/>
              <a:buFont typeface="Wingdings" panose="05000000000000000000" pitchFamily="2" charset="2"/>
              <a:buChar char="l"/>
            </a:pPr>
            <a:r>
              <a:rPr lang="zh-CN" altLang="en-US">
                <a:solidFill>
                  <a:schemeClr val="bg1"/>
                </a:solidFill>
                <a:latin typeface="华文细黑" panose="02010600040101010101" pitchFamily="2" charset="-122"/>
                <a:ea typeface="华文细黑" panose="02010600040101010101" pitchFamily="2" charset="-122"/>
                <a:cs typeface="华文黑体" pitchFamily="2" charset="-122"/>
              </a:rPr>
              <a:t>单击添加</a:t>
            </a:r>
            <a:r>
              <a:rPr lang="zh-CN" altLang="en-US" smtClean="0">
                <a:solidFill>
                  <a:schemeClr val="bg1"/>
                </a:solidFill>
                <a:latin typeface="华文细黑" panose="02010600040101010101" pitchFamily="2" charset="-122"/>
                <a:ea typeface="华文细黑" panose="02010600040101010101" pitchFamily="2" charset="-122"/>
                <a:cs typeface="华文黑体" pitchFamily="2" charset="-122"/>
              </a:rPr>
              <a:t>文本</a:t>
            </a:r>
            <a:r>
              <a:rPr lang="zh-CN" altLang="en-US">
                <a:solidFill>
                  <a:schemeClr val="bg1"/>
                </a:solidFill>
                <a:latin typeface="华文细黑" panose="02010600040101010101" pitchFamily="2" charset="-122"/>
                <a:ea typeface="华文细黑" panose="02010600040101010101" pitchFamily="2" charset="-122"/>
                <a:cs typeface="华文黑体" pitchFamily="2" charset="-122"/>
              </a:rPr>
              <a:t>单击添加</a:t>
            </a:r>
            <a:r>
              <a:rPr lang="zh-CN" altLang="en-US" smtClean="0">
                <a:solidFill>
                  <a:schemeClr val="bg1"/>
                </a:solidFill>
                <a:latin typeface="华文细黑" panose="02010600040101010101" pitchFamily="2" charset="-122"/>
                <a:ea typeface="华文细黑" panose="02010600040101010101" pitchFamily="2" charset="-122"/>
                <a:cs typeface="华文黑体" pitchFamily="2" charset="-122"/>
              </a:rPr>
              <a:t>文本</a:t>
            </a:r>
            <a:r>
              <a:rPr lang="zh-CN" altLang="en-US">
                <a:solidFill>
                  <a:schemeClr val="bg1"/>
                </a:solidFill>
                <a:latin typeface="华文细黑" panose="02010600040101010101" pitchFamily="2" charset="-122"/>
                <a:ea typeface="华文细黑" panose="02010600040101010101" pitchFamily="2" charset="-122"/>
                <a:cs typeface="华文黑体" pitchFamily="2" charset="-122"/>
              </a:rPr>
              <a:t>单击添加</a:t>
            </a:r>
            <a:r>
              <a:rPr lang="zh-CN" altLang="en-US" smtClean="0">
                <a:solidFill>
                  <a:schemeClr val="bg1"/>
                </a:solidFill>
                <a:latin typeface="华文细黑" panose="02010600040101010101" pitchFamily="2" charset="-122"/>
                <a:ea typeface="华文细黑" panose="02010600040101010101" pitchFamily="2" charset="-122"/>
                <a:cs typeface="华文黑体" pitchFamily="2" charset="-122"/>
              </a:rPr>
              <a:t>文本</a:t>
            </a:r>
            <a:r>
              <a:rPr lang="zh-CN" altLang="en-US">
                <a:solidFill>
                  <a:schemeClr val="bg1"/>
                </a:solidFill>
                <a:latin typeface="华文细黑" panose="02010600040101010101" pitchFamily="2" charset="-122"/>
                <a:ea typeface="华文细黑" panose="02010600040101010101" pitchFamily="2" charset="-122"/>
                <a:cs typeface="华文黑体" pitchFamily="2" charset="-122"/>
              </a:rPr>
              <a:t>单击添加</a:t>
            </a:r>
            <a:r>
              <a:rPr lang="zh-CN" altLang="en-US" smtClean="0">
                <a:solidFill>
                  <a:schemeClr val="bg1"/>
                </a:solidFill>
                <a:latin typeface="华文细黑" panose="02010600040101010101" pitchFamily="2" charset="-122"/>
                <a:ea typeface="华文细黑" panose="02010600040101010101" pitchFamily="2" charset="-122"/>
                <a:cs typeface="华文黑体" pitchFamily="2" charset="-122"/>
              </a:rPr>
              <a:t>文本</a:t>
            </a:r>
            <a:endParaRPr lang="zh-CN" altLang="en-US">
              <a:solidFill>
                <a:schemeClr val="bg1"/>
              </a:solidFill>
              <a:latin typeface="华文细黑" panose="02010600040101010101" pitchFamily="2" charset="-122"/>
              <a:ea typeface="华文细黑" panose="02010600040101010101" pitchFamily="2" charset="-122"/>
              <a:cs typeface="华文黑体" pitchFamily="2" charset="-122"/>
            </a:endParaRPr>
          </a:p>
        </p:txBody>
      </p:sp>
      <p:sp>
        <p:nvSpPr>
          <p:cNvPr id="13" name="圆角矩形 12"/>
          <p:cNvSpPr/>
          <p:nvPr/>
        </p:nvSpPr>
        <p:spPr>
          <a:xfrm>
            <a:off x="8894702" y="260648"/>
            <a:ext cx="2673112" cy="600163"/>
          </a:xfrm>
          <a:prstGeom prst="roundRect">
            <a:avLst/>
          </a:prstGeom>
          <a:solidFill>
            <a:srgbClr val="FFFFFF"/>
          </a:solidFill>
          <a:ln>
            <a:noFill/>
          </a:ln>
          <a:effectLst>
            <a:reflection blurRad="6350" stA="25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6" name="TextBox 15"/>
          <p:cNvSpPr txBox="1"/>
          <p:nvPr/>
        </p:nvSpPr>
        <p:spPr>
          <a:xfrm>
            <a:off x="9061707" y="260648"/>
            <a:ext cx="2339102" cy="523220"/>
          </a:xfrm>
          <a:prstGeom prst="rect">
            <a:avLst/>
          </a:prstGeom>
          <a:noFill/>
        </p:spPr>
        <p:txBody>
          <a:bodyPr wrap="none" rtlCol="0" anchor="ctr">
            <a:spAutoFit/>
          </a:bodyPr>
          <a:lstStyle>
            <a:defPPr>
              <a:defRPr lang="zh-CN"/>
            </a:defPPr>
            <a:lvl1pPr algn="ctr">
              <a:defRPr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anose="02010600040101010101" pitchFamily="2" charset="-122"/>
                <a:cs typeface="华文黑体" pitchFamily="2" charset="-122"/>
              </a:defRPr>
            </a:lvl1pPr>
          </a:lstStyle>
          <a:p>
            <a:r>
              <a:rPr lang="zh-CN" altLang="en-US" sz="2800"/>
              <a:t>点击添加标题</a:t>
            </a:r>
            <a:endParaRPr lang="zh-CN" altLang="en-US" sz="280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300"/>
                                        <p:tgtEl>
                                          <p:spTgt spid="1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6"/>
                                        </p:tgtEl>
                                        <p:attrNameLst>
                                          <p:attrName>style.visibility</p:attrName>
                                        </p:attrNameLst>
                                      </p:cBhvr>
                                      <p:to>
                                        <p:strVal val="visible"/>
                                      </p:to>
                                    </p:set>
                                    <p:animEffect transition="in" filter="fade">
                                      <p:cBhvr>
                                        <p:cTn id="10" dur="300"/>
                                        <p:tgtEl>
                                          <p:spTgt spid="16"/>
                                        </p:tgtEl>
                                      </p:cBhvr>
                                    </p:animEffect>
                                  </p:childTnLst>
                                </p:cTn>
                              </p:par>
                            </p:childTnLst>
                          </p:cTn>
                        </p:par>
                        <p:par>
                          <p:cTn id="11" fill="hold">
                            <p:stCondLst>
                              <p:cond delay="500"/>
                            </p:stCondLst>
                            <p:childTnLst>
                              <p:par>
                                <p:cTn id="12" presetID="12" presetClass="entr" presetSubtype="8" fill="hold" nodeType="afterEffect">
                                  <p:stCondLst>
                                    <p:cond delay="0"/>
                                  </p:stCondLst>
                                  <p:childTnLst>
                                    <p:set>
                                      <p:cBhvr>
                                        <p:cTn id="13" dur="1" fill="hold">
                                          <p:stCondLst>
                                            <p:cond delay="0"/>
                                          </p:stCondLst>
                                        </p:cTn>
                                        <p:tgtEl>
                                          <p:spTgt spid="5122"/>
                                        </p:tgtEl>
                                        <p:attrNameLst>
                                          <p:attrName>style.visibility</p:attrName>
                                        </p:attrNameLst>
                                      </p:cBhvr>
                                      <p:to>
                                        <p:strVal val="visible"/>
                                      </p:to>
                                    </p:set>
                                    <p:anim calcmode="lin" valueType="num">
                                      <p:cBhvr additive="base">
                                        <p:cTn id="14" dur="500"/>
                                        <p:tgtEl>
                                          <p:spTgt spid="5122"/>
                                        </p:tgtEl>
                                        <p:attrNameLst>
                                          <p:attrName>ppt_x</p:attrName>
                                        </p:attrNameLst>
                                      </p:cBhvr>
                                      <p:tavLst>
                                        <p:tav tm="0">
                                          <p:val>
                                            <p:strVal val="#ppt_x-#ppt_w*1.125000"/>
                                          </p:val>
                                        </p:tav>
                                        <p:tav tm="100000">
                                          <p:val>
                                            <p:strVal val="#ppt_x"/>
                                          </p:val>
                                        </p:tav>
                                      </p:tavLst>
                                    </p:anim>
                                    <p:animEffect transition="in" filter="wipe(right)">
                                      <p:cBhvr>
                                        <p:cTn id="15" dur="500"/>
                                        <p:tgtEl>
                                          <p:spTgt spid="5122"/>
                                        </p:tgtEl>
                                      </p:cBhvr>
                                    </p:animEffect>
                                  </p:childTnLst>
                                </p:cTn>
                              </p:par>
                              <p:par>
                                <p:cTn id="16" presetID="12" presetClass="entr" presetSubtype="2" fill="hold" nodeType="withEffect">
                                  <p:stCondLst>
                                    <p:cond delay="0"/>
                                  </p:stCondLst>
                                  <p:childTnLst>
                                    <p:set>
                                      <p:cBhvr>
                                        <p:cTn id="17" dur="1" fill="hold">
                                          <p:stCondLst>
                                            <p:cond delay="0"/>
                                          </p:stCondLst>
                                        </p:cTn>
                                        <p:tgtEl>
                                          <p:spTgt spid="3"/>
                                        </p:tgtEl>
                                        <p:attrNameLst>
                                          <p:attrName>style.visibility</p:attrName>
                                        </p:attrNameLst>
                                      </p:cBhvr>
                                      <p:to>
                                        <p:strVal val="visible"/>
                                      </p:to>
                                    </p:set>
                                    <p:anim calcmode="lin" valueType="num">
                                      <p:cBhvr additive="base">
                                        <p:cTn id="18" dur="500"/>
                                        <p:tgtEl>
                                          <p:spTgt spid="3"/>
                                        </p:tgtEl>
                                        <p:attrNameLst>
                                          <p:attrName>ppt_x</p:attrName>
                                        </p:attrNameLst>
                                      </p:cBhvr>
                                      <p:tavLst>
                                        <p:tav tm="0">
                                          <p:val>
                                            <p:strVal val="#ppt_x+#ppt_w*1.125000"/>
                                          </p:val>
                                        </p:tav>
                                        <p:tav tm="100000">
                                          <p:val>
                                            <p:strVal val="#ppt_x"/>
                                          </p:val>
                                        </p:tav>
                                      </p:tavLst>
                                    </p:anim>
                                    <p:animEffect transition="in" filter="wipe(left)">
                                      <p:cBhvr>
                                        <p:cTn id="19" dur="500"/>
                                        <p:tgtEl>
                                          <p:spTgt spid="3"/>
                                        </p:tgtEl>
                                      </p:cBhvr>
                                    </p:animEffect>
                                  </p:childTnLst>
                                </p:cTn>
                              </p:par>
                            </p:childTnLst>
                          </p:cTn>
                        </p:par>
                        <p:par>
                          <p:cTn id="20" fill="hold">
                            <p:stCondLst>
                              <p:cond delay="1000"/>
                            </p:stCondLst>
                            <p:childTnLst>
                              <p:par>
                                <p:cTn id="21" presetID="53" presetClass="entr" presetSubtype="16" fill="hold" grpId="0" nodeType="afterEffect">
                                  <p:stCondLst>
                                    <p:cond delay="0"/>
                                  </p:stCondLst>
                                  <p:childTnLst>
                                    <p:set>
                                      <p:cBhvr>
                                        <p:cTn id="22" dur="1" fill="hold">
                                          <p:stCondLst>
                                            <p:cond delay="0"/>
                                          </p:stCondLst>
                                        </p:cTn>
                                        <p:tgtEl>
                                          <p:spTgt spid="15"/>
                                        </p:tgtEl>
                                        <p:attrNameLst>
                                          <p:attrName>style.visibility</p:attrName>
                                        </p:attrNameLst>
                                      </p:cBhvr>
                                      <p:to>
                                        <p:strVal val="visible"/>
                                      </p:to>
                                    </p:set>
                                    <p:anim calcmode="lin" valueType="num">
                                      <p:cBhvr>
                                        <p:cTn id="23" dur="500" fill="hold"/>
                                        <p:tgtEl>
                                          <p:spTgt spid="15"/>
                                        </p:tgtEl>
                                        <p:attrNameLst>
                                          <p:attrName>ppt_w</p:attrName>
                                        </p:attrNameLst>
                                      </p:cBhvr>
                                      <p:tavLst>
                                        <p:tav tm="0">
                                          <p:val>
                                            <p:fltVal val="0"/>
                                          </p:val>
                                        </p:tav>
                                        <p:tav tm="100000">
                                          <p:val>
                                            <p:strVal val="#ppt_w"/>
                                          </p:val>
                                        </p:tav>
                                      </p:tavLst>
                                    </p:anim>
                                    <p:anim calcmode="lin" valueType="num">
                                      <p:cBhvr>
                                        <p:cTn id="24" dur="500" fill="hold"/>
                                        <p:tgtEl>
                                          <p:spTgt spid="15"/>
                                        </p:tgtEl>
                                        <p:attrNameLst>
                                          <p:attrName>ppt_h</p:attrName>
                                        </p:attrNameLst>
                                      </p:cBhvr>
                                      <p:tavLst>
                                        <p:tav tm="0">
                                          <p:val>
                                            <p:fltVal val="0"/>
                                          </p:val>
                                        </p:tav>
                                        <p:tav tm="100000">
                                          <p:val>
                                            <p:strVal val="#ppt_h"/>
                                          </p:val>
                                        </p:tav>
                                      </p:tavLst>
                                    </p:anim>
                                    <p:animEffect transition="in" filter="fade">
                                      <p:cBhvr>
                                        <p:cTn id="25"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13" grpId="0" animBg="1"/>
      <p:bldP spid="16" grpId="0"/>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矩形 12"/>
          <p:cNvSpPr/>
          <p:nvPr/>
        </p:nvSpPr>
        <p:spPr>
          <a:xfrm>
            <a:off x="2009546" y="5013176"/>
            <a:ext cx="1853412" cy="504056"/>
          </a:xfrm>
          <a:prstGeom prst="rect">
            <a:avLst/>
          </a:prstGeom>
          <a:solidFill>
            <a:srgbClr val="FF78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smtClean="0">
                <a:solidFill>
                  <a:srgbClr val="FFFFFF"/>
                </a:solidFill>
                <a:latin typeface="HelveticaNeueLT Pro 35 Th" pitchFamily="34" charset="0"/>
                <a:ea typeface="华文细黑" panose="02010600040101010101" pitchFamily="2" charset="-122"/>
              </a:rPr>
              <a:t>有力 </a:t>
            </a:r>
            <a:r>
              <a:rPr lang="en-US" altLang="zh-CN" sz="1600" smtClean="0">
                <a:solidFill>
                  <a:srgbClr val="FFFFFF"/>
                </a:solidFill>
                <a:latin typeface="HelveticaNeueLT Pro 35 Th" pitchFamily="34" charset="0"/>
                <a:ea typeface="华文细黑" panose="02010600040101010101" pitchFamily="2" charset="-122"/>
              </a:rPr>
              <a:t>POWERFUL</a:t>
            </a:r>
            <a:endParaRPr lang="zh-CN" altLang="en-US" sz="1600">
              <a:solidFill>
                <a:srgbClr val="FFFFFF"/>
              </a:solidFill>
              <a:latin typeface="HelveticaNeueLT Pro 35 Th" pitchFamily="34" charset="0"/>
              <a:ea typeface="华文细黑" panose="02010600040101010101" pitchFamily="2" charset="-122"/>
            </a:endParaRPr>
          </a:p>
        </p:txBody>
      </p:sp>
      <p:sp>
        <p:nvSpPr>
          <p:cNvPr id="19" name="矩形 18"/>
          <p:cNvSpPr/>
          <p:nvPr/>
        </p:nvSpPr>
        <p:spPr>
          <a:xfrm>
            <a:off x="4150197" y="5013176"/>
            <a:ext cx="1853412" cy="50405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a:solidFill>
                  <a:schemeClr val="tx1"/>
                </a:solidFill>
                <a:latin typeface="HelveticaNeueLT Pro 35 Th" pitchFamily="34" charset="0"/>
                <a:ea typeface="华文细黑" panose="02010600040101010101" pitchFamily="2" charset="-122"/>
              </a:rPr>
              <a:t>创意</a:t>
            </a:r>
            <a:r>
              <a:rPr lang="zh-CN" altLang="en-US" sz="1600" smtClean="0">
                <a:solidFill>
                  <a:schemeClr val="tx1"/>
                </a:solidFill>
                <a:latin typeface="HelveticaNeueLT Pro 35 Th" pitchFamily="34" charset="0"/>
                <a:ea typeface="华文细黑" panose="02010600040101010101" pitchFamily="2" charset="-122"/>
              </a:rPr>
              <a:t> </a:t>
            </a:r>
            <a:r>
              <a:rPr lang="en-US" altLang="zh-CN" sz="1600" smtClean="0">
                <a:solidFill>
                  <a:schemeClr val="tx1"/>
                </a:solidFill>
                <a:latin typeface="HelveticaNeueLT Pro 35 Th" pitchFamily="34" charset="0"/>
                <a:ea typeface="华文细黑" panose="02010600040101010101" pitchFamily="2" charset="-122"/>
              </a:rPr>
              <a:t>CREATIVE</a:t>
            </a:r>
            <a:endParaRPr lang="zh-CN" altLang="en-US" sz="1600">
              <a:solidFill>
                <a:schemeClr val="tx1"/>
              </a:solidFill>
              <a:latin typeface="HelveticaNeueLT Pro 35 Th" pitchFamily="34" charset="0"/>
              <a:ea typeface="华文细黑" panose="02010600040101010101" pitchFamily="2" charset="-122"/>
            </a:endParaRPr>
          </a:p>
        </p:txBody>
      </p:sp>
      <p:sp>
        <p:nvSpPr>
          <p:cNvPr id="20" name="矩形 19"/>
          <p:cNvSpPr/>
          <p:nvPr/>
        </p:nvSpPr>
        <p:spPr>
          <a:xfrm>
            <a:off x="6239222" y="5013176"/>
            <a:ext cx="1853412" cy="50405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smtClean="0">
                <a:solidFill>
                  <a:schemeClr val="tx1"/>
                </a:solidFill>
                <a:latin typeface="HelveticaNeueLT Pro 35 Th" pitchFamily="34" charset="0"/>
                <a:ea typeface="华文细黑" panose="02010600040101010101" pitchFamily="2" charset="-122"/>
              </a:rPr>
              <a:t>清新 </a:t>
            </a:r>
            <a:r>
              <a:rPr lang="en-US" altLang="zh-CN" sz="1600" smtClean="0">
                <a:solidFill>
                  <a:schemeClr val="tx1"/>
                </a:solidFill>
                <a:latin typeface="HelveticaNeueLT Pro 35 Th" pitchFamily="34" charset="0"/>
                <a:ea typeface="华文细黑" panose="02010600040101010101" pitchFamily="2" charset="-122"/>
              </a:rPr>
              <a:t>CLEAR</a:t>
            </a:r>
            <a:endParaRPr lang="zh-CN" altLang="en-US" sz="1600">
              <a:solidFill>
                <a:schemeClr val="tx1"/>
              </a:solidFill>
              <a:latin typeface="HelveticaNeueLT Pro 35 Th" pitchFamily="34" charset="0"/>
              <a:ea typeface="华文细黑" panose="02010600040101010101" pitchFamily="2" charset="-122"/>
            </a:endParaRPr>
          </a:p>
        </p:txBody>
      </p:sp>
      <p:sp>
        <p:nvSpPr>
          <p:cNvPr id="21" name="矩形 20"/>
          <p:cNvSpPr/>
          <p:nvPr/>
        </p:nvSpPr>
        <p:spPr>
          <a:xfrm>
            <a:off x="8327454" y="5013176"/>
            <a:ext cx="1853412" cy="504056"/>
          </a:xfrm>
          <a:prstGeom prst="rect">
            <a:avLst/>
          </a:prstGeom>
          <a:solidFill>
            <a:srgbClr val="47A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smtClean="0">
                <a:solidFill>
                  <a:schemeClr val="bg1"/>
                </a:solidFill>
                <a:latin typeface="HelveticaNeueLT Pro 35 Th" pitchFamily="34" charset="0"/>
                <a:ea typeface="华文细黑" panose="02010600040101010101" pitchFamily="2" charset="-122"/>
              </a:rPr>
              <a:t>时尚 </a:t>
            </a:r>
            <a:r>
              <a:rPr lang="en-US" altLang="zh-CN" sz="1600" smtClean="0">
                <a:solidFill>
                  <a:schemeClr val="bg1"/>
                </a:solidFill>
                <a:latin typeface="HelveticaNeueLT Pro 35 Th" pitchFamily="34" charset="0"/>
                <a:ea typeface="华文细黑" panose="02010600040101010101" pitchFamily="2" charset="-122"/>
              </a:rPr>
              <a:t>FASHION</a:t>
            </a:r>
            <a:endParaRPr lang="zh-CN" altLang="en-US" sz="1600">
              <a:solidFill>
                <a:schemeClr val="bg1"/>
              </a:solidFill>
              <a:latin typeface="HelveticaNeueLT Pro 35 Th" pitchFamily="34" charset="0"/>
              <a:ea typeface="华文细黑" panose="02010600040101010101" pitchFamily="2" charset="-122"/>
            </a:endParaRPr>
          </a:p>
        </p:txBody>
      </p:sp>
      <p:sp>
        <p:nvSpPr>
          <p:cNvPr id="14" name="TextBox 13"/>
          <p:cNvSpPr txBox="1"/>
          <p:nvPr/>
        </p:nvSpPr>
        <p:spPr>
          <a:xfrm>
            <a:off x="3925381" y="3789040"/>
            <a:ext cx="4339651" cy="369332"/>
          </a:xfrm>
          <a:prstGeom prst="rect">
            <a:avLst/>
          </a:prstGeom>
          <a:noFill/>
        </p:spPr>
        <p:txBody>
          <a:bodyPr wrap="none" rtlCol="0">
            <a:spAutoFit/>
          </a:bodyPr>
          <a:lstStyle/>
          <a:p>
            <a:pPr algn="ctr"/>
            <a:r>
              <a:rPr lang="zh-CN" altLang="en-US" dirty="0">
                <a:solidFill>
                  <a:schemeClr val="bg1"/>
                </a:solidFill>
                <a:latin typeface="华文黑体" pitchFamily="2" charset="-122"/>
                <a:ea typeface="华文黑体" pitchFamily="2" charset="-122"/>
                <a:cs typeface="华文黑体" pitchFamily="2" charset="-122"/>
              </a:rPr>
              <a:t>单击添加</a:t>
            </a:r>
            <a:r>
              <a:rPr lang="zh-CN" altLang="en-US" dirty="0" smtClean="0">
                <a:solidFill>
                  <a:schemeClr val="bg1"/>
                </a:solidFill>
                <a:latin typeface="华文黑体" pitchFamily="2" charset="-122"/>
                <a:ea typeface="华文黑体" pitchFamily="2" charset="-122"/>
                <a:cs typeface="华文黑体" pitchFamily="2" charset="-122"/>
              </a:rPr>
              <a:t>文本</a:t>
            </a:r>
            <a:r>
              <a:rPr lang="zh-CN" altLang="en-US" dirty="0">
                <a:solidFill>
                  <a:schemeClr val="bg1"/>
                </a:solidFill>
                <a:latin typeface="华文黑体" pitchFamily="2" charset="-122"/>
                <a:ea typeface="华文黑体" pitchFamily="2" charset="-122"/>
                <a:cs typeface="华文黑体" pitchFamily="2" charset="-122"/>
              </a:rPr>
              <a:t>单击添加</a:t>
            </a:r>
            <a:r>
              <a:rPr lang="zh-CN" altLang="en-US" dirty="0" smtClean="0">
                <a:solidFill>
                  <a:schemeClr val="bg1"/>
                </a:solidFill>
                <a:latin typeface="华文黑体" pitchFamily="2" charset="-122"/>
                <a:ea typeface="华文黑体" pitchFamily="2" charset="-122"/>
                <a:cs typeface="华文黑体" pitchFamily="2" charset="-122"/>
              </a:rPr>
              <a:t>文本单击</a:t>
            </a:r>
            <a:r>
              <a:rPr lang="zh-CN" altLang="en-US" dirty="0">
                <a:solidFill>
                  <a:schemeClr val="bg1"/>
                </a:solidFill>
                <a:latin typeface="华文黑体" pitchFamily="2" charset="-122"/>
                <a:ea typeface="华文黑体" pitchFamily="2" charset="-122"/>
                <a:cs typeface="华文黑体" pitchFamily="2" charset="-122"/>
              </a:rPr>
              <a:t>添加</a:t>
            </a:r>
            <a:r>
              <a:rPr lang="zh-CN" altLang="en-US" dirty="0" smtClean="0">
                <a:solidFill>
                  <a:schemeClr val="bg1"/>
                </a:solidFill>
                <a:latin typeface="华文黑体" pitchFamily="2" charset="-122"/>
                <a:ea typeface="华文黑体" pitchFamily="2" charset="-122"/>
                <a:cs typeface="华文黑体" pitchFamily="2" charset="-122"/>
              </a:rPr>
              <a:t>文本</a:t>
            </a:r>
            <a:endParaRPr lang="zh-CN" altLang="en-US" dirty="0">
              <a:solidFill>
                <a:schemeClr val="bg1"/>
              </a:solidFill>
              <a:latin typeface="华文黑体" pitchFamily="2" charset="-122"/>
              <a:ea typeface="华文黑体" pitchFamily="2" charset="-122"/>
              <a:cs typeface="华文黑体" pitchFamily="2" charset="-122"/>
            </a:endParaRPr>
          </a:p>
        </p:txBody>
      </p:sp>
      <p:grpSp>
        <p:nvGrpSpPr>
          <p:cNvPr id="2" name="组合 1"/>
          <p:cNvGrpSpPr/>
          <p:nvPr/>
        </p:nvGrpSpPr>
        <p:grpSpPr>
          <a:xfrm>
            <a:off x="2865294" y="2348880"/>
            <a:ext cx="6317908" cy="1200329"/>
            <a:chOff x="2936252" y="1865633"/>
            <a:chExt cx="6317908" cy="1200329"/>
          </a:xfrm>
        </p:grpSpPr>
        <p:sp>
          <p:nvSpPr>
            <p:cNvPr id="11" name="圆角矩形 10"/>
            <p:cNvSpPr/>
            <p:nvPr/>
          </p:nvSpPr>
          <p:spPr>
            <a:xfrm>
              <a:off x="2936252" y="1865633"/>
              <a:ext cx="6317908" cy="1200329"/>
            </a:xfrm>
            <a:prstGeom prst="roundRect">
              <a:avLst/>
            </a:prstGeom>
            <a:solidFill>
              <a:schemeClr val="bg1"/>
            </a:solidFill>
            <a:ln>
              <a:noFill/>
            </a:ln>
            <a:effectLst>
              <a:outerShdw blurRad="317500" dist="1778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 name="TextBox 14"/>
            <p:cNvSpPr txBox="1"/>
            <p:nvPr/>
          </p:nvSpPr>
          <p:spPr>
            <a:xfrm>
              <a:off x="4044807" y="1865633"/>
              <a:ext cx="4100803" cy="1200329"/>
            </a:xfrm>
            <a:prstGeom prst="rect">
              <a:avLst/>
            </a:prstGeom>
            <a:noFill/>
          </p:spPr>
          <p:txBody>
            <a:bodyPr wrap="none" rtlCol="0">
              <a:spAutoFit/>
            </a:bodyPr>
            <a:lstStyle/>
            <a:p>
              <a:pPr algn="ctr"/>
              <a:r>
                <a:rPr lang="en-US" altLang="zh-CN" sz="7200" smtClean="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anose="02010600040101010101" pitchFamily="2" charset="-122"/>
                  <a:cs typeface="华文黑体" pitchFamily="2" charset="-122"/>
                </a:rPr>
                <a:t>THANKS !</a:t>
              </a:r>
              <a:endParaRPr lang="zh-CN" altLang="en-US"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anose="02010600040101010101" pitchFamily="2" charset="-122"/>
                <a:cs typeface="华文黑体" pitchFamily="2" charset="-122"/>
              </a:endParaRPr>
            </a:p>
          </p:txBody>
        </p:sp>
      </p:grpSp>
    </p:spTree>
  </p:cSld>
  <p:clrMapOvr>
    <a:masterClrMapping/>
  </p:clrMapOvr>
  <p:transition spd="slow">
    <p:pull/>
  </p:transition>
  <mc:AlternateContent xmlns:mc="http://schemas.openxmlformats.org/markup-compatibility/2006">
    <mc:Choice xmlns:p14="http://schemas.microsoft.com/office/powerpoint/2010/main"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accel="58000" fill="hold" nodeType="withEffect" p14:presetBounceEnd="58000">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14:bounceEnd="58000">
                                          <p:cBhvr additive="base">
                                            <p:cTn id="7" dur="1000" fill="hold"/>
                                            <p:tgtEl>
                                              <p:spTgt spid="2"/>
                                            </p:tgtEl>
                                            <p:attrNameLst>
                                              <p:attrName>ppt_x</p:attrName>
                                            </p:attrNameLst>
                                          </p:cBhvr>
                                          <p:tavLst>
                                            <p:tav tm="0">
                                              <p:val>
                                                <p:strVal val="#ppt_x"/>
                                              </p:val>
                                            </p:tav>
                                            <p:tav tm="100000">
                                              <p:val>
                                                <p:strVal val="#ppt_x"/>
                                              </p:val>
                                            </p:tav>
                                          </p:tavLst>
                                        </p:anim>
                                        <p:anim calcmode="lin" valueType="num" p14:bounceEnd="58000">
                                          <p:cBhvr additive="base">
                                            <p:cTn id="8" dur="1000" fill="hold"/>
                                            <p:tgtEl>
                                              <p:spTgt spid="2"/>
                                            </p:tgtEl>
                                            <p:attrNameLst>
                                              <p:attrName>ppt_y</p:attrName>
                                            </p:attrNameLst>
                                          </p:cBhvr>
                                          <p:tavLst>
                                            <p:tav tm="0">
                                              <p:val>
                                                <p:strVal val="0-#ppt_h/2"/>
                                              </p:val>
                                            </p:tav>
                                            <p:tav tm="100000">
                                              <p:val>
                                                <p:strVal val="#ppt_y"/>
                                              </p:val>
                                            </p:tav>
                                          </p:tavLst>
                                        </p:anim>
                                      </p:childTnLst>
                                    </p:cTn>
                                  </p:par>
                                  <p:par>
                                    <p:cTn id="9" presetID="22" presetClass="entr" presetSubtype="1" fill="hold" grpId="0" nodeType="withEffect">
                                      <p:stCondLst>
                                        <p:cond delay="0"/>
                                      </p:stCondLst>
                                      <p:childTnLst>
                                        <p:set>
                                          <p:cBhvr>
                                            <p:cTn id="10" dur="1" fill="hold">
                                              <p:stCondLst>
                                                <p:cond delay="0"/>
                                              </p:stCondLst>
                                            </p:cTn>
                                            <p:tgtEl>
                                              <p:spTgt spid="14"/>
                                            </p:tgtEl>
                                            <p:attrNameLst>
                                              <p:attrName>style.visibility</p:attrName>
                                            </p:attrNameLst>
                                          </p:cBhvr>
                                          <p:to>
                                            <p:strVal val="visible"/>
                                          </p:to>
                                        </p:set>
                                        <p:animEffect transition="in" filter="wipe(up)">
                                          <p:cBhvr>
                                            <p:cTn id="11" dur="500"/>
                                            <p:tgtEl>
                                              <p:spTgt spid="14"/>
                                            </p:tgtEl>
                                          </p:cBhvr>
                                        </p:animEffect>
                                      </p:childTnLst>
                                    </p:cTn>
                                  </p:par>
                                  <p:par>
                                    <p:cTn id="12" presetID="2" presetClass="entr" presetSubtype="8" fill="hold" grpId="0" nodeType="withEffect">
                                      <p:stCondLst>
                                        <p:cond delay="0"/>
                                      </p:stCondLst>
                                      <p:childTnLst>
                                        <p:set>
                                          <p:cBhvr>
                                            <p:cTn id="13" dur="1" fill="hold">
                                              <p:stCondLst>
                                                <p:cond delay="0"/>
                                              </p:stCondLst>
                                            </p:cTn>
                                            <p:tgtEl>
                                              <p:spTgt spid="13"/>
                                            </p:tgtEl>
                                            <p:attrNameLst>
                                              <p:attrName>style.visibility</p:attrName>
                                            </p:attrNameLst>
                                          </p:cBhvr>
                                          <p:to>
                                            <p:strVal val="visible"/>
                                          </p:to>
                                        </p:set>
                                        <p:anim calcmode="lin" valueType="num">
                                          <p:cBhvr additive="base">
                                            <p:cTn id="14" dur="500" fill="hold"/>
                                            <p:tgtEl>
                                              <p:spTgt spid="13"/>
                                            </p:tgtEl>
                                            <p:attrNameLst>
                                              <p:attrName>ppt_x</p:attrName>
                                            </p:attrNameLst>
                                          </p:cBhvr>
                                          <p:tavLst>
                                            <p:tav tm="0">
                                              <p:val>
                                                <p:strVal val="0-#ppt_w/2"/>
                                              </p:val>
                                            </p:tav>
                                            <p:tav tm="100000">
                                              <p:val>
                                                <p:strVal val="#ppt_x"/>
                                              </p:val>
                                            </p:tav>
                                          </p:tavLst>
                                        </p:anim>
                                        <p:anim calcmode="lin" valueType="num">
                                          <p:cBhvr additive="base">
                                            <p:cTn id="15" dur="500" fill="hold"/>
                                            <p:tgtEl>
                                              <p:spTgt spid="13"/>
                                            </p:tgtEl>
                                            <p:attrNameLst>
                                              <p:attrName>ppt_y</p:attrName>
                                            </p:attrNameLst>
                                          </p:cBhvr>
                                          <p:tavLst>
                                            <p:tav tm="0">
                                              <p:val>
                                                <p:strVal val="#ppt_y"/>
                                              </p:val>
                                            </p:tav>
                                            <p:tav tm="100000">
                                              <p:val>
                                                <p:strVal val="#ppt_y"/>
                                              </p:val>
                                            </p:tav>
                                          </p:tavLst>
                                        </p:anim>
                                      </p:childTnLst>
                                    </p:cTn>
                                  </p:par>
                                  <p:par>
                                    <p:cTn id="16" presetID="2" presetClass="entr" presetSubtype="8" fill="hold" grpId="0" nodeType="withEffect">
                                      <p:stCondLst>
                                        <p:cond delay="0"/>
                                      </p:stCondLst>
                                      <p:childTnLst>
                                        <p:set>
                                          <p:cBhvr>
                                            <p:cTn id="17" dur="1" fill="hold">
                                              <p:stCondLst>
                                                <p:cond delay="0"/>
                                              </p:stCondLst>
                                            </p:cTn>
                                            <p:tgtEl>
                                              <p:spTgt spid="19"/>
                                            </p:tgtEl>
                                            <p:attrNameLst>
                                              <p:attrName>style.visibility</p:attrName>
                                            </p:attrNameLst>
                                          </p:cBhvr>
                                          <p:to>
                                            <p:strVal val="visible"/>
                                          </p:to>
                                        </p:set>
                                        <p:anim calcmode="lin" valueType="num">
                                          <p:cBhvr additive="base">
                                            <p:cTn id="18" dur="500" fill="hold"/>
                                            <p:tgtEl>
                                              <p:spTgt spid="19"/>
                                            </p:tgtEl>
                                            <p:attrNameLst>
                                              <p:attrName>ppt_x</p:attrName>
                                            </p:attrNameLst>
                                          </p:cBhvr>
                                          <p:tavLst>
                                            <p:tav tm="0">
                                              <p:val>
                                                <p:strVal val="0-#ppt_w/2"/>
                                              </p:val>
                                            </p:tav>
                                            <p:tav tm="100000">
                                              <p:val>
                                                <p:strVal val="#ppt_x"/>
                                              </p:val>
                                            </p:tav>
                                          </p:tavLst>
                                        </p:anim>
                                        <p:anim calcmode="lin" valueType="num">
                                          <p:cBhvr additive="base">
                                            <p:cTn id="19" dur="500" fill="hold"/>
                                            <p:tgtEl>
                                              <p:spTgt spid="19"/>
                                            </p:tgtEl>
                                            <p:attrNameLst>
                                              <p:attrName>ppt_y</p:attrName>
                                            </p:attrNameLst>
                                          </p:cBhvr>
                                          <p:tavLst>
                                            <p:tav tm="0">
                                              <p:val>
                                                <p:strVal val="#ppt_y"/>
                                              </p:val>
                                            </p:tav>
                                            <p:tav tm="100000">
                                              <p:val>
                                                <p:strVal val="#ppt_y"/>
                                              </p:val>
                                            </p:tav>
                                          </p:tavLst>
                                        </p:anim>
                                      </p:childTnLst>
                                    </p:cTn>
                                  </p:par>
                                  <p:par>
                                    <p:cTn id="20" presetID="2" presetClass="entr" presetSubtype="2" fill="hold" grpId="0" nodeType="withEffect">
                                      <p:stCondLst>
                                        <p:cond delay="0"/>
                                      </p:stCondLst>
                                      <p:childTnLst>
                                        <p:set>
                                          <p:cBhvr>
                                            <p:cTn id="21" dur="1" fill="hold">
                                              <p:stCondLst>
                                                <p:cond delay="0"/>
                                              </p:stCondLst>
                                            </p:cTn>
                                            <p:tgtEl>
                                              <p:spTgt spid="20"/>
                                            </p:tgtEl>
                                            <p:attrNameLst>
                                              <p:attrName>style.visibility</p:attrName>
                                            </p:attrNameLst>
                                          </p:cBhvr>
                                          <p:to>
                                            <p:strVal val="visible"/>
                                          </p:to>
                                        </p:set>
                                        <p:anim calcmode="lin" valueType="num">
                                          <p:cBhvr additive="base">
                                            <p:cTn id="22" dur="500" fill="hold"/>
                                            <p:tgtEl>
                                              <p:spTgt spid="20"/>
                                            </p:tgtEl>
                                            <p:attrNameLst>
                                              <p:attrName>ppt_x</p:attrName>
                                            </p:attrNameLst>
                                          </p:cBhvr>
                                          <p:tavLst>
                                            <p:tav tm="0">
                                              <p:val>
                                                <p:strVal val="1+#ppt_w/2"/>
                                              </p:val>
                                            </p:tav>
                                            <p:tav tm="100000">
                                              <p:val>
                                                <p:strVal val="#ppt_x"/>
                                              </p:val>
                                            </p:tav>
                                          </p:tavLst>
                                        </p:anim>
                                        <p:anim calcmode="lin" valueType="num">
                                          <p:cBhvr additive="base">
                                            <p:cTn id="23" dur="500" fill="hold"/>
                                            <p:tgtEl>
                                              <p:spTgt spid="20"/>
                                            </p:tgtEl>
                                            <p:attrNameLst>
                                              <p:attrName>ppt_y</p:attrName>
                                            </p:attrNameLst>
                                          </p:cBhvr>
                                          <p:tavLst>
                                            <p:tav tm="0">
                                              <p:val>
                                                <p:strVal val="#ppt_y"/>
                                              </p:val>
                                            </p:tav>
                                            <p:tav tm="100000">
                                              <p:val>
                                                <p:strVal val="#ppt_y"/>
                                              </p:val>
                                            </p:tav>
                                          </p:tavLst>
                                        </p:anim>
                                      </p:childTnLst>
                                    </p:cTn>
                                  </p:par>
                                  <p:par>
                                    <p:cTn id="24" presetID="2" presetClass="entr" presetSubtype="2" fill="hold" grpId="0" nodeType="withEffect">
                                      <p:stCondLst>
                                        <p:cond delay="0"/>
                                      </p:stCondLst>
                                      <p:childTnLst>
                                        <p:set>
                                          <p:cBhvr>
                                            <p:cTn id="25" dur="1" fill="hold">
                                              <p:stCondLst>
                                                <p:cond delay="0"/>
                                              </p:stCondLst>
                                            </p:cTn>
                                            <p:tgtEl>
                                              <p:spTgt spid="21"/>
                                            </p:tgtEl>
                                            <p:attrNameLst>
                                              <p:attrName>style.visibility</p:attrName>
                                            </p:attrNameLst>
                                          </p:cBhvr>
                                          <p:to>
                                            <p:strVal val="visible"/>
                                          </p:to>
                                        </p:set>
                                        <p:anim calcmode="lin" valueType="num">
                                          <p:cBhvr additive="base">
                                            <p:cTn id="26" dur="500" fill="hold"/>
                                            <p:tgtEl>
                                              <p:spTgt spid="21"/>
                                            </p:tgtEl>
                                            <p:attrNameLst>
                                              <p:attrName>ppt_x</p:attrName>
                                            </p:attrNameLst>
                                          </p:cBhvr>
                                          <p:tavLst>
                                            <p:tav tm="0">
                                              <p:val>
                                                <p:strVal val="1+#ppt_w/2"/>
                                              </p:val>
                                            </p:tav>
                                            <p:tav tm="100000">
                                              <p:val>
                                                <p:strVal val="#ppt_x"/>
                                              </p:val>
                                            </p:tav>
                                          </p:tavLst>
                                        </p:anim>
                                        <p:anim calcmode="lin" valueType="num">
                                          <p:cBhvr additive="base">
                                            <p:cTn id="27" dur="500" fill="hold"/>
                                            <p:tgtEl>
                                              <p:spTgt spid="21"/>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9" grpId="0" animBg="1"/>
          <p:bldP spid="20" grpId="0" animBg="1"/>
          <p:bldP spid="21" grpId="0" animBg="1"/>
          <p:bldP spid="14" grpId="0"/>
        </p:bldLst>
      </p:timing>
    </mc:Choice>
    <mc:Fallback>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accel="5800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1000" fill="hold"/>
                                            <p:tgtEl>
                                              <p:spTgt spid="2"/>
                                            </p:tgtEl>
                                            <p:attrNameLst>
                                              <p:attrName>ppt_x</p:attrName>
                                            </p:attrNameLst>
                                          </p:cBhvr>
                                          <p:tavLst>
                                            <p:tav tm="0">
                                              <p:val>
                                                <p:strVal val="#ppt_x"/>
                                              </p:val>
                                            </p:tav>
                                            <p:tav tm="100000">
                                              <p:val>
                                                <p:strVal val="#ppt_x"/>
                                              </p:val>
                                            </p:tav>
                                          </p:tavLst>
                                        </p:anim>
                                        <p:anim calcmode="lin" valueType="num">
                                          <p:cBhvr additive="base">
                                            <p:cTn id="8" dur="1000" fill="hold"/>
                                            <p:tgtEl>
                                              <p:spTgt spid="2"/>
                                            </p:tgtEl>
                                            <p:attrNameLst>
                                              <p:attrName>ppt_y</p:attrName>
                                            </p:attrNameLst>
                                          </p:cBhvr>
                                          <p:tavLst>
                                            <p:tav tm="0">
                                              <p:val>
                                                <p:strVal val="0-#ppt_h/2"/>
                                              </p:val>
                                            </p:tav>
                                            <p:tav tm="100000">
                                              <p:val>
                                                <p:strVal val="#ppt_y"/>
                                              </p:val>
                                            </p:tav>
                                          </p:tavLst>
                                        </p:anim>
                                      </p:childTnLst>
                                    </p:cTn>
                                  </p:par>
                                  <p:par>
                                    <p:cTn id="9" presetID="22" presetClass="entr" presetSubtype="1" fill="hold" grpId="0" nodeType="withEffect">
                                      <p:stCondLst>
                                        <p:cond delay="0"/>
                                      </p:stCondLst>
                                      <p:childTnLst>
                                        <p:set>
                                          <p:cBhvr>
                                            <p:cTn id="10" dur="1" fill="hold">
                                              <p:stCondLst>
                                                <p:cond delay="0"/>
                                              </p:stCondLst>
                                            </p:cTn>
                                            <p:tgtEl>
                                              <p:spTgt spid="14"/>
                                            </p:tgtEl>
                                            <p:attrNameLst>
                                              <p:attrName>style.visibility</p:attrName>
                                            </p:attrNameLst>
                                          </p:cBhvr>
                                          <p:to>
                                            <p:strVal val="visible"/>
                                          </p:to>
                                        </p:set>
                                        <p:animEffect transition="in" filter="wipe(up)">
                                          <p:cBhvr>
                                            <p:cTn id="11" dur="500"/>
                                            <p:tgtEl>
                                              <p:spTgt spid="14"/>
                                            </p:tgtEl>
                                          </p:cBhvr>
                                        </p:animEffect>
                                      </p:childTnLst>
                                    </p:cTn>
                                  </p:par>
                                  <p:par>
                                    <p:cTn id="12" presetID="2" presetClass="entr" presetSubtype="8" fill="hold" grpId="0" nodeType="withEffect">
                                      <p:stCondLst>
                                        <p:cond delay="0"/>
                                      </p:stCondLst>
                                      <p:childTnLst>
                                        <p:set>
                                          <p:cBhvr>
                                            <p:cTn id="13" dur="1" fill="hold">
                                              <p:stCondLst>
                                                <p:cond delay="0"/>
                                              </p:stCondLst>
                                            </p:cTn>
                                            <p:tgtEl>
                                              <p:spTgt spid="13"/>
                                            </p:tgtEl>
                                            <p:attrNameLst>
                                              <p:attrName>style.visibility</p:attrName>
                                            </p:attrNameLst>
                                          </p:cBhvr>
                                          <p:to>
                                            <p:strVal val="visible"/>
                                          </p:to>
                                        </p:set>
                                        <p:anim calcmode="lin" valueType="num">
                                          <p:cBhvr additive="base">
                                            <p:cTn id="14" dur="500" fill="hold"/>
                                            <p:tgtEl>
                                              <p:spTgt spid="13"/>
                                            </p:tgtEl>
                                            <p:attrNameLst>
                                              <p:attrName>ppt_x</p:attrName>
                                            </p:attrNameLst>
                                          </p:cBhvr>
                                          <p:tavLst>
                                            <p:tav tm="0">
                                              <p:val>
                                                <p:strVal val="0-#ppt_w/2"/>
                                              </p:val>
                                            </p:tav>
                                            <p:tav tm="100000">
                                              <p:val>
                                                <p:strVal val="#ppt_x"/>
                                              </p:val>
                                            </p:tav>
                                          </p:tavLst>
                                        </p:anim>
                                        <p:anim calcmode="lin" valueType="num">
                                          <p:cBhvr additive="base">
                                            <p:cTn id="15" dur="500" fill="hold"/>
                                            <p:tgtEl>
                                              <p:spTgt spid="13"/>
                                            </p:tgtEl>
                                            <p:attrNameLst>
                                              <p:attrName>ppt_y</p:attrName>
                                            </p:attrNameLst>
                                          </p:cBhvr>
                                          <p:tavLst>
                                            <p:tav tm="0">
                                              <p:val>
                                                <p:strVal val="#ppt_y"/>
                                              </p:val>
                                            </p:tav>
                                            <p:tav tm="100000">
                                              <p:val>
                                                <p:strVal val="#ppt_y"/>
                                              </p:val>
                                            </p:tav>
                                          </p:tavLst>
                                        </p:anim>
                                      </p:childTnLst>
                                    </p:cTn>
                                  </p:par>
                                  <p:par>
                                    <p:cTn id="16" presetID="2" presetClass="entr" presetSubtype="8" fill="hold" grpId="0" nodeType="withEffect">
                                      <p:stCondLst>
                                        <p:cond delay="0"/>
                                      </p:stCondLst>
                                      <p:childTnLst>
                                        <p:set>
                                          <p:cBhvr>
                                            <p:cTn id="17" dur="1" fill="hold">
                                              <p:stCondLst>
                                                <p:cond delay="0"/>
                                              </p:stCondLst>
                                            </p:cTn>
                                            <p:tgtEl>
                                              <p:spTgt spid="19"/>
                                            </p:tgtEl>
                                            <p:attrNameLst>
                                              <p:attrName>style.visibility</p:attrName>
                                            </p:attrNameLst>
                                          </p:cBhvr>
                                          <p:to>
                                            <p:strVal val="visible"/>
                                          </p:to>
                                        </p:set>
                                        <p:anim calcmode="lin" valueType="num">
                                          <p:cBhvr additive="base">
                                            <p:cTn id="18" dur="500" fill="hold"/>
                                            <p:tgtEl>
                                              <p:spTgt spid="19"/>
                                            </p:tgtEl>
                                            <p:attrNameLst>
                                              <p:attrName>ppt_x</p:attrName>
                                            </p:attrNameLst>
                                          </p:cBhvr>
                                          <p:tavLst>
                                            <p:tav tm="0">
                                              <p:val>
                                                <p:strVal val="0-#ppt_w/2"/>
                                              </p:val>
                                            </p:tav>
                                            <p:tav tm="100000">
                                              <p:val>
                                                <p:strVal val="#ppt_x"/>
                                              </p:val>
                                            </p:tav>
                                          </p:tavLst>
                                        </p:anim>
                                        <p:anim calcmode="lin" valueType="num">
                                          <p:cBhvr additive="base">
                                            <p:cTn id="19" dur="500" fill="hold"/>
                                            <p:tgtEl>
                                              <p:spTgt spid="19"/>
                                            </p:tgtEl>
                                            <p:attrNameLst>
                                              <p:attrName>ppt_y</p:attrName>
                                            </p:attrNameLst>
                                          </p:cBhvr>
                                          <p:tavLst>
                                            <p:tav tm="0">
                                              <p:val>
                                                <p:strVal val="#ppt_y"/>
                                              </p:val>
                                            </p:tav>
                                            <p:tav tm="100000">
                                              <p:val>
                                                <p:strVal val="#ppt_y"/>
                                              </p:val>
                                            </p:tav>
                                          </p:tavLst>
                                        </p:anim>
                                      </p:childTnLst>
                                    </p:cTn>
                                  </p:par>
                                  <p:par>
                                    <p:cTn id="20" presetID="2" presetClass="entr" presetSubtype="2" fill="hold" grpId="0" nodeType="withEffect">
                                      <p:stCondLst>
                                        <p:cond delay="0"/>
                                      </p:stCondLst>
                                      <p:childTnLst>
                                        <p:set>
                                          <p:cBhvr>
                                            <p:cTn id="21" dur="1" fill="hold">
                                              <p:stCondLst>
                                                <p:cond delay="0"/>
                                              </p:stCondLst>
                                            </p:cTn>
                                            <p:tgtEl>
                                              <p:spTgt spid="20"/>
                                            </p:tgtEl>
                                            <p:attrNameLst>
                                              <p:attrName>style.visibility</p:attrName>
                                            </p:attrNameLst>
                                          </p:cBhvr>
                                          <p:to>
                                            <p:strVal val="visible"/>
                                          </p:to>
                                        </p:set>
                                        <p:anim calcmode="lin" valueType="num">
                                          <p:cBhvr additive="base">
                                            <p:cTn id="22" dur="500" fill="hold"/>
                                            <p:tgtEl>
                                              <p:spTgt spid="20"/>
                                            </p:tgtEl>
                                            <p:attrNameLst>
                                              <p:attrName>ppt_x</p:attrName>
                                            </p:attrNameLst>
                                          </p:cBhvr>
                                          <p:tavLst>
                                            <p:tav tm="0">
                                              <p:val>
                                                <p:strVal val="1+#ppt_w/2"/>
                                              </p:val>
                                            </p:tav>
                                            <p:tav tm="100000">
                                              <p:val>
                                                <p:strVal val="#ppt_x"/>
                                              </p:val>
                                            </p:tav>
                                          </p:tavLst>
                                        </p:anim>
                                        <p:anim calcmode="lin" valueType="num">
                                          <p:cBhvr additive="base">
                                            <p:cTn id="23" dur="500" fill="hold"/>
                                            <p:tgtEl>
                                              <p:spTgt spid="20"/>
                                            </p:tgtEl>
                                            <p:attrNameLst>
                                              <p:attrName>ppt_y</p:attrName>
                                            </p:attrNameLst>
                                          </p:cBhvr>
                                          <p:tavLst>
                                            <p:tav tm="0">
                                              <p:val>
                                                <p:strVal val="#ppt_y"/>
                                              </p:val>
                                            </p:tav>
                                            <p:tav tm="100000">
                                              <p:val>
                                                <p:strVal val="#ppt_y"/>
                                              </p:val>
                                            </p:tav>
                                          </p:tavLst>
                                        </p:anim>
                                      </p:childTnLst>
                                    </p:cTn>
                                  </p:par>
                                  <p:par>
                                    <p:cTn id="24" presetID="2" presetClass="entr" presetSubtype="2" fill="hold" grpId="0" nodeType="withEffect">
                                      <p:stCondLst>
                                        <p:cond delay="0"/>
                                      </p:stCondLst>
                                      <p:childTnLst>
                                        <p:set>
                                          <p:cBhvr>
                                            <p:cTn id="25" dur="1" fill="hold">
                                              <p:stCondLst>
                                                <p:cond delay="0"/>
                                              </p:stCondLst>
                                            </p:cTn>
                                            <p:tgtEl>
                                              <p:spTgt spid="21"/>
                                            </p:tgtEl>
                                            <p:attrNameLst>
                                              <p:attrName>style.visibility</p:attrName>
                                            </p:attrNameLst>
                                          </p:cBhvr>
                                          <p:to>
                                            <p:strVal val="visible"/>
                                          </p:to>
                                        </p:set>
                                        <p:anim calcmode="lin" valueType="num">
                                          <p:cBhvr additive="base">
                                            <p:cTn id="26" dur="500" fill="hold"/>
                                            <p:tgtEl>
                                              <p:spTgt spid="21"/>
                                            </p:tgtEl>
                                            <p:attrNameLst>
                                              <p:attrName>ppt_x</p:attrName>
                                            </p:attrNameLst>
                                          </p:cBhvr>
                                          <p:tavLst>
                                            <p:tav tm="0">
                                              <p:val>
                                                <p:strVal val="1+#ppt_w/2"/>
                                              </p:val>
                                            </p:tav>
                                            <p:tav tm="100000">
                                              <p:val>
                                                <p:strVal val="#ppt_x"/>
                                              </p:val>
                                            </p:tav>
                                          </p:tavLst>
                                        </p:anim>
                                        <p:anim calcmode="lin" valueType="num">
                                          <p:cBhvr additive="base">
                                            <p:cTn id="27" dur="500" fill="hold"/>
                                            <p:tgtEl>
                                              <p:spTgt spid="21"/>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9" grpId="0" animBg="1"/>
          <p:bldP spid="20" grpId="0" animBg="1"/>
          <p:bldP spid="21" grpId="0" animBg="1"/>
          <p:bldP spid="14" grpId="0"/>
        </p:bldLst>
      </p:timing>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3" name="矩形 2"/>
          <p:cNvSpPr/>
          <p:nvPr/>
        </p:nvSpPr>
        <p:spPr>
          <a:xfrm>
            <a:off x="10455" y="-35123"/>
            <a:ext cx="12178707" cy="68920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sz="1400"/>
          </a:p>
        </p:txBody>
      </p:sp>
      <p:sp>
        <p:nvSpPr>
          <p:cNvPr id="7" name="矩形 6"/>
          <p:cNvSpPr/>
          <p:nvPr/>
        </p:nvSpPr>
        <p:spPr>
          <a:xfrm>
            <a:off x="1568" y="2587251"/>
            <a:ext cx="12187594" cy="1237233"/>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marL="0" marR="0" indent="0" algn="ctr" defTabSz="914400" rtl="0" eaLnBrk="0" fontAlgn="base" latinLnBrk="0" hangingPunct="0">
              <a:lnSpc>
                <a:spcPct val="100000"/>
              </a:lnSpc>
              <a:spcBef>
                <a:spcPct val="0"/>
              </a:spcBef>
              <a:spcAft>
                <a:spcPct val="0"/>
              </a:spcAft>
              <a:buClrTx/>
              <a:buSzTx/>
              <a:buFont typeface="Arial" panose="020B0604020202020204" pitchFamily="34" charset="0"/>
              <a:buNone/>
              <a:defRPr/>
            </a:pPr>
            <a:r>
              <a:rPr kumimoji="0" lang="zh-CN" altLang="en-US" sz="2800" b="1" i="0" u="none" strike="noStrike" kern="1200" cap="none" spc="200" normalizeH="0" baseline="0" noProof="1" dirty="0">
                <a:solidFill>
                  <a:srgbClr val="FFFFFF"/>
                </a:solidFill>
                <a:effectLst>
                  <a:outerShdw blurRad="38100" dist="38100" dir="2700000" algn="tl">
                    <a:srgbClr val="000000">
                      <a:alpha val="43137"/>
                    </a:srgbClr>
                  </a:outerShdw>
                </a:effectLst>
                <a:latin typeface="微软雅黑" panose="020B0503020204020204" charset="-122"/>
                <a:ea typeface="微软雅黑" panose="020B0503020204020204" charset="-122"/>
                <a:cs typeface="+mn-cs"/>
              </a:rPr>
              <a:t>10000+套</a:t>
            </a:r>
            <a:r>
              <a:rPr kumimoji="0" lang="zh-CN" altLang="en-US" sz="2770" b="1" i="0" u="none" strike="noStrike" kern="1200" cap="none" spc="200" normalizeH="0" baseline="0" noProof="1" dirty="0">
                <a:solidFill>
                  <a:srgbClr val="FFFFFF"/>
                </a:solidFill>
                <a:effectLst>
                  <a:outerShdw blurRad="38100" dist="38100" dir="2700000" algn="tl">
                    <a:srgbClr val="000000">
                      <a:alpha val="43137"/>
                    </a:srgbClr>
                  </a:outerShdw>
                </a:effectLst>
                <a:latin typeface="微软雅黑" panose="020B0503020204020204" charset="-122"/>
                <a:ea typeface="微软雅黑" panose="020B0503020204020204" charset="-122"/>
                <a:cs typeface="+mn-cs"/>
              </a:rPr>
              <a:t>精品</a:t>
            </a:r>
            <a:r>
              <a:rPr kumimoji="0" lang="en-US" altLang="zh-CN" sz="2770" b="1" i="0" u="none" strike="noStrike" kern="1200" cap="none" spc="200" normalizeH="0" baseline="0" noProof="1" dirty="0">
                <a:solidFill>
                  <a:srgbClr val="FFFFFF"/>
                </a:solidFill>
                <a:effectLst>
                  <a:outerShdw blurRad="38100" dist="38100" dir="2700000" algn="tl">
                    <a:srgbClr val="000000">
                      <a:alpha val="43137"/>
                    </a:srgbClr>
                  </a:outerShdw>
                </a:effectLst>
                <a:latin typeface="微软雅黑" panose="020B0503020204020204" charset="-122"/>
                <a:ea typeface="微软雅黑" panose="020B0503020204020204" charset="-122"/>
                <a:cs typeface="+mn-cs"/>
              </a:rPr>
              <a:t>PPT</a:t>
            </a:r>
            <a:r>
              <a:rPr kumimoji="0" lang="zh-CN" altLang="en-US" sz="2770" b="1" i="0" u="none" strike="noStrike" kern="1200" cap="none" spc="200" normalizeH="0" baseline="0" noProof="1" dirty="0">
                <a:solidFill>
                  <a:srgbClr val="FFFFFF"/>
                </a:solidFill>
                <a:effectLst>
                  <a:outerShdw blurRad="38100" dist="38100" dir="2700000" algn="tl">
                    <a:srgbClr val="000000">
                      <a:alpha val="43137"/>
                    </a:srgbClr>
                  </a:outerShdw>
                </a:effectLst>
                <a:latin typeface="微软雅黑" panose="020B0503020204020204" charset="-122"/>
                <a:ea typeface="微软雅黑" panose="020B0503020204020204" charset="-122"/>
                <a:cs typeface="+mn-cs"/>
              </a:rPr>
              <a:t>模板</a:t>
            </a:r>
            <a:r>
              <a:rPr kumimoji="0" lang="zh-CN" altLang="en-US" sz="2775" b="1" i="0" u="none" strike="noStrike" kern="1200" cap="none" spc="200" normalizeH="0" baseline="0" noProof="1" dirty="0">
                <a:solidFill>
                  <a:srgbClr val="FFC000"/>
                </a:solidFill>
                <a:effectLst>
                  <a:outerShdw blurRad="38100" dist="38100" dir="2700000" algn="tl">
                    <a:srgbClr val="000000">
                      <a:alpha val="43137"/>
                    </a:srgbClr>
                  </a:outerShdw>
                </a:effectLst>
                <a:latin typeface="微软雅黑" panose="020B0503020204020204" charset="-122"/>
                <a:ea typeface="微软雅黑" panose="020B0503020204020204" charset="-122"/>
                <a:cs typeface="+mn-cs"/>
              </a:rPr>
              <a:t>全部免费</a:t>
            </a:r>
            <a:r>
              <a:rPr kumimoji="0" lang="zh-CN" altLang="en-US" sz="2770" b="1" i="0" u="none" strike="noStrike" kern="1200" cap="none" spc="200" normalizeH="0" baseline="0" noProof="1" dirty="0">
                <a:solidFill>
                  <a:srgbClr val="FFFFFF"/>
                </a:solidFill>
                <a:effectLst>
                  <a:outerShdw blurRad="38100" dist="38100" dir="2700000" algn="tl">
                    <a:srgbClr val="000000">
                      <a:alpha val="43137"/>
                    </a:srgbClr>
                  </a:outerShdw>
                </a:effectLst>
                <a:latin typeface="微软雅黑" panose="020B0503020204020204" charset="-122"/>
                <a:ea typeface="微软雅黑" panose="020B0503020204020204" charset="-122"/>
                <a:cs typeface="+mn-cs"/>
              </a:rPr>
              <a:t>下载</a:t>
            </a:r>
            <a:endParaRPr kumimoji="0" lang="en-US" altLang="zh-CN" sz="2770" b="1" i="0" u="none" strike="noStrike" kern="1200" cap="none" spc="200" normalizeH="0" baseline="0" noProof="1" dirty="0">
              <a:solidFill>
                <a:srgbClr val="FFFFFF"/>
              </a:solidFill>
              <a:effectLst>
                <a:outerShdw blurRad="38100" dist="38100" dir="2700000" algn="tl">
                  <a:srgbClr val="000000">
                    <a:alpha val="43137"/>
                  </a:srgbClr>
                </a:outerShdw>
              </a:effectLst>
              <a:latin typeface="微软雅黑" panose="020B0503020204020204" charset="-122"/>
              <a:ea typeface="微软雅黑" panose="020B0503020204020204" charset="-122"/>
              <a:cs typeface="+mn-cs"/>
            </a:endParaRPr>
          </a:p>
        </p:txBody>
      </p:sp>
      <p:pic>
        <p:nvPicPr>
          <p:cNvPr id="4" name="图片 3" descr="logo"/>
          <p:cNvPicPr>
            <a:picLocks noChangeAspect="1"/>
          </p:cNvPicPr>
          <p:nvPr/>
        </p:nvPicPr>
        <p:blipFill>
          <a:blip r:embed="rId1"/>
          <a:stretch>
            <a:fillRect/>
          </a:stretch>
        </p:blipFill>
        <p:spPr>
          <a:xfrm>
            <a:off x="4842581" y="1400803"/>
            <a:ext cx="2504300" cy="761764"/>
          </a:xfrm>
          <a:prstGeom prst="rect">
            <a:avLst/>
          </a:prstGeom>
        </p:spPr>
      </p:pic>
      <p:sp>
        <p:nvSpPr>
          <p:cNvPr id="5" name="文本框 4"/>
          <p:cNvSpPr txBox="1"/>
          <p:nvPr/>
        </p:nvSpPr>
        <p:spPr>
          <a:xfrm>
            <a:off x="4200159" y="4134267"/>
            <a:ext cx="3799299" cy="1076325"/>
          </a:xfrm>
          <a:prstGeom prst="rect">
            <a:avLst/>
          </a:prstGeom>
          <a:noFill/>
        </p:spPr>
        <p:txBody>
          <a:bodyPr wrap="square" rtlCol="0">
            <a:spAutoFit/>
          </a:bodyPr>
          <a:p>
            <a:pPr algn="ctr"/>
            <a:r>
              <a:rPr lang="en-US" altLang="zh-CN" sz="3200" b="1">
                <a:solidFill>
                  <a:schemeClr val="accent6"/>
                </a:solidFill>
                <a:hlinkClick r:id="rId2" action="ppaction://hlinkfile">
                  <a:extLst>
                    <a:ext uri="{DAF060AB-1E55-43B9-8AAB-6FB025537F2F}">
                      <wpsdc:hlinkClr xmlns:wpsdc="http://www.wps.cn/officeDocument/2017/drawingmlCustomData" val="E94520"/>
                      <wpsdc:folHlinkClr xmlns:wpsdc="http://www.wps.cn/officeDocument/2017/drawingmlCustomData" val="954D72"/>
                      <wpsdc:hlinkUnderline xmlns:wpsdc="http://www.wps.cn/officeDocument/2017/drawingmlCustomData" val="1"/>
                    </a:ext>
                  </a:extLst>
                </a:hlinkClick>
              </a:rPr>
              <a:t>PPT</a:t>
            </a:r>
            <a:r>
              <a:rPr lang="zh-CN" altLang="en-US" sz="3200" b="1">
                <a:solidFill>
                  <a:schemeClr val="accent6"/>
                </a:solidFill>
                <a:hlinkClick r:id="rId2" action="ppaction://hlinkfile">
                  <a:extLst>
                    <a:ext uri="{DAF060AB-1E55-43B9-8AAB-6FB025537F2F}">
                      <wpsdc:hlinkClr xmlns:wpsdc="http://www.wps.cn/officeDocument/2017/drawingmlCustomData" val="E94520"/>
                      <wpsdc:folHlinkClr xmlns:wpsdc="http://www.wps.cn/officeDocument/2017/drawingmlCustomData" val="954D72"/>
                      <wpsdc:hlinkUnderline xmlns:wpsdc="http://www.wps.cn/officeDocument/2017/drawingmlCustomData" val="1"/>
                    </a:ext>
                  </a:extLst>
                </a:hlinkClick>
              </a:rPr>
              <a:t>营</a:t>
            </a:r>
            <a:endParaRPr lang="zh-CN" altLang="en-US" sz="3200" b="1">
              <a:solidFill>
                <a:schemeClr val="accent6"/>
              </a:solidFill>
              <a:hlinkClick r:id="rId2" action="ppaction://hlinkfile">
                <a:extLst>
                  <a:ext uri="{DAF060AB-1E55-43B9-8AAB-6FB025537F2F}">
                    <wpsdc:hlinkClr xmlns:wpsdc="http://www.wps.cn/officeDocument/2017/drawingmlCustomData" val="E94520"/>
                    <wpsdc:folHlinkClr xmlns:wpsdc="http://www.wps.cn/officeDocument/2017/drawingmlCustomData" val="954D72"/>
                    <wpsdc:hlinkUnderline xmlns:wpsdc="http://www.wps.cn/officeDocument/2017/drawingmlCustomData" val="1"/>
                  </a:ext>
                </a:extLst>
              </a:hlinkClick>
            </a:endParaRPr>
          </a:p>
          <a:p>
            <a:pPr algn="ctr"/>
            <a:r>
              <a:rPr lang="en-US" altLang="zh-CN" sz="3200" b="1">
                <a:solidFill>
                  <a:schemeClr val="accent6"/>
                </a:solidFill>
                <a:hlinkClick r:id="rId2" action="ppaction://hlinkfile">
                  <a:extLst>
                    <a:ext uri="{DAF060AB-1E55-43B9-8AAB-6FB025537F2F}">
                      <wpsdc:hlinkClr xmlns:wpsdc="http://www.wps.cn/officeDocument/2017/drawingmlCustomData" val="E94520"/>
                      <wpsdc:folHlinkClr xmlns:wpsdc="http://www.wps.cn/officeDocument/2017/drawingmlCustomData" val="954D72"/>
                      <wpsdc:hlinkUnderline xmlns:wpsdc="http://www.wps.cn/officeDocument/2017/drawingmlCustomData" val="1"/>
                    </a:ext>
                  </a:extLst>
                </a:hlinkClick>
              </a:rPr>
              <a:t>www.pptying.com</a:t>
            </a:r>
            <a:endParaRPr lang="en-US" altLang="zh-CN" sz="3200" b="1">
              <a:solidFill>
                <a:schemeClr val="accent6"/>
              </a:solidFill>
              <a:hlinkClick r:id="rId2" action="ppaction://hlinkfile">
                <a:extLst>
                  <a:ext uri="{DAF060AB-1E55-43B9-8AAB-6FB025537F2F}">
                    <wpsdc:hlinkClr xmlns:wpsdc="http://www.wps.cn/officeDocument/2017/drawingmlCustomData" val="E94520"/>
                    <wpsdc:folHlinkClr xmlns:wpsdc="http://www.wps.cn/officeDocument/2017/drawingmlCustomData" val="954D72"/>
                    <wpsdc:hlinkUnderline xmlns:wpsdc="http://www.wps.cn/officeDocument/2017/drawingmlCustomData" val="1"/>
                  </a:ext>
                </a:extLst>
              </a:hlinkClick>
            </a:endParaRPr>
          </a:p>
        </p:txBody>
      </p:sp>
    </p:spTree>
  </p:cSld>
  <p:clrMapOvr>
    <a:masterClrMapping/>
  </p:clrMapOvr>
  <p:transition spd="med" advClick="0" advTm="0">
    <p:push dir="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矩形 33" hidden="1"/>
          <p:cNvSpPr/>
          <p:nvPr/>
        </p:nvSpPr>
        <p:spPr>
          <a:xfrm>
            <a:off x="2584817" y="2133288"/>
            <a:ext cx="936104" cy="6551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smtClean="0">
                <a:solidFill>
                  <a:srgbClr val="B0F533"/>
                </a:solidFill>
                <a:latin typeface="Gill Sans MT Pro Light" pitchFamily="34" charset="0"/>
              </a:rPr>
              <a:t>1</a:t>
            </a:r>
            <a:endParaRPr lang="zh-CN" altLang="en-US" sz="3600">
              <a:solidFill>
                <a:srgbClr val="B0F533"/>
              </a:solidFill>
              <a:latin typeface="Gill Sans MT Pro Light" pitchFamily="34" charset="0"/>
            </a:endParaRPr>
          </a:p>
        </p:txBody>
      </p:sp>
      <p:sp>
        <p:nvSpPr>
          <p:cNvPr id="35" name="矩形 34" hidden="1"/>
          <p:cNvSpPr/>
          <p:nvPr/>
        </p:nvSpPr>
        <p:spPr>
          <a:xfrm>
            <a:off x="3621305" y="2133288"/>
            <a:ext cx="5984291" cy="655104"/>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smtClean="0">
                <a:latin typeface="华文黑体" pitchFamily="2" charset="-122"/>
                <a:ea typeface="华文黑体" pitchFamily="2" charset="-122"/>
                <a:cs typeface="华文黑体" pitchFamily="2" charset="-122"/>
              </a:rPr>
              <a:t>                     点击添加标题</a:t>
            </a:r>
            <a:endParaRPr lang="zh-CN" altLang="en-US" sz="2800">
              <a:latin typeface="华文黑体" pitchFamily="2" charset="-122"/>
              <a:ea typeface="华文黑体" pitchFamily="2" charset="-122"/>
              <a:cs typeface="华文黑体" pitchFamily="2" charset="-122"/>
            </a:endParaRPr>
          </a:p>
        </p:txBody>
      </p:sp>
      <p:sp>
        <p:nvSpPr>
          <p:cNvPr id="3" name="矩形 2"/>
          <p:cNvSpPr/>
          <p:nvPr/>
        </p:nvSpPr>
        <p:spPr>
          <a:xfrm>
            <a:off x="1126654" y="1916832"/>
            <a:ext cx="1800200" cy="1800200"/>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3" name="矩形 32"/>
          <p:cNvSpPr/>
          <p:nvPr/>
        </p:nvSpPr>
        <p:spPr>
          <a:xfrm>
            <a:off x="1126654" y="3717032"/>
            <a:ext cx="1800200" cy="1080120"/>
          </a:xfrm>
          <a:prstGeom prst="rect">
            <a:avLst/>
          </a:prstGeom>
          <a:solidFill>
            <a:srgbClr val="FF78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a:latin typeface="华文细黑" panose="02010600040101010101" pitchFamily="2" charset="-122"/>
                <a:ea typeface="华文细黑" panose="02010600040101010101" pitchFamily="2" charset="-122"/>
                <a:cs typeface="华文黑体" pitchFamily="2" charset="-122"/>
              </a:rPr>
              <a:t>点击添加标题</a:t>
            </a:r>
            <a:endParaRPr lang="zh-CN" altLang="en-US">
              <a:latin typeface="华文细黑" panose="02010600040101010101" pitchFamily="2" charset="-122"/>
              <a:ea typeface="华文细黑" panose="02010600040101010101" pitchFamily="2" charset="-122"/>
              <a:cs typeface="华文黑体" pitchFamily="2" charset="-122"/>
            </a:endParaRPr>
          </a:p>
          <a:p>
            <a:pPr algn="ctr"/>
            <a:r>
              <a:rPr lang="zh-CN" altLang="en-US">
                <a:latin typeface="华文细黑" panose="02010600040101010101" pitchFamily="2" charset="-122"/>
                <a:ea typeface="华文细黑" panose="02010600040101010101" pitchFamily="2" charset="-122"/>
                <a:cs typeface="华文黑体" pitchFamily="2" charset="-122"/>
              </a:rPr>
              <a:t>点击添加</a:t>
            </a:r>
            <a:r>
              <a:rPr lang="zh-CN" altLang="en-US" smtClean="0">
                <a:latin typeface="华文细黑" panose="02010600040101010101" pitchFamily="2" charset="-122"/>
                <a:ea typeface="华文细黑" panose="02010600040101010101" pitchFamily="2" charset="-122"/>
                <a:cs typeface="华文黑体" pitchFamily="2" charset="-122"/>
              </a:rPr>
              <a:t>标题</a:t>
            </a:r>
            <a:endParaRPr lang="zh-CN" altLang="en-US">
              <a:latin typeface="华文细黑" panose="02010600040101010101" pitchFamily="2" charset="-122"/>
              <a:ea typeface="华文细黑" panose="02010600040101010101" pitchFamily="2" charset="-122"/>
              <a:cs typeface="华文黑体" pitchFamily="2" charset="-122"/>
            </a:endParaRPr>
          </a:p>
        </p:txBody>
      </p:sp>
      <p:sp>
        <p:nvSpPr>
          <p:cNvPr id="43" name="矩形 42"/>
          <p:cNvSpPr/>
          <p:nvPr/>
        </p:nvSpPr>
        <p:spPr>
          <a:xfrm>
            <a:off x="3160880" y="1916832"/>
            <a:ext cx="1800200" cy="1800200"/>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4" name="矩形 43"/>
          <p:cNvSpPr/>
          <p:nvPr/>
        </p:nvSpPr>
        <p:spPr>
          <a:xfrm>
            <a:off x="3160880" y="3717032"/>
            <a:ext cx="1800200" cy="1080120"/>
          </a:xfrm>
          <a:prstGeom prst="rect">
            <a:avLst/>
          </a:prstGeom>
          <a:solidFill>
            <a:srgbClr val="FF78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a:latin typeface="华文细黑" panose="02010600040101010101" pitchFamily="2" charset="-122"/>
                <a:ea typeface="华文细黑" panose="02010600040101010101" pitchFamily="2" charset="-122"/>
                <a:cs typeface="华文黑体" pitchFamily="2" charset="-122"/>
              </a:rPr>
              <a:t>点击添加标题</a:t>
            </a:r>
            <a:endParaRPr lang="zh-CN" altLang="en-US">
              <a:latin typeface="华文细黑" panose="02010600040101010101" pitchFamily="2" charset="-122"/>
              <a:ea typeface="华文细黑" panose="02010600040101010101" pitchFamily="2" charset="-122"/>
              <a:cs typeface="华文黑体" pitchFamily="2" charset="-122"/>
            </a:endParaRPr>
          </a:p>
          <a:p>
            <a:pPr algn="ctr"/>
            <a:r>
              <a:rPr lang="zh-CN" altLang="en-US">
                <a:latin typeface="华文细黑" panose="02010600040101010101" pitchFamily="2" charset="-122"/>
                <a:ea typeface="华文细黑" panose="02010600040101010101" pitchFamily="2" charset="-122"/>
                <a:cs typeface="华文黑体" pitchFamily="2" charset="-122"/>
              </a:rPr>
              <a:t>点击添加</a:t>
            </a:r>
            <a:r>
              <a:rPr lang="zh-CN" altLang="en-US" smtClean="0">
                <a:latin typeface="华文细黑" panose="02010600040101010101" pitchFamily="2" charset="-122"/>
                <a:ea typeface="华文细黑" panose="02010600040101010101" pitchFamily="2" charset="-122"/>
                <a:cs typeface="华文黑体" pitchFamily="2" charset="-122"/>
              </a:rPr>
              <a:t>标题</a:t>
            </a:r>
            <a:endParaRPr lang="zh-CN" altLang="en-US">
              <a:latin typeface="华文细黑" panose="02010600040101010101" pitchFamily="2" charset="-122"/>
              <a:ea typeface="华文细黑" panose="02010600040101010101" pitchFamily="2" charset="-122"/>
              <a:cs typeface="华文黑体" pitchFamily="2" charset="-122"/>
            </a:endParaRPr>
          </a:p>
        </p:txBody>
      </p:sp>
      <p:sp>
        <p:nvSpPr>
          <p:cNvPr id="45" name="矩形 44"/>
          <p:cNvSpPr/>
          <p:nvPr/>
        </p:nvSpPr>
        <p:spPr>
          <a:xfrm>
            <a:off x="5195106" y="1916832"/>
            <a:ext cx="1800200" cy="1800200"/>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8" name="矩形 47"/>
          <p:cNvSpPr/>
          <p:nvPr/>
        </p:nvSpPr>
        <p:spPr>
          <a:xfrm>
            <a:off x="5195106" y="3717032"/>
            <a:ext cx="1800200" cy="1080120"/>
          </a:xfrm>
          <a:prstGeom prst="rect">
            <a:avLst/>
          </a:prstGeom>
          <a:solidFill>
            <a:srgbClr val="FF78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a:latin typeface="华文细黑" panose="02010600040101010101" pitchFamily="2" charset="-122"/>
                <a:ea typeface="华文细黑" panose="02010600040101010101" pitchFamily="2" charset="-122"/>
                <a:cs typeface="华文黑体" pitchFamily="2" charset="-122"/>
              </a:rPr>
              <a:t>点击添加标题</a:t>
            </a:r>
            <a:endParaRPr lang="zh-CN" altLang="en-US">
              <a:latin typeface="华文细黑" panose="02010600040101010101" pitchFamily="2" charset="-122"/>
              <a:ea typeface="华文细黑" panose="02010600040101010101" pitchFamily="2" charset="-122"/>
              <a:cs typeface="华文黑体" pitchFamily="2" charset="-122"/>
            </a:endParaRPr>
          </a:p>
          <a:p>
            <a:pPr algn="ctr"/>
            <a:r>
              <a:rPr lang="zh-CN" altLang="en-US">
                <a:latin typeface="华文细黑" panose="02010600040101010101" pitchFamily="2" charset="-122"/>
                <a:ea typeface="华文细黑" panose="02010600040101010101" pitchFamily="2" charset="-122"/>
                <a:cs typeface="华文黑体" pitchFamily="2" charset="-122"/>
              </a:rPr>
              <a:t>点击添加</a:t>
            </a:r>
            <a:r>
              <a:rPr lang="zh-CN" altLang="en-US" smtClean="0">
                <a:latin typeface="华文细黑" panose="02010600040101010101" pitchFamily="2" charset="-122"/>
                <a:ea typeface="华文细黑" panose="02010600040101010101" pitchFamily="2" charset="-122"/>
                <a:cs typeface="华文黑体" pitchFamily="2" charset="-122"/>
              </a:rPr>
              <a:t>标题</a:t>
            </a:r>
            <a:endParaRPr lang="zh-CN" altLang="en-US">
              <a:latin typeface="华文细黑" panose="02010600040101010101" pitchFamily="2" charset="-122"/>
              <a:ea typeface="华文细黑" panose="02010600040101010101" pitchFamily="2" charset="-122"/>
              <a:cs typeface="华文黑体" pitchFamily="2" charset="-122"/>
            </a:endParaRPr>
          </a:p>
        </p:txBody>
      </p:sp>
      <p:sp>
        <p:nvSpPr>
          <p:cNvPr id="49" name="矩形 48"/>
          <p:cNvSpPr/>
          <p:nvPr/>
        </p:nvSpPr>
        <p:spPr>
          <a:xfrm>
            <a:off x="7229332" y="1916832"/>
            <a:ext cx="1800200" cy="1800200"/>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0" name="矩形 49"/>
          <p:cNvSpPr/>
          <p:nvPr/>
        </p:nvSpPr>
        <p:spPr>
          <a:xfrm>
            <a:off x="7229332" y="3717032"/>
            <a:ext cx="1800200" cy="1080120"/>
          </a:xfrm>
          <a:prstGeom prst="rect">
            <a:avLst/>
          </a:prstGeom>
          <a:solidFill>
            <a:srgbClr val="FF78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a:latin typeface="华文细黑" panose="02010600040101010101" pitchFamily="2" charset="-122"/>
                <a:ea typeface="华文细黑" panose="02010600040101010101" pitchFamily="2" charset="-122"/>
                <a:cs typeface="华文黑体" pitchFamily="2" charset="-122"/>
              </a:rPr>
              <a:t>点击添加标题</a:t>
            </a:r>
            <a:endParaRPr lang="zh-CN" altLang="en-US">
              <a:latin typeface="华文细黑" panose="02010600040101010101" pitchFamily="2" charset="-122"/>
              <a:ea typeface="华文细黑" panose="02010600040101010101" pitchFamily="2" charset="-122"/>
              <a:cs typeface="华文黑体" pitchFamily="2" charset="-122"/>
            </a:endParaRPr>
          </a:p>
          <a:p>
            <a:pPr algn="ctr"/>
            <a:r>
              <a:rPr lang="zh-CN" altLang="en-US">
                <a:latin typeface="华文细黑" panose="02010600040101010101" pitchFamily="2" charset="-122"/>
                <a:ea typeface="华文细黑" panose="02010600040101010101" pitchFamily="2" charset="-122"/>
                <a:cs typeface="华文黑体" pitchFamily="2" charset="-122"/>
              </a:rPr>
              <a:t>点击添加</a:t>
            </a:r>
            <a:r>
              <a:rPr lang="zh-CN" altLang="en-US" smtClean="0">
                <a:latin typeface="华文细黑" panose="02010600040101010101" pitchFamily="2" charset="-122"/>
                <a:ea typeface="华文细黑" panose="02010600040101010101" pitchFamily="2" charset="-122"/>
                <a:cs typeface="华文黑体" pitchFamily="2" charset="-122"/>
              </a:rPr>
              <a:t>标题</a:t>
            </a:r>
            <a:endParaRPr lang="zh-CN" altLang="en-US">
              <a:latin typeface="华文细黑" panose="02010600040101010101" pitchFamily="2" charset="-122"/>
              <a:ea typeface="华文细黑" panose="02010600040101010101" pitchFamily="2" charset="-122"/>
              <a:cs typeface="华文黑体" pitchFamily="2" charset="-122"/>
            </a:endParaRPr>
          </a:p>
        </p:txBody>
      </p:sp>
      <p:sp>
        <p:nvSpPr>
          <p:cNvPr id="51" name="矩形 50"/>
          <p:cNvSpPr/>
          <p:nvPr/>
        </p:nvSpPr>
        <p:spPr>
          <a:xfrm>
            <a:off x="9263558" y="1916832"/>
            <a:ext cx="1800200" cy="1800200"/>
          </a:xfrm>
          <a:prstGeom prst="rect">
            <a:avLst/>
          </a:prstGeom>
          <a:solidFill>
            <a:srgbClr val="FF78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2" name="矩形 51"/>
          <p:cNvSpPr/>
          <p:nvPr/>
        </p:nvSpPr>
        <p:spPr>
          <a:xfrm>
            <a:off x="9263558" y="3717032"/>
            <a:ext cx="1800200" cy="1080120"/>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a:latin typeface="华文细黑" panose="02010600040101010101" pitchFamily="2" charset="-122"/>
                <a:ea typeface="华文细黑" panose="02010600040101010101" pitchFamily="2" charset="-122"/>
                <a:cs typeface="华文黑体" pitchFamily="2" charset="-122"/>
              </a:rPr>
              <a:t>点击添加标题</a:t>
            </a:r>
            <a:endParaRPr lang="zh-CN" altLang="en-US">
              <a:latin typeface="华文细黑" panose="02010600040101010101" pitchFamily="2" charset="-122"/>
              <a:ea typeface="华文细黑" panose="02010600040101010101" pitchFamily="2" charset="-122"/>
              <a:cs typeface="华文黑体" pitchFamily="2" charset="-122"/>
            </a:endParaRPr>
          </a:p>
          <a:p>
            <a:pPr algn="ctr"/>
            <a:r>
              <a:rPr lang="zh-CN" altLang="en-US">
                <a:latin typeface="华文细黑" panose="02010600040101010101" pitchFamily="2" charset="-122"/>
                <a:ea typeface="华文细黑" panose="02010600040101010101" pitchFamily="2" charset="-122"/>
                <a:cs typeface="华文黑体" pitchFamily="2" charset="-122"/>
              </a:rPr>
              <a:t>点击添加</a:t>
            </a:r>
            <a:r>
              <a:rPr lang="zh-CN" altLang="en-US" smtClean="0">
                <a:latin typeface="华文细黑" panose="02010600040101010101" pitchFamily="2" charset="-122"/>
                <a:ea typeface="华文细黑" panose="02010600040101010101" pitchFamily="2" charset="-122"/>
                <a:cs typeface="华文黑体" pitchFamily="2" charset="-122"/>
              </a:rPr>
              <a:t>标题</a:t>
            </a:r>
            <a:endParaRPr lang="zh-CN" altLang="en-US">
              <a:latin typeface="华文细黑" panose="02010600040101010101" pitchFamily="2" charset="-122"/>
              <a:ea typeface="华文细黑" panose="02010600040101010101" pitchFamily="2" charset="-122"/>
              <a:cs typeface="华文黑体" pitchFamily="2" charset="-122"/>
            </a:endParaRPr>
          </a:p>
        </p:txBody>
      </p:sp>
      <p:grpSp>
        <p:nvGrpSpPr>
          <p:cNvPr id="53" name="组合 52"/>
          <p:cNvGrpSpPr/>
          <p:nvPr/>
        </p:nvGrpSpPr>
        <p:grpSpPr>
          <a:xfrm>
            <a:off x="1702982" y="2132856"/>
            <a:ext cx="647544" cy="832380"/>
            <a:chOff x="3095876" y="2479873"/>
            <a:chExt cx="366231" cy="470769"/>
          </a:xfrm>
        </p:grpSpPr>
        <p:sp>
          <p:nvSpPr>
            <p:cNvPr id="54" name="Freeform 108"/>
            <p:cNvSpPr/>
            <p:nvPr/>
          </p:nvSpPr>
          <p:spPr bwMode="auto">
            <a:xfrm flipH="1">
              <a:off x="3095876" y="2898027"/>
              <a:ext cx="51923" cy="52615"/>
            </a:xfrm>
            <a:custGeom>
              <a:avLst/>
              <a:gdLst>
                <a:gd name="T0" fmla="*/ 0 w 32"/>
                <a:gd name="T1" fmla="*/ 32 h 32"/>
                <a:gd name="T2" fmla="*/ 16 w 32"/>
                <a:gd name="T3" fmla="*/ 32 h 32"/>
                <a:gd name="T4" fmla="*/ 32 w 32"/>
                <a:gd name="T5" fmla="*/ 16 h 32"/>
                <a:gd name="T6" fmla="*/ 32 w 32"/>
                <a:gd name="T7" fmla="*/ 0 h 32"/>
                <a:gd name="T8" fmla="*/ 0 w 32"/>
                <a:gd name="T9" fmla="*/ 0 h 32"/>
                <a:gd name="T10" fmla="*/ 0 w 32"/>
                <a:gd name="T11" fmla="*/ 32 h 32"/>
              </a:gdLst>
              <a:ahLst/>
              <a:cxnLst>
                <a:cxn ang="0">
                  <a:pos x="T0" y="T1"/>
                </a:cxn>
                <a:cxn ang="0">
                  <a:pos x="T2" y="T3"/>
                </a:cxn>
                <a:cxn ang="0">
                  <a:pos x="T4" y="T5"/>
                </a:cxn>
                <a:cxn ang="0">
                  <a:pos x="T6" y="T7"/>
                </a:cxn>
                <a:cxn ang="0">
                  <a:pos x="T8" y="T9"/>
                </a:cxn>
                <a:cxn ang="0">
                  <a:pos x="T10" y="T11"/>
                </a:cxn>
              </a:cxnLst>
              <a:rect l="0" t="0" r="r" b="b"/>
              <a:pathLst>
                <a:path w="32" h="32">
                  <a:moveTo>
                    <a:pt x="0" y="32"/>
                  </a:moveTo>
                  <a:cubicBezTo>
                    <a:pt x="16" y="32"/>
                    <a:pt x="16" y="32"/>
                    <a:pt x="16" y="32"/>
                  </a:cubicBezTo>
                  <a:cubicBezTo>
                    <a:pt x="25" y="32"/>
                    <a:pt x="32" y="25"/>
                    <a:pt x="32" y="16"/>
                  </a:cubicBezTo>
                  <a:cubicBezTo>
                    <a:pt x="32" y="0"/>
                    <a:pt x="32" y="0"/>
                    <a:pt x="32" y="0"/>
                  </a:cubicBezTo>
                  <a:cubicBezTo>
                    <a:pt x="0" y="0"/>
                    <a:pt x="0" y="0"/>
                    <a:pt x="0" y="0"/>
                  </a:cubicBezTo>
                  <a:lnTo>
                    <a:pt x="0" y="32"/>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ysClr val="windowText" lastClr="000000"/>
                </a:solidFill>
                <a:effectLst/>
                <a:uLnTx/>
                <a:uFillTx/>
                <a:latin typeface="Calibri" panose="020F0502020204030204"/>
                <a:ea typeface="宋体" panose="02010600030101010101" pitchFamily="2" charset="-122"/>
              </a:endParaRPr>
            </a:p>
          </p:txBody>
        </p:sp>
        <p:sp>
          <p:nvSpPr>
            <p:cNvPr id="55" name="Freeform 109"/>
            <p:cNvSpPr>
              <a:spLocks noEditPoints="1"/>
            </p:cNvSpPr>
            <p:nvPr/>
          </p:nvSpPr>
          <p:spPr bwMode="auto">
            <a:xfrm flipH="1">
              <a:off x="3095876" y="2479873"/>
              <a:ext cx="366231" cy="470769"/>
            </a:xfrm>
            <a:custGeom>
              <a:avLst/>
              <a:gdLst>
                <a:gd name="T0" fmla="*/ 208 w 224"/>
                <a:gd name="T1" fmla="*/ 0 h 288"/>
                <a:gd name="T2" fmla="*/ 16 w 224"/>
                <a:gd name="T3" fmla="*/ 0 h 288"/>
                <a:gd name="T4" fmla="*/ 0 w 224"/>
                <a:gd name="T5" fmla="*/ 16 h 288"/>
                <a:gd name="T6" fmla="*/ 0 w 224"/>
                <a:gd name="T7" fmla="*/ 272 h 288"/>
                <a:gd name="T8" fmla="*/ 16 w 224"/>
                <a:gd name="T9" fmla="*/ 288 h 288"/>
                <a:gd name="T10" fmla="*/ 176 w 224"/>
                <a:gd name="T11" fmla="*/ 288 h 288"/>
                <a:gd name="T12" fmla="*/ 176 w 224"/>
                <a:gd name="T13" fmla="*/ 144 h 288"/>
                <a:gd name="T14" fmla="*/ 224 w 224"/>
                <a:gd name="T15" fmla="*/ 144 h 288"/>
                <a:gd name="T16" fmla="*/ 224 w 224"/>
                <a:gd name="T17" fmla="*/ 16 h 288"/>
                <a:gd name="T18" fmla="*/ 208 w 224"/>
                <a:gd name="T19" fmla="*/ 0 h 288"/>
                <a:gd name="T20" fmla="*/ 168 w 224"/>
                <a:gd name="T21" fmla="*/ 104 h 288"/>
                <a:gd name="T22" fmla="*/ 56 w 224"/>
                <a:gd name="T23" fmla="*/ 104 h 288"/>
                <a:gd name="T24" fmla="*/ 56 w 224"/>
                <a:gd name="T25" fmla="*/ 88 h 288"/>
                <a:gd name="T26" fmla="*/ 168 w 224"/>
                <a:gd name="T27" fmla="*/ 88 h 288"/>
                <a:gd name="T28" fmla="*/ 168 w 224"/>
                <a:gd name="T29" fmla="*/ 104 h 288"/>
                <a:gd name="T30" fmla="*/ 168 w 224"/>
                <a:gd name="T31" fmla="*/ 72 h 288"/>
                <a:gd name="T32" fmla="*/ 56 w 224"/>
                <a:gd name="T33" fmla="*/ 72 h 288"/>
                <a:gd name="T34" fmla="*/ 56 w 224"/>
                <a:gd name="T35" fmla="*/ 56 h 288"/>
                <a:gd name="T36" fmla="*/ 168 w 224"/>
                <a:gd name="T37" fmla="*/ 56 h 288"/>
                <a:gd name="T38" fmla="*/ 168 w 224"/>
                <a:gd name="T39" fmla="*/ 7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24" h="288">
                  <a:moveTo>
                    <a:pt x="208" y="0"/>
                  </a:moveTo>
                  <a:cubicBezTo>
                    <a:pt x="16" y="0"/>
                    <a:pt x="16" y="0"/>
                    <a:pt x="16" y="0"/>
                  </a:cubicBezTo>
                  <a:cubicBezTo>
                    <a:pt x="7" y="0"/>
                    <a:pt x="0" y="7"/>
                    <a:pt x="0" y="16"/>
                  </a:cubicBezTo>
                  <a:cubicBezTo>
                    <a:pt x="0" y="272"/>
                    <a:pt x="0" y="272"/>
                    <a:pt x="0" y="272"/>
                  </a:cubicBezTo>
                  <a:cubicBezTo>
                    <a:pt x="0" y="281"/>
                    <a:pt x="7" y="288"/>
                    <a:pt x="16" y="288"/>
                  </a:cubicBezTo>
                  <a:cubicBezTo>
                    <a:pt x="176" y="288"/>
                    <a:pt x="176" y="288"/>
                    <a:pt x="176" y="288"/>
                  </a:cubicBezTo>
                  <a:cubicBezTo>
                    <a:pt x="176" y="144"/>
                    <a:pt x="176" y="144"/>
                    <a:pt x="176" y="144"/>
                  </a:cubicBezTo>
                  <a:cubicBezTo>
                    <a:pt x="224" y="144"/>
                    <a:pt x="224" y="144"/>
                    <a:pt x="224" y="144"/>
                  </a:cubicBezTo>
                  <a:cubicBezTo>
                    <a:pt x="224" y="16"/>
                    <a:pt x="224" y="16"/>
                    <a:pt x="224" y="16"/>
                  </a:cubicBezTo>
                  <a:cubicBezTo>
                    <a:pt x="224" y="7"/>
                    <a:pt x="217" y="0"/>
                    <a:pt x="208" y="0"/>
                  </a:cubicBezTo>
                  <a:close/>
                  <a:moveTo>
                    <a:pt x="168" y="104"/>
                  </a:moveTo>
                  <a:cubicBezTo>
                    <a:pt x="56" y="104"/>
                    <a:pt x="56" y="104"/>
                    <a:pt x="56" y="104"/>
                  </a:cubicBezTo>
                  <a:cubicBezTo>
                    <a:pt x="56" y="88"/>
                    <a:pt x="56" y="88"/>
                    <a:pt x="56" y="88"/>
                  </a:cubicBezTo>
                  <a:cubicBezTo>
                    <a:pt x="168" y="88"/>
                    <a:pt x="168" y="88"/>
                    <a:pt x="168" y="88"/>
                  </a:cubicBezTo>
                  <a:lnTo>
                    <a:pt x="168" y="104"/>
                  </a:lnTo>
                  <a:close/>
                  <a:moveTo>
                    <a:pt x="168" y="72"/>
                  </a:moveTo>
                  <a:cubicBezTo>
                    <a:pt x="56" y="72"/>
                    <a:pt x="56" y="72"/>
                    <a:pt x="56" y="72"/>
                  </a:cubicBezTo>
                  <a:cubicBezTo>
                    <a:pt x="56" y="56"/>
                    <a:pt x="56" y="56"/>
                    <a:pt x="56" y="56"/>
                  </a:cubicBezTo>
                  <a:cubicBezTo>
                    <a:pt x="168" y="56"/>
                    <a:pt x="168" y="56"/>
                    <a:pt x="168" y="56"/>
                  </a:cubicBezTo>
                  <a:lnTo>
                    <a:pt x="168" y="72"/>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ysClr val="windowText" lastClr="000000"/>
                </a:solidFill>
                <a:effectLst/>
                <a:uLnTx/>
                <a:uFillTx/>
                <a:latin typeface="Calibri" panose="020F0502020204030204"/>
                <a:ea typeface="宋体" panose="02010600030101010101" pitchFamily="2" charset="-122"/>
              </a:endParaRPr>
            </a:p>
          </p:txBody>
        </p:sp>
        <p:sp>
          <p:nvSpPr>
            <p:cNvPr id="56" name="Rectangle 110"/>
            <p:cNvSpPr>
              <a:spLocks noChangeArrowheads="1"/>
            </p:cNvSpPr>
            <p:nvPr/>
          </p:nvSpPr>
          <p:spPr bwMode="auto">
            <a:xfrm flipH="1">
              <a:off x="3095876" y="2741565"/>
              <a:ext cx="51923" cy="5192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ysClr val="windowText" lastClr="000000"/>
                </a:solidFill>
                <a:effectLst/>
                <a:uLnTx/>
                <a:uFillTx/>
                <a:latin typeface="Calibri" panose="020F0502020204030204"/>
                <a:ea typeface="宋体" panose="02010600030101010101" pitchFamily="2" charset="-122"/>
              </a:endParaRPr>
            </a:p>
          </p:txBody>
        </p:sp>
        <p:sp>
          <p:nvSpPr>
            <p:cNvPr id="57" name="Rectangle 111"/>
            <p:cNvSpPr>
              <a:spLocks noChangeArrowheads="1"/>
            </p:cNvSpPr>
            <p:nvPr/>
          </p:nvSpPr>
          <p:spPr bwMode="auto">
            <a:xfrm flipH="1">
              <a:off x="3095876" y="2819796"/>
              <a:ext cx="51923" cy="5261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ysClr val="windowText" lastClr="000000"/>
                </a:solidFill>
                <a:effectLst/>
                <a:uLnTx/>
                <a:uFillTx/>
                <a:latin typeface="Calibri" panose="020F0502020204030204"/>
                <a:ea typeface="宋体" panose="02010600030101010101" pitchFamily="2" charset="-122"/>
              </a:endParaRPr>
            </a:p>
          </p:txBody>
        </p:sp>
      </p:grpSp>
      <p:sp>
        <p:nvSpPr>
          <p:cNvPr id="58" name="Freeform 64"/>
          <p:cNvSpPr>
            <a:spLocks noEditPoints="1"/>
          </p:cNvSpPr>
          <p:nvPr/>
        </p:nvSpPr>
        <p:spPr bwMode="auto">
          <a:xfrm flipH="1">
            <a:off x="3615266" y="2179535"/>
            <a:ext cx="891428" cy="739020"/>
          </a:xfrm>
          <a:custGeom>
            <a:avLst/>
            <a:gdLst>
              <a:gd name="T0" fmla="*/ 188 w 308"/>
              <a:gd name="T1" fmla="*/ 19 h 256"/>
              <a:gd name="T2" fmla="*/ 154 w 308"/>
              <a:gd name="T3" fmla="*/ 0 h 256"/>
              <a:gd name="T4" fmla="*/ 120 w 308"/>
              <a:gd name="T5" fmla="*/ 19 h 256"/>
              <a:gd name="T6" fmla="*/ 8 w 308"/>
              <a:gd name="T7" fmla="*/ 195 h 256"/>
              <a:gd name="T8" fmla="*/ 7 w 308"/>
              <a:gd name="T9" fmla="*/ 235 h 256"/>
              <a:gd name="T10" fmla="*/ 42 w 308"/>
              <a:gd name="T11" fmla="*/ 256 h 256"/>
              <a:gd name="T12" fmla="*/ 266 w 308"/>
              <a:gd name="T13" fmla="*/ 256 h 256"/>
              <a:gd name="T14" fmla="*/ 301 w 308"/>
              <a:gd name="T15" fmla="*/ 235 h 256"/>
              <a:gd name="T16" fmla="*/ 300 w 308"/>
              <a:gd name="T17" fmla="*/ 195 h 256"/>
              <a:gd name="T18" fmla="*/ 188 w 308"/>
              <a:gd name="T19" fmla="*/ 19 h 256"/>
              <a:gd name="T20" fmla="*/ 154 w 308"/>
              <a:gd name="T21" fmla="*/ 216 h 256"/>
              <a:gd name="T22" fmla="*/ 138 w 308"/>
              <a:gd name="T23" fmla="*/ 200 h 256"/>
              <a:gd name="T24" fmla="*/ 154 w 308"/>
              <a:gd name="T25" fmla="*/ 184 h 256"/>
              <a:gd name="T26" fmla="*/ 170 w 308"/>
              <a:gd name="T27" fmla="*/ 200 h 256"/>
              <a:gd name="T28" fmla="*/ 154 w 308"/>
              <a:gd name="T29" fmla="*/ 216 h 256"/>
              <a:gd name="T30" fmla="*/ 170 w 308"/>
              <a:gd name="T31" fmla="*/ 152 h 256"/>
              <a:gd name="T32" fmla="*/ 154 w 308"/>
              <a:gd name="T33" fmla="*/ 168 h 256"/>
              <a:gd name="T34" fmla="*/ 138 w 308"/>
              <a:gd name="T35" fmla="*/ 152 h 256"/>
              <a:gd name="T36" fmla="*/ 138 w 308"/>
              <a:gd name="T37" fmla="*/ 96 h 256"/>
              <a:gd name="T38" fmla="*/ 154 w 308"/>
              <a:gd name="T39" fmla="*/ 80 h 256"/>
              <a:gd name="T40" fmla="*/ 170 w 308"/>
              <a:gd name="T41" fmla="*/ 96 h 256"/>
              <a:gd name="T42" fmla="*/ 170 w 308"/>
              <a:gd name="T43" fmla="*/ 152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8" h="256">
                <a:moveTo>
                  <a:pt x="188" y="19"/>
                </a:moveTo>
                <a:cubicBezTo>
                  <a:pt x="180" y="7"/>
                  <a:pt x="168" y="0"/>
                  <a:pt x="154" y="0"/>
                </a:cubicBezTo>
                <a:cubicBezTo>
                  <a:pt x="140" y="0"/>
                  <a:pt x="128" y="7"/>
                  <a:pt x="120" y="19"/>
                </a:cubicBezTo>
                <a:cubicBezTo>
                  <a:pt x="8" y="195"/>
                  <a:pt x="8" y="195"/>
                  <a:pt x="8" y="195"/>
                </a:cubicBezTo>
                <a:cubicBezTo>
                  <a:pt x="0" y="207"/>
                  <a:pt x="0" y="222"/>
                  <a:pt x="7" y="235"/>
                </a:cubicBezTo>
                <a:cubicBezTo>
                  <a:pt x="14" y="248"/>
                  <a:pt x="27" y="256"/>
                  <a:pt x="42" y="256"/>
                </a:cubicBezTo>
                <a:cubicBezTo>
                  <a:pt x="266" y="256"/>
                  <a:pt x="266" y="256"/>
                  <a:pt x="266" y="256"/>
                </a:cubicBezTo>
                <a:cubicBezTo>
                  <a:pt x="281" y="256"/>
                  <a:pt x="294" y="248"/>
                  <a:pt x="301" y="235"/>
                </a:cubicBezTo>
                <a:cubicBezTo>
                  <a:pt x="308" y="222"/>
                  <a:pt x="308" y="207"/>
                  <a:pt x="300" y="195"/>
                </a:cubicBezTo>
                <a:lnTo>
                  <a:pt x="188" y="19"/>
                </a:lnTo>
                <a:close/>
                <a:moveTo>
                  <a:pt x="154" y="216"/>
                </a:moveTo>
                <a:cubicBezTo>
                  <a:pt x="145" y="216"/>
                  <a:pt x="138" y="209"/>
                  <a:pt x="138" y="200"/>
                </a:cubicBezTo>
                <a:cubicBezTo>
                  <a:pt x="138" y="191"/>
                  <a:pt x="145" y="184"/>
                  <a:pt x="154" y="184"/>
                </a:cubicBezTo>
                <a:cubicBezTo>
                  <a:pt x="163" y="184"/>
                  <a:pt x="170" y="191"/>
                  <a:pt x="170" y="200"/>
                </a:cubicBezTo>
                <a:cubicBezTo>
                  <a:pt x="170" y="209"/>
                  <a:pt x="163" y="216"/>
                  <a:pt x="154" y="216"/>
                </a:cubicBezTo>
                <a:close/>
                <a:moveTo>
                  <a:pt x="170" y="152"/>
                </a:moveTo>
                <a:cubicBezTo>
                  <a:pt x="170" y="161"/>
                  <a:pt x="163" y="168"/>
                  <a:pt x="154" y="168"/>
                </a:cubicBezTo>
                <a:cubicBezTo>
                  <a:pt x="145" y="168"/>
                  <a:pt x="138" y="161"/>
                  <a:pt x="138" y="152"/>
                </a:cubicBezTo>
                <a:cubicBezTo>
                  <a:pt x="138" y="96"/>
                  <a:pt x="138" y="96"/>
                  <a:pt x="138" y="96"/>
                </a:cubicBezTo>
                <a:cubicBezTo>
                  <a:pt x="138" y="87"/>
                  <a:pt x="145" y="80"/>
                  <a:pt x="154" y="80"/>
                </a:cubicBezTo>
                <a:cubicBezTo>
                  <a:pt x="163" y="80"/>
                  <a:pt x="170" y="87"/>
                  <a:pt x="170" y="96"/>
                </a:cubicBezTo>
                <a:lnTo>
                  <a:pt x="170" y="152"/>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strike="noStrike" kern="1200" cap="none" spc="0" normalizeH="0" baseline="0" noProof="0">
              <a:ln>
                <a:noFill/>
              </a:ln>
              <a:solidFill>
                <a:sysClr val="windowText" lastClr="000000"/>
              </a:solidFill>
              <a:effectLst/>
              <a:uLnTx/>
              <a:uFillTx/>
              <a:latin typeface="Calibri" panose="020F0502020204030204"/>
              <a:ea typeface="宋体" panose="02010600030101010101" pitchFamily="2" charset="-122"/>
            </a:endParaRPr>
          </a:p>
        </p:txBody>
      </p:sp>
      <p:grpSp>
        <p:nvGrpSpPr>
          <p:cNvPr id="59" name="组合 58"/>
          <p:cNvGrpSpPr/>
          <p:nvPr/>
        </p:nvGrpSpPr>
        <p:grpSpPr>
          <a:xfrm>
            <a:off x="5816965" y="2144091"/>
            <a:ext cx="556482" cy="809910"/>
            <a:chOff x="5690315" y="3674507"/>
            <a:chExt cx="314729" cy="458061"/>
          </a:xfrm>
        </p:grpSpPr>
        <p:sp>
          <p:nvSpPr>
            <p:cNvPr id="60" name="Freeform 36"/>
            <p:cNvSpPr/>
            <p:nvPr/>
          </p:nvSpPr>
          <p:spPr bwMode="auto">
            <a:xfrm flipH="1">
              <a:off x="5782528" y="4054387"/>
              <a:ext cx="130302" cy="78181"/>
            </a:xfrm>
            <a:custGeom>
              <a:avLst/>
              <a:gdLst>
                <a:gd name="T0" fmla="*/ 73 w 80"/>
                <a:gd name="T1" fmla="*/ 2 h 48"/>
                <a:gd name="T2" fmla="*/ 44 w 80"/>
                <a:gd name="T3" fmla="*/ 8 h 48"/>
                <a:gd name="T4" fmla="*/ 40 w 80"/>
                <a:gd name="T5" fmla="*/ 8 h 48"/>
                <a:gd name="T6" fmla="*/ 36 w 80"/>
                <a:gd name="T7" fmla="*/ 8 h 48"/>
                <a:gd name="T8" fmla="*/ 7 w 80"/>
                <a:gd name="T9" fmla="*/ 2 h 48"/>
                <a:gd name="T10" fmla="*/ 0 w 80"/>
                <a:gd name="T11" fmla="*/ 0 h 48"/>
                <a:gd name="T12" fmla="*/ 0 w 80"/>
                <a:gd name="T13" fmla="*/ 0 h 48"/>
                <a:gd name="T14" fmla="*/ 40 w 80"/>
                <a:gd name="T15" fmla="*/ 48 h 48"/>
                <a:gd name="T16" fmla="*/ 80 w 80"/>
                <a:gd name="T17" fmla="*/ 0 h 48"/>
                <a:gd name="T18" fmla="*/ 80 w 80"/>
                <a:gd name="T19" fmla="*/ 0 h 48"/>
                <a:gd name="T20" fmla="*/ 73 w 80"/>
                <a:gd name="T21" fmla="*/ 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0" h="48">
                  <a:moveTo>
                    <a:pt x="73" y="2"/>
                  </a:moveTo>
                  <a:cubicBezTo>
                    <a:pt x="65" y="5"/>
                    <a:pt x="55" y="7"/>
                    <a:pt x="44" y="8"/>
                  </a:cubicBezTo>
                  <a:cubicBezTo>
                    <a:pt x="42" y="8"/>
                    <a:pt x="41" y="8"/>
                    <a:pt x="40" y="8"/>
                  </a:cubicBezTo>
                  <a:cubicBezTo>
                    <a:pt x="39" y="8"/>
                    <a:pt x="38" y="8"/>
                    <a:pt x="36" y="8"/>
                  </a:cubicBezTo>
                  <a:cubicBezTo>
                    <a:pt x="25" y="7"/>
                    <a:pt x="15" y="5"/>
                    <a:pt x="7" y="2"/>
                  </a:cubicBezTo>
                  <a:cubicBezTo>
                    <a:pt x="3" y="1"/>
                    <a:pt x="0" y="0"/>
                    <a:pt x="0" y="0"/>
                  </a:cubicBezTo>
                  <a:cubicBezTo>
                    <a:pt x="0" y="0"/>
                    <a:pt x="0" y="0"/>
                    <a:pt x="0" y="0"/>
                  </a:cubicBezTo>
                  <a:cubicBezTo>
                    <a:pt x="0" y="27"/>
                    <a:pt x="13" y="48"/>
                    <a:pt x="40" y="48"/>
                  </a:cubicBezTo>
                  <a:cubicBezTo>
                    <a:pt x="67" y="48"/>
                    <a:pt x="80" y="27"/>
                    <a:pt x="80" y="0"/>
                  </a:cubicBezTo>
                  <a:cubicBezTo>
                    <a:pt x="80" y="0"/>
                    <a:pt x="80" y="0"/>
                    <a:pt x="80" y="0"/>
                  </a:cubicBezTo>
                  <a:cubicBezTo>
                    <a:pt x="80" y="0"/>
                    <a:pt x="77" y="1"/>
                    <a:pt x="73" y="2"/>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ysClr val="windowText" lastClr="000000"/>
                </a:solidFill>
                <a:effectLst/>
                <a:uLnTx/>
                <a:uFillTx/>
                <a:latin typeface="Calibri" panose="020F0502020204030204"/>
                <a:ea typeface="宋体" panose="02010600030101010101" pitchFamily="2" charset="-122"/>
              </a:endParaRPr>
            </a:p>
          </p:txBody>
        </p:sp>
        <p:sp>
          <p:nvSpPr>
            <p:cNvPr id="61" name="Freeform 37"/>
            <p:cNvSpPr>
              <a:spLocks noEditPoints="1"/>
            </p:cNvSpPr>
            <p:nvPr/>
          </p:nvSpPr>
          <p:spPr bwMode="auto">
            <a:xfrm flipH="1">
              <a:off x="5690315" y="3674507"/>
              <a:ext cx="314729" cy="366849"/>
            </a:xfrm>
            <a:custGeom>
              <a:avLst/>
              <a:gdLst>
                <a:gd name="T0" fmla="*/ 96 w 192"/>
                <a:gd name="T1" fmla="*/ 0 h 224"/>
                <a:gd name="T2" fmla="*/ 0 w 192"/>
                <a:gd name="T3" fmla="*/ 96 h 224"/>
                <a:gd name="T4" fmla="*/ 48 w 192"/>
                <a:gd name="T5" fmla="*/ 200 h 224"/>
                <a:gd name="T6" fmla="*/ 67 w 192"/>
                <a:gd name="T7" fmla="*/ 219 h 224"/>
                <a:gd name="T8" fmla="*/ 90 w 192"/>
                <a:gd name="T9" fmla="*/ 224 h 224"/>
                <a:gd name="T10" fmla="*/ 96 w 192"/>
                <a:gd name="T11" fmla="*/ 224 h 224"/>
                <a:gd name="T12" fmla="*/ 125 w 192"/>
                <a:gd name="T13" fmla="*/ 218 h 224"/>
                <a:gd name="T14" fmla="*/ 144 w 192"/>
                <a:gd name="T15" fmla="*/ 200 h 224"/>
                <a:gd name="T16" fmla="*/ 192 w 192"/>
                <a:gd name="T17" fmla="*/ 96 h 224"/>
                <a:gd name="T18" fmla="*/ 96 w 192"/>
                <a:gd name="T19" fmla="*/ 0 h 224"/>
                <a:gd name="T20" fmla="*/ 113 w 192"/>
                <a:gd name="T21" fmla="*/ 40 h 224"/>
                <a:gd name="T22" fmla="*/ 31 w 192"/>
                <a:gd name="T23" fmla="*/ 121 h 224"/>
                <a:gd name="T24" fmla="*/ 31 w 192"/>
                <a:gd name="T25" fmla="*/ 128 h 224"/>
                <a:gd name="T26" fmla="*/ 24 w 192"/>
                <a:gd name="T27" fmla="*/ 98 h 224"/>
                <a:gd name="T28" fmla="*/ 99 w 192"/>
                <a:gd name="T29" fmla="*/ 24 h 224"/>
                <a:gd name="T30" fmla="*/ 160 w 192"/>
                <a:gd name="T31" fmla="*/ 54 h 224"/>
                <a:gd name="T32" fmla="*/ 113 w 192"/>
                <a:gd name="T33" fmla="*/ 40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92" h="224">
                  <a:moveTo>
                    <a:pt x="96" y="0"/>
                  </a:moveTo>
                  <a:cubicBezTo>
                    <a:pt x="43" y="0"/>
                    <a:pt x="0" y="43"/>
                    <a:pt x="0" y="96"/>
                  </a:cubicBezTo>
                  <a:cubicBezTo>
                    <a:pt x="0" y="144"/>
                    <a:pt x="48" y="184"/>
                    <a:pt x="48" y="200"/>
                  </a:cubicBezTo>
                  <a:cubicBezTo>
                    <a:pt x="48" y="205"/>
                    <a:pt x="54" y="213"/>
                    <a:pt x="67" y="219"/>
                  </a:cubicBezTo>
                  <a:cubicBezTo>
                    <a:pt x="73" y="220"/>
                    <a:pt x="82" y="223"/>
                    <a:pt x="90" y="224"/>
                  </a:cubicBezTo>
                  <a:cubicBezTo>
                    <a:pt x="92" y="224"/>
                    <a:pt x="94" y="224"/>
                    <a:pt x="96" y="224"/>
                  </a:cubicBezTo>
                  <a:cubicBezTo>
                    <a:pt x="103" y="224"/>
                    <a:pt x="113" y="222"/>
                    <a:pt x="125" y="218"/>
                  </a:cubicBezTo>
                  <a:cubicBezTo>
                    <a:pt x="138" y="213"/>
                    <a:pt x="144" y="205"/>
                    <a:pt x="144" y="200"/>
                  </a:cubicBezTo>
                  <a:cubicBezTo>
                    <a:pt x="144" y="184"/>
                    <a:pt x="192" y="144"/>
                    <a:pt x="192" y="96"/>
                  </a:cubicBezTo>
                  <a:cubicBezTo>
                    <a:pt x="192" y="43"/>
                    <a:pt x="149" y="0"/>
                    <a:pt x="96" y="0"/>
                  </a:cubicBezTo>
                  <a:close/>
                  <a:moveTo>
                    <a:pt x="113" y="40"/>
                  </a:moveTo>
                  <a:cubicBezTo>
                    <a:pt x="68" y="40"/>
                    <a:pt x="31" y="76"/>
                    <a:pt x="31" y="121"/>
                  </a:cubicBezTo>
                  <a:cubicBezTo>
                    <a:pt x="31" y="123"/>
                    <a:pt x="31" y="126"/>
                    <a:pt x="31" y="128"/>
                  </a:cubicBezTo>
                  <a:cubicBezTo>
                    <a:pt x="27" y="119"/>
                    <a:pt x="24" y="109"/>
                    <a:pt x="24" y="98"/>
                  </a:cubicBezTo>
                  <a:cubicBezTo>
                    <a:pt x="24" y="57"/>
                    <a:pt x="58" y="24"/>
                    <a:pt x="99" y="24"/>
                  </a:cubicBezTo>
                  <a:cubicBezTo>
                    <a:pt x="124" y="24"/>
                    <a:pt x="146" y="36"/>
                    <a:pt x="160" y="54"/>
                  </a:cubicBezTo>
                  <a:cubicBezTo>
                    <a:pt x="147" y="45"/>
                    <a:pt x="131" y="40"/>
                    <a:pt x="113" y="40"/>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ysClr val="windowText" lastClr="000000"/>
                </a:solidFill>
                <a:effectLst/>
                <a:uLnTx/>
                <a:uFillTx/>
                <a:latin typeface="Calibri" panose="020F0502020204030204"/>
                <a:ea typeface="宋体" panose="02010600030101010101" pitchFamily="2" charset="-122"/>
              </a:endParaRPr>
            </a:p>
          </p:txBody>
        </p:sp>
      </p:grpSp>
      <p:sp>
        <p:nvSpPr>
          <p:cNvPr id="62" name="Freeform 9"/>
          <p:cNvSpPr/>
          <p:nvPr/>
        </p:nvSpPr>
        <p:spPr bwMode="auto">
          <a:xfrm flipH="1">
            <a:off x="7666882" y="2259286"/>
            <a:ext cx="925100" cy="579520"/>
          </a:xfrm>
          <a:custGeom>
            <a:avLst/>
            <a:gdLst>
              <a:gd name="T0" fmla="*/ 262 w 320"/>
              <a:gd name="T1" fmla="*/ 70 h 200"/>
              <a:gd name="T2" fmla="*/ 163 w 320"/>
              <a:gd name="T3" fmla="*/ 0 h 200"/>
              <a:gd name="T4" fmla="*/ 63 w 320"/>
              <a:gd name="T5" fmla="*/ 94 h 200"/>
              <a:gd name="T6" fmla="*/ 54 w 320"/>
              <a:gd name="T7" fmla="*/ 93 h 200"/>
              <a:gd name="T8" fmla="*/ 0 w 320"/>
              <a:gd name="T9" fmla="*/ 146 h 200"/>
              <a:gd name="T10" fmla="*/ 43 w 320"/>
              <a:gd name="T11" fmla="*/ 200 h 200"/>
              <a:gd name="T12" fmla="*/ 251 w 320"/>
              <a:gd name="T13" fmla="*/ 200 h 200"/>
              <a:gd name="T14" fmla="*/ 320 w 320"/>
              <a:gd name="T15" fmla="*/ 134 h 200"/>
              <a:gd name="T16" fmla="*/ 262 w 320"/>
              <a:gd name="T17" fmla="*/ 7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0" h="200">
                <a:moveTo>
                  <a:pt x="262" y="70"/>
                </a:moveTo>
                <a:cubicBezTo>
                  <a:pt x="249" y="29"/>
                  <a:pt x="209" y="0"/>
                  <a:pt x="163" y="0"/>
                </a:cubicBezTo>
                <a:cubicBezTo>
                  <a:pt x="108" y="0"/>
                  <a:pt x="66" y="41"/>
                  <a:pt x="63" y="94"/>
                </a:cubicBezTo>
                <a:cubicBezTo>
                  <a:pt x="60" y="94"/>
                  <a:pt x="57" y="93"/>
                  <a:pt x="54" y="93"/>
                </a:cubicBezTo>
                <a:cubicBezTo>
                  <a:pt x="24" y="93"/>
                  <a:pt x="0" y="117"/>
                  <a:pt x="0" y="146"/>
                </a:cubicBezTo>
                <a:cubicBezTo>
                  <a:pt x="0" y="171"/>
                  <a:pt x="19" y="195"/>
                  <a:pt x="43" y="200"/>
                </a:cubicBezTo>
                <a:cubicBezTo>
                  <a:pt x="251" y="200"/>
                  <a:pt x="251" y="200"/>
                  <a:pt x="251" y="200"/>
                </a:cubicBezTo>
                <a:cubicBezTo>
                  <a:pt x="287" y="200"/>
                  <a:pt x="320" y="170"/>
                  <a:pt x="320" y="134"/>
                </a:cubicBezTo>
                <a:cubicBezTo>
                  <a:pt x="320" y="101"/>
                  <a:pt x="295" y="74"/>
                  <a:pt x="262" y="70"/>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ysClr val="windowText" lastClr="000000"/>
              </a:solidFill>
              <a:effectLst/>
              <a:uLnTx/>
              <a:uFillTx/>
              <a:latin typeface="Calibri" panose="020F0502020204030204"/>
              <a:ea typeface="宋体" panose="02010600030101010101" pitchFamily="2" charset="-122"/>
            </a:endParaRPr>
          </a:p>
        </p:txBody>
      </p:sp>
      <p:grpSp>
        <p:nvGrpSpPr>
          <p:cNvPr id="63" name="组合 62"/>
          <p:cNvGrpSpPr/>
          <p:nvPr/>
        </p:nvGrpSpPr>
        <p:grpSpPr>
          <a:xfrm>
            <a:off x="9769338" y="2178649"/>
            <a:ext cx="788640" cy="740794"/>
            <a:chOff x="1784487" y="2486066"/>
            <a:chExt cx="446032" cy="418971"/>
          </a:xfrm>
        </p:grpSpPr>
        <p:sp>
          <p:nvSpPr>
            <p:cNvPr id="64" name="Freeform 68"/>
            <p:cNvSpPr/>
            <p:nvPr/>
          </p:nvSpPr>
          <p:spPr bwMode="auto">
            <a:xfrm flipH="1">
              <a:off x="1784487" y="2669491"/>
              <a:ext cx="66153" cy="235546"/>
            </a:xfrm>
            <a:custGeom>
              <a:avLst/>
              <a:gdLst>
                <a:gd name="T0" fmla="*/ 24 w 40"/>
                <a:gd name="T1" fmla="*/ 0 h 144"/>
                <a:gd name="T2" fmla="*/ 0 w 40"/>
                <a:gd name="T3" fmla="*/ 0 h 144"/>
                <a:gd name="T4" fmla="*/ 0 w 40"/>
                <a:gd name="T5" fmla="*/ 100 h 144"/>
                <a:gd name="T6" fmla="*/ 9 w 40"/>
                <a:gd name="T7" fmla="*/ 108 h 144"/>
                <a:gd name="T8" fmla="*/ 9 w 40"/>
                <a:gd name="T9" fmla="*/ 109 h 144"/>
                <a:gd name="T10" fmla="*/ 11 w 40"/>
                <a:gd name="T11" fmla="*/ 111 h 144"/>
                <a:gd name="T12" fmla="*/ 12 w 40"/>
                <a:gd name="T13" fmla="*/ 113 h 144"/>
                <a:gd name="T14" fmla="*/ 13 w 40"/>
                <a:gd name="T15" fmla="*/ 115 h 144"/>
                <a:gd name="T16" fmla="*/ 14 w 40"/>
                <a:gd name="T17" fmla="*/ 117 h 144"/>
                <a:gd name="T18" fmla="*/ 15 w 40"/>
                <a:gd name="T19" fmla="*/ 119 h 144"/>
                <a:gd name="T20" fmla="*/ 15 w 40"/>
                <a:gd name="T21" fmla="*/ 122 h 144"/>
                <a:gd name="T22" fmla="*/ 16 w 40"/>
                <a:gd name="T23" fmla="*/ 123 h 144"/>
                <a:gd name="T24" fmla="*/ 16 w 40"/>
                <a:gd name="T25" fmla="*/ 128 h 144"/>
                <a:gd name="T26" fmla="*/ 15 w 40"/>
                <a:gd name="T27" fmla="*/ 133 h 144"/>
                <a:gd name="T28" fmla="*/ 15 w 40"/>
                <a:gd name="T29" fmla="*/ 136 h 144"/>
                <a:gd name="T30" fmla="*/ 14 w 40"/>
                <a:gd name="T31" fmla="*/ 138 h 144"/>
                <a:gd name="T32" fmla="*/ 12 w 40"/>
                <a:gd name="T33" fmla="*/ 144 h 144"/>
                <a:gd name="T34" fmla="*/ 24 w 40"/>
                <a:gd name="T35" fmla="*/ 144 h 144"/>
                <a:gd name="T36" fmla="*/ 40 w 40"/>
                <a:gd name="T37" fmla="*/ 128 h 144"/>
                <a:gd name="T38" fmla="*/ 40 w 40"/>
                <a:gd name="T39" fmla="*/ 16 h 144"/>
                <a:gd name="T40" fmla="*/ 24 w 40"/>
                <a:gd name="T4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0" h="144">
                  <a:moveTo>
                    <a:pt x="24" y="0"/>
                  </a:moveTo>
                  <a:cubicBezTo>
                    <a:pt x="0" y="0"/>
                    <a:pt x="0" y="0"/>
                    <a:pt x="0" y="0"/>
                  </a:cubicBezTo>
                  <a:cubicBezTo>
                    <a:pt x="0" y="100"/>
                    <a:pt x="0" y="100"/>
                    <a:pt x="0" y="100"/>
                  </a:cubicBezTo>
                  <a:cubicBezTo>
                    <a:pt x="3" y="102"/>
                    <a:pt x="6" y="105"/>
                    <a:pt x="9" y="108"/>
                  </a:cubicBezTo>
                  <a:cubicBezTo>
                    <a:pt x="9" y="109"/>
                    <a:pt x="9" y="109"/>
                    <a:pt x="9" y="109"/>
                  </a:cubicBezTo>
                  <a:cubicBezTo>
                    <a:pt x="10" y="109"/>
                    <a:pt x="10" y="110"/>
                    <a:pt x="11" y="111"/>
                  </a:cubicBezTo>
                  <a:cubicBezTo>
                    <a:pt x="11" y="112"/>
                    <a:pt x="12" y="112"/>
                    <a:pt x="12" y="113"/>
                  </a:cubicBezTo>
                  <a:cubicBezTo>
                    <a:pt x="12" y="113"/>
                    <a:pt x="13" y="114"/>
                    <a:pt x="13" y="115"/>
                  </a:cubicBezTo>
                  <a:cubicBezTo>
                    <a:pt x="13" y="115"/>
                    <a:pt x="14" y="116"/>
                    <a:pt x="14" y="117"/>
                  </a:cubicBezTo>
                  <a:cubicBezTo>
                    <a:pt x="14" y="118"/>
                    <a:pt x="14" y="118"/>
                    <a:pt x="15" y="119"/>
                  </a:cubicBezTo>
                  <a:cubicBezTo>
                    <a:pt x="15" y="120"/>
                    <a:pt x="15" y="121"/>
                    <a:pt x="15" y="122"/>
                  </a:cubicBezTo>
                  <a:cubicBezTo>
                    <a:pt x="15" y="122"/>
                    <a:pt x="16" y="123"/>
                    <a:pt x="16" y="123"/>
                  </a:cubicBezTo>
                  <a:cubicBezTo>
                    <a:pt x="16" y="125"/>
                    <a:pt x="16" y="126"/>
                    <a:pt x="16" y="128"/>
                  </a:cubicBezTo>
                  <a:cubicBezTo>
                    <a:pt x="16" y="130"/>
                    <a:pt x="16" y="132"/>
                    <a:pt x="15" y="133"/>
                  </a:cubicBezTo>
                  <a:cubicBezTo>
                    <a:pt x="15" y="134"/>
                    <a:pt x="15" y="135"/>
                    <a:pt x="15" y="136"/>
                  </a:cubicBezTo>
                  <a:cubicBezTo>
                    <a:pt x="15" y="136"/>
                    <a:pt x="15" y="137"/>
                    <a:pt x="14" y="138"/>
                  </a:cubicBezTo>
                  <a:cubicBezTo>
                    <a:pt x="14" y="140"/>
                    <a:pt x="13" y="142"/>
                    <a:pt x="12" y="144"/>
                  </a:cubicBezTo>
                  <a:cubicBezTo>
                    <a:pt x="24" y="144"/>
                    <a:pt x="24" y="144"/>
                    <a:pt x="24" y="144"/>
                  </a:cubicBezTo>
                  <a:cubicBezTo>
                    <a:pt x="33" y="144"/>
                    <a:pt x="40" y="137"/>
                    <a:pt x="40" y="128"/>
                  </a:cubicBezTo>
                  <a:cubicBezTo>
                    <a:pt x="40" y="16"/>
                    <a:pt x="40" y="16"/>
                    <a:pt x="40" y="16"/>
                  </a:cubicBezTo>
                  <a:cubicBezTo>
                    <a:pt x="40" y="7"/>
                    <a:pt x="33" y="0"/>
                    <a:pt x="24" y="0"/>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ysClr val="windowText" lastClr="000000"/>
                </a:solidFill>
                <a:effectLst/>
                <a:uLnTx/>
                <a:uFillTx/>
                <a:latin typeface="Calibri" panose="020F0502020204030204"/>
                <a:ea typeface="宋体" panose="02010600030101010101" pitchFamily="2" charset="-122"/>
              </a:endParaRPr>
            </a:p>
          </p:txBody>
        </p:sp>
        <p:sp>
          <p:nvSpPr>
            <p:cNvPr id="65" name="Freeform 69"/>
            <p:cNvSpPr/>
            <p:nvPr/>
          </p:nvSpPr>
          <p:spPr bwMode="auto">
            <a:xfrm flipH="1">
              <a:off x="1850640" y="2852915"/>
              <a:ext cx="313727" cy="52121"/>
            </a:xfrm>
            <a:custGeom>
              <a:avLst/>
              <a:gdLst>
                <a:gd name="T0" fmla="*/ 191 w 192"/>
                <a:gd name="T1" fmla="*/ 10 h 32"/>
                <a:gd name="T2" fmla="*/ 189 w 192"/>
                <a:gd name="T3" fmla="*/ 8 h 32"/>
                <a:gd name="T4" fmla="*/ 188 w 192"/>
                <a:gd name="T5" fmla="*/ 6 h 32"/>
                <a:gd name="T6" fmla="*/ 187 w 192"/>
                <a:gd name="T7" fmla="*/ 4 h 32"/>
                <a:gd name="T8" fmla="*/ 184 w 192"/>
                <a:gd name="T9" fmla="*/ 3 h 32"/>
                <a:gd name="T10" fmla="*/ 181 w 192"/>
                <a:gd name="T11" fmla="*/ 1 h 32"/>
                <a:gd name="T12" fmla="*/ 176 w 192"/>
                <a:gd name="T13" fmla="*/ 0 h 32"/>
                <a:gd name="T14" fmla="*/ 16 w 192"/>
                <a:gd name="T15" fmla="*/ 0 h 32"/>
                <a:gd name="T16" fmla="*/ 11 w 192"/>
                <a:gd name="T17" fmla="*/ 1 h 32"/>
                <a:gd name="T18" fmla="*/ 8 w 192"/>
                <a:gd name="T19" fmla="*/ 3 h 32"/>
                <a:gd name="T20" fmla="*/ 5 w 192"/>
                <a:gd name="T21" fmla="*/ 4 h 32"/>
                <a:gd name="T22" fmla="*/ 4 w 192"/>
                <a:gd name="T23" fmla="*/ 6 h 32"/>
                <a:gd name="T24" fmla="*/ 3 w 192"/>
                <a:gd name="T25" fmla="*/ 8 h 32"/>
                <a:gd name="T26" fmla="*/ 1 w 192"/>
                <a:gd name="T27" fmla="*/ 10 h 32"/>
                <a:gd name="T28" fmla="*/ 1 w 192"/>
                <a:gd name="T29" fmla="*/ 11 h 32"/>
                <a:gd name="T30" fmla="*/ 0 w 192"/>
                <a:gd name="T31" fmla="*/ 16 h 32"/>
                <a:gd name="T32" fmla="*/ 2 w 192"/>
                <a:gd name="T33" fmla="*/ 24 h 32"/>
                <a:gd name="T34" fmla="*/ 3 w 192"/>
                <a:gd name="T35" fmla="*/ 25 h 32"/>
                <a:gd name="T36" fmla="*/ 16 w 192"/>
                <a:gd name="T37" fmla="*/ 32 h 32"/>
                <a:gd name="T38" fmla="*/ 176 w 192"/>
                <a:gd name="T39" fmla="*/ 32 h 32"/>
                <a:gd name="T40" fmla="*/ 189 w 192"/>
                <a:gd name="T41" fmla="*/ 25 h 32"/>
                <a:gd name="T42" fmla="*/ 190 w 192"/>
                <a:gd name="T43" fmla="*/ 24 h 32"/>
                <a:gd name="T44" fmla="*/ 192 w 192"/>
                <a:gd name="T45" fmla="*/ 16 h 32"/>
                <a:gd name="T46" fmla="*/ 191 w 192"/>
                <a:gd name="T47" fmla="*/ 11 h 32"/>
                <a:gd name="T48" fmla="*/ 191 w 192"/>
                <a:gd name="T49" fmla="*/ 1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92" h="32">
                  <a:moveTo>
                    <a:pt x="191" y="10"/>
                  </a:moveTo>
                  <a:cubicBezTo>
                    <a:pt x="190" y="9"/>
                    <a:pt x="190" y="8"/>
                    <a:pt x="189" y="8"/>
                  </a:cubicBezTo>
                  <a:cubicBezTo>
                    <a:pt x="189" y="7"/>
                    <a:pt x="188" y="6"/>
                    <a:pt x="188" y="6"/>
                  </a:cubicBezTo>
                  <a:cubicBezTo>
                    <a:pt x="188" y="5"/>
                    <a:pt x="187" y="5"/>
                    <a:pt x="187" y="4"/>
                  </a:cubicBezTo>
                  <a:cubicBezTo>
                    <a:pt x="186" y="4"/>
                    <a:pt x="185" y="3"/>
                    <a:pt x="184" y="3"/>
                  </a:cubicBezTo>
                  <a:cubicBezTo>
                    <a:pt x="183" y="2"/>
                    <a:pt x="182" y="1"/>
                    <a:pt x="181" y="1"/>
                  </a:cubicBezTo>
                  <a:cubicBezTo>
                    <a:pt x="180" y="0"/>
                    <a:pt x="178" y="0"/>
                    <a:pt x="176" y="0"/>
                  </a:cubicBezTo>
                  <a:cubicBezTo>
                    <a:pt x="16" y="0"/>
                    <a:pt x="16" y="0"/>
                    <a:pt x="16" y="0"/>
                  </a:cubicBezTo>
                  <a:cubicBezTo>
                    <a:pt x="14" y="0"/>
                    <a:pt x="12" y="0"/>
                    <a:pt x="11" y="1"/>
                  </a:cubicBezTo>
                  <a:cubicBezTo>
                    <a:pt x="10" y="1"/>
                    <a:pt x="9" y="2"/>
                    <a:pt x="8" y="3"/>
                  </a:cubicBezTo>
                  <a:cubicBezTo>
                    <a:pt x="7" y="3"/>
                    <a:pt x="6" y="4"/>
                    <a:pt x="5" y="4"/>
                  </a:cubicBezTo>
                  <a:cubicBezTo>
                    <a:pt x="5" y="5"/>
                    <a:pt x="4" y="5"/>
                    <a:pt x="4" y="6"/>
                  </a:cubicBezTo>
                  <a:cubicBezTo>
                    <a:pt x="4" y="6"/>
                    <a:pt x="3" y="7"/>
                    <a:pt x="3" y="8"/>
                  </a:cubicBezTo>
                  <a:cubicBezTo>
                    <a:pt x="2" y="8"/>
                    <a:pt x="2" y="9"/>
                    <a:pt x="1" y="10"/>
                  </a:cubicBezTo>
                  <a:cubicBezTo>
                    <a:pt x="1" y="10"/>
                    <a:pt x="1" y="11"/>
                    <a:pt x="1" y="11"/>
                  </a:cubicBezTo>
                  <a:cubicBezTo>
                    <a:pt x="0" y="13"/>
                    <a:pt x="0" y="14"/>
                    <a:pt x="0" y="16"/>
                  </a:cubicBezTo>
                  <a:cubicBezTo>
                    <a:pt x="0" y="19"/>
                    <a:pt x="1" y="21"/>
                    <a:pt x="2" y="24"/>
                  </a:cubicBezTo>
                  <a:cubicBezTo>
                    <a:pt x="3" y="25"/>
                    <a:pt x="3" y="25"/>
                    <a:pt x="3" y="25"/>
                  </a:cubicBezTo>
                  <a:cubicBezTo>
                    <a:pt x="5" y="29"/>
                    <a:pt x="10" y="32"/>
                    <a:pt x="16" y="32"/>
                  </a:cubicBezTo>
                  <a:cubicBezTo>
                    <a:pt x="176" y="32"/>
                    <a:pt x="176" y="32"/>
                    <a:pt x="176" y="32"/>
                  </a:cubicBezTo>
                  <a:cubicBezTo>
                    <a:pt x="182" y="32"/>
                    <a:pt x="187" y="29"/>
                    <a:pt x="189" y="25"/>
                  </a:cubicBezTo>
                  <a:cubicBezTo>
                    <a:pt x="190" y="24"/>
                    <a:pt x="190" y="24"/>
                    <a:pt x="190" y="24"/>
                  </a:cubicBezTo>
                  <a:cubicBezTo>
                    <a:pt x="191" y="21"/>
                    <a:pt x="192" y="19"/>
                    <a:pt x="192" y="16"/>
                  </a:cubicBezTo>
                  <a:cubicBezTo>
                    <a:pt x="192" y="14"/>
                    <a:pt x="192" y="13"/>
                    <a:pt x="191" y="11"/>
                  </a:cubicBezTo>
                  <a:cubicBezTo>
                    <a:pt x="191" y="11"/>
                    <a:pt x="191" y="10"/>
                    <a:pt x="191" y="10"/>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ysClr val="windowText" lastClr="000000"/>
                </a:solidFill>
                <a:effectLst/>
                <a:uLnTx/>
                <a:uFillTx/>
                <a:latin typeface="Calibri" panose="020F0502020204030204"/>
                <a:ea typeface="宋体" panose="02010600030101010101" pitchFamily="2" charset="-122"/>
              </a:endParaRPr>
            </a:p>
          </p:txBody>
        </p:sp>
        <p:sp>
          <p:nvSpPr>
            <p:cNvPr id="66" name="Freeform 70"/>
            <p:cNvSpPr/>
            <p:nvPr/>
          </p:nvSpPr>
          <p:spPr bwMode="auto">
            <a:xfrm flipH="1">
              <a:off x="2164366" y="2669491"/>
              <a:ext cx="66153" cy="235546"/>
            </a:xfrm>
            <a:custGeom>
              <a:avLst/>
              <a:gdLst>
                <a:gd name="T0" fmla="*/ 40 w 40"/>
                <a:gd name="T1" fmla="*/ 96 h 144"/>
                <a:gd name="T2" fmla="*/ 40 w 40"/>
                <a:gd name="T3" fmla="*/ 64 h 144"/>
                <a:gd name="T4" fmla="*/ 24 w 40"/>
                <a:gd name="T5" fmla="*/ 64 h 144"/>
                <a:gd name="T6" fmla="*/ 24 w 40"/>
                <a:gd name="T7" fmla="*/ 48 h 144"/>
                <a:gd name="T8" fmla="*/ 40 w 40"/>
                <a:gd name="T9" fmla="*/ 48 h 144"/>
                <a:gd name="T10" fmla="*/ 40 w 40"/>
                <a:gd name="T11" fmla="*/ 32 h 144"/>
                <a:gd name="T12" fmla="*/ 24 w 40"/>
                <a:gd name="T13" fmla="*/ 32 h 144"/>
                <a:gd name="T14" fmla="*/ 24 w 40"/>
                <a:gd name="T15" fmla="*/ 16 h 144"/>
                <a:gd name="T16" fmla="*/ 40 w 40"/>
                <a:gd name="T17" fmla="*/ 16 h 144"/>
                <a:gd name="T18" fmla="*/ 40 w 40"/>
                <a:gd name="T19" fmla="*/ 0 h 144"/>
                <a:gd name="T20" fmla="*/ 16 w 40"/>
                <a:gd name="T21" fmla="*/ 0 h 144"/>
                <a:gd name="T22" fmla="*/ 0 w 40"/>
                <a:gd name="T23" fmla="*/ 16 h 144"/>
                <a:gd name="T24" fmla="*/ 0 w 40"/>
                <a:gd name="T25" fmla="*/ 128 h 144"/>
                <a:gd name="T26" fmla="*/ 16 w 40"/>
                <a:gd name="T27" fmla="*/ 144 h 144"/>
                <a:gd name="T28" fmla="*/ 28 w 40"/>
                <a:gd name="T29" fmla="*/ 144 h 144"/>
                <a:gd name="T30" fmla="*/ 26 w 40"/>
                <a:gd name="T31" fmla="*/ 138 h 144"/>
                <a:gd name="T32" fmla="*/ 25 w 40"/>
                <a:gd name="T33" fmla="*/ 136 h 144"/>
                <a:gd name="T34" fmla="*/ 25 w 40"/>
                <a:gd name="T35" fmla="*/ 133 h 144"/>
                <a:gd name="T36" fmla="*/ 24 w 40"/>
                <a:gd name="T37" fmla="*/ 128 h 144"/>
                <a:gd name="T38" fmla="*/ 24 w 40"/>
                <a:gd name="T39" fmla="*/ 123 h 144"/>
                <a:gd name="T40" fmla="*/ 25 w 40"/>
                <a:gd name="T41" fmla="*/ 122 h 144"/>
                <a:gd name="T42" fmla="*/ 25 w 40"/>
                <a:gd name="T43" fmla="*/ 119 h 144"/>
                <a:gd name="T44" fmla="*/ 26 w 40"/>
                <a:gd name="T45" fmla="*/ 117 h 144"/>
                <a:gd name="T46" fmla="*/ 27 w 40"/>
                <a:gd name="T47" fmla="*/ 115 h 144"/>
                <a:gd name="T48" fmla="*/ 28 w 40"/>
                <a:gd name="T49" fmla="*/ 113 h 144"/>
                <a:gd name="T50" fmla="*/ 29 w 40"/>
                <a:gd name="T51" fmla="*/ 111 h 144"/>
                <a:gd name="T52" fmla="*/ 31 w 40"/>
                <a:gd name="T53" fmla="*/ 109 h 144"/>
                <a:gd name="T54" fmla="*/ 31 w 40"/>
                <a:gd name="T55" fmla="*/ 108 h 144"/>
                <a:gd name="T56" fmla="*/ 40 w 40"/>
                <a:gd name="T57" fmla="*/ 100 h 144"/>
                <a:gd name="T58" fmla="*/ 40 w 40"/>
                <a:gd name="T59" fmla="*/ 96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0" h="144">
                  <a:moveTo>
                    <a:pt x="40" y="96"/>
                  </a:moveTo>
                  <a:cubicBezTo>
                    <a:pt x="40" y="64"/>
                    <a:pt x="40" y="64"/>
                    <a:pt x="40" y="64"/>
                  </a:cubicBezTo>
                  <a:cubicBezTo>
                    <a:pt x="24" y="64"/>
                    <a:pt x="24" y="64"/>
                    <a:pt x="24" y="64"/>
                  </a:cubicBezTo>
                  <a:cubicBezTo>
                    <a:pt x="24" y="48"/>
                    <a:pt x="24" y="48"/>
                    <a:pt x="24" y="48"/>
                  </a:cubicBezTo>
                  <a:cubicBezTo>
                    <a:pt x="40" y="48"/>
                    <a:pt x="40" y="48"/>
                    <a:pt x="40" y="48"/>
                  </a:cubicBezTo>
                  <a:cubicBezTo>
                    <a:pt x="40" y="32"/>
                    <a:pt x="40" y="32"/>
                    <a:pt x="40" y="32"/>
                  </a:cubicBezTo>
                  <a:cubicBezTo>
                    <a:pt x="24" y="32"/>
                    <a:pt x="24" y="32"/>
                    <a:pt x="24" y="32"/>
                  </a:cubicBezTo>
                  <a:cubicBezTo>
                    <a:pt x="24" y="16"/>
                    <a:pt x="24" y="16"/>
                    <a:pt x="24" y="16"/>
                  </a:cubicBezTo>
                  <a:cubicBezTo>
                    <a:pt x="40" y="16"/>
                    <a:pt x="40" y="16"/>
                    <a:pt x="40" y="16"/>
                  </a:cubicBezTo>
                  <a:cubicBezTo>
                    <a:pt x="40" y="0"/>
                    <a:pt x="40" y="0"/>
                    <a:pt x="40" y="0"/>
                  </a:cubicBezTo>
                  <a:cubicBezTo>
                    <a:pt x="16" y="0"/>
                    <a:pt x="16" y="0"/>
                    <a:pt x="16" y="0"/>
                  </a:cubicBezTo>
                  <a:cubicBezTo>
                    <a:pt x="7" y="0"/>
                    <a:pt x="0" y="7"/>
                    <a:pt x="0" y="16"/>
                  </a:cubicBezTo>
                  <a:cubicBezTo>
                    <a:pt x="0" y="128"/>
                    <a:pt x="0" y="128"/>
                    <a:pt x="0" y="128"/>
                  </a:cubicBezTo>
                  <a:cubicBezTo>
                    <a:pt x="0" y="137"/>
                    <a:pt x="7" y="144"/>
                    <a:pt x="16" y="144"/>
                  </a:cubicBezTo>
                  <a:cubicBezTo>
                    <a:pt x="28" y="144"/>
                    <a:pt x="28" y="144"/>
                    <a:pt x="28" y="144"/>
                  </a:cubicBezTo>
                  <a:cubicBezTo>
                    <a:pt x="27" y="142"/>
                    <a:pt x="26" y="140"/>
                    <a:pt x="26" y="138"/>
                  </a:cubicBezTo>
                  <a:cubicBezTo>
                    <a:pt x="25" y="137"/>
                    <a:pt x="25" y="136"/>
                    <a:pt x="25" y="136"/>
                  </a:cubicBezTo>
                  <a:cubicBezTo>
                    <a:pt x="25" y="135"/>
                    <a:pt x="25" y="134"/>
                    <a:pt x="25" y="133"/>
                  </a:cubicBezTo>
                  <a:cubicBezTo>
                    <a:pt x="24" y="132"/>
                    <a:pt x="24" y="130"/>
                    <a:pt x="24" y="128"/>
                  </a:cubicBezTo>
                  <a:cubicBezTo>
                    <a:pt x="24" y="126"/>
                    <a:pt x="24" y="125"/>
                    <a:pt x="24" y="123"/>
                  </a:cubicBezTo>
                  <a:cubicBezTo>
                    <a:pt x="24" y="123"/>
                    <a:pt x="25" y="122"/>
                    <a:pt x="25" y="122"/>
                  </a:cubicBezTo>
                  <a:cubicBezTo>
                    <a:pt x="25" y="121"/>
                    <a:pt x="25" y="120"/>
                    <a:pt x="25" y="119"/>
                  </a:cubicBezTo>
                  <a:cubicBezTo>
                    <a:pt x="26" y="118"/>
                    <a:pt x="26" y="118"/>
                    <a:pt x="26" y="117"/>
                  </a:cubicBezTo>
                  <a:cubicBezTo>
                    <a:pt x="26" y="116"/>
                    <a:pt x="27" y="115"/>
                    <a:pt x="27" y="115"/>
                  </a:cubicBezTo>
                  <a:cubicBezTo>
                    <a:pt x="27" y="114"/>
                    <a:pt x="28" y="113"/>
                    <a:pt x="28" y="113"/>
                  </a:cubicBezTo>
                  <a:cubicBezTo>
                    <a:pt x="28" y="112"/>
                    <a:pt x="29" y="112"/>
                    <a:pt x="29" y="111"/>
                  </a:cubicBezTo>
                  <a:cubicBezTo>
                    <a:pt x="30" y="110"/>
                    <a:pt x="30" y="109"/>
                    <a:pt x="31" y="109"/>
                  </a:cubicBezTo>
                  <a:cubicBezTo>
                    <a:pt x="31" y="108"/>
                    <a:pt x="31" y="108"/>
                    <a:pt x="31" y="108"/>
                  </a:cubicBezTo>
                  <a:cubicBezTo>
                    <a:pt x="34" y="105"/>
                    <a:pt x="37" y="102"/>
                    <a:pt x="40" y="100"/>
                  </a:cubicBezTo>
                  <a:lnTo>
                    <a:pt x="40" y="96"/>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ysClr val="windowText" lastClr="000000"/>
                </a:solidFill>
                <a:effectLst/>
                <a:uLnTx/>
                <a:uFillTx/>
                <a:latin typeface="Calibri" panose="020F0502020204030204"/>
                <a:ea typeface="宋体" panose="02010600030101010101" pitchFamily="2" charset="-122"/>
              </a:endParaRPr>
            </a:p>
          </p:txBody>
        </p:sp>
        <p:sp>
          <p:nvSpPr>
            <p:cNvPr id="67" name="Freeform 71"/>
            <p:cNvSpPr/>
            <p:nvPr/>
          </p:nvSpPr>
          <p:spPr bwMode="auto">
            <a:xfrm flipH="1">
              <a:off x="1863670" y="2486066"/>
              <a:ext cx="91211" cy="91211"/>
            </a:xfrm>
            <a:custGeom>
              <a:avLst/>
              <a:gdLst>
                <a:gd name="T0" fmla="*/ 16 w 56"/>
                <a:gd name="T1" fmla="*/ 56 h 56"/>
                <a:gd name="T2" fmla="*/ 56 w 56"/>
                <a:gd name="T3" fmla="*/ 56 h 56"/>
                <a:gd name="T4" fmla="*/ 0 w 56"/>
                <a:gd name="T5" fmla="*/ 0 h 56"/>
                <a:gd name="T6" fmla="*/ 0 w 56"/>
                <a:gd name="T7" fmla="*/ 40 h 56"/>
                <a:gd name="T8" fmla="*/ 16 w 56"/>
                <a:gd name="T9" fmla="*/ 56 h 56"/>
              </a:gdLst>
              <a:ahLst/>
              <a:cxnLst>
                <a:cxn ang="0">
                  <a:pos x="T0" y="T1"/>
                </a:cxn>
                <a:cxn ang="0">
                  <a:pos x="T2" y="T3"/>
                </a:cxn>
                <a:cxn ang="0">
                  <a:pos x="T4" y="T5"/>
                </a:cxn>
                <a:cxn ang="0">
                  <a:pos x="T6" y="T7"/>
                </a:cxn>
                <a:cxn ang="0">
                  <a:pos x="T8" y="T9"/>
                </a:cxn>
              </a:cxnLst>
              <a:rect l="0" t="0" r="r" b="b"/>
              <a:pathLst>
                <a:path w="56" h="56">
                  <a:moveTo>
                    <a:pt x="16" y="56"/>
                  </a:moveTo>
                  <a:cubicBezTo>
                    <a:pt x="56" y="56"/>
                    <a:pt x="56" y="56"/>
                    <a:pt x="56" y="56"/>
                  </a:cubicBezTo>
                  <a:cubicBezTo>
                    <a:pt x="0" y="0"/>
                    <a:pt x="0" y="0"/>
                    <a:pt x="0" y="0"/>
                  </a:cubicBezTo>
                  <a:cubicBezTo>
                    <a:pt x="0" y="40"/>
                    <a:pt x="0" y="40"/>
                    <a:pt x="0" y="40"/>
                  </a:cubicBezTo>
                  <a:cubicBezTo>
                    <a:pt x="0" y="49"/>
                    <a:pt x="7" y="56"/>
                    <a:pt x="16" y="56"/>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ysClr val="windowText" lastClr="000000"/>
                </a:solidFill>
                <a:effectLst/>
                <a:uLnTx/>
                <a:uFillTx/>
                <a:latin typeface="Calibri" panose="020F0502020204030204"/>
                <a:ea typeface="宋体" panose="02010600030101010101" pitchFamily="2" charset="-122"/>
              </a:endParaRPr>
            </a:p>
          </p:txBody>
        </p:sp>
        <p:sp>
          <p:nvSpPr>
            <p:cNvPr id="68" name="Freeform 72"/>
            <p:cNvSpPr/>
            <p:nvPr/>
          </p:nvSpPr>
          <p:spPr bwMode="auto">
            <a:xfrm flipH="1">
              <a:off x="1863670" y="2486066"/>
              <a:ext cx="287666" cy="157365"/>
            </a:xfrm>
            <a:custGeom>
              <a:avLst/>
              <a:gdLst>
                <a:gd name="T0" fmla="*/ 176 w 176"/>
                <a:gd name="T1" fmla="*/ 72 h 96"/>
                <a:gd name="T2" fmla="*/ 120 w 176"/>
                <a:gd name="T3" fmla="*/ 72 h 96"/>
                <a:gd name="T4" fmla="*/ 104 w 176"/>
                <a:gd name="T5" fmla="*/ 56 h 96"/>
                <a:gd name="T6" fmla="*/ 104 w 176"/>
                <a:gd name="T7" fmla="*/ 40 h 96"/>
                <a:gd name="T8" fmla="*/ 104 w 176"/>
                <a:gd name="T9" fmla="*/ 0 h 96"/>
                <a:gd name="T10" fmla="*/ 16 w 176"/>
                <a:gd name="T11" fmla="*/ 0 h 96"/>
                <a:gd name="T12" fmla="*/ 0 w 176"/>
                <a:gd name="T13" fmla="*/ 16 h 96"/>
                <a:gd name="T14" fmla="*/ 0 w 176"/>
                <a:gd name="T15" fmla="*/ 96 h 96"/>
                <a:gd name="T16" fmla="*/ 176 w 176"/>
                <a:gd name="T17" fmla="*/ 96 h 96"/>
                <a:gd name="T18" fmla="*/ 176 w 176"/>
                <a:gd name="T19" fmla="*/ 7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6" h="96">
                  <a:moveTo>
                    <a:pt x="176" y="72"/>
                  </a:moveTo>
                  <a:cubicBezTo>
                    <a:pt x="120" y="72"/>
                    <a:pt x="120" y="72"/>
                    <a:pt x="120" y="72"/>
                  </a:cubicBezTo>
                  <a:cubicBezTo>
                    <a:pt x="111" y="72"/>
                    <a:pt x="104" y="65"/>
                    <a:pt x="104" y="56"/>
                  </a:cubicBezTo>
                  <a:cubicBezTo>
                    <a:pt x="104" y="40"/>
                    <a:pt x="104" y="40"/>
                    <a:pt x="104" y="40"/>
                  </a:cubicBezTo>
                  <a:cubicBezTo>
                    <a:pt x="104" y="0"/>
                    <a:pt x="104" y="0"/>
                    <a:pt x="104" y="0"/>
                  </a:cubicBezTo>
                  <a:cubicBezTo>
                    <a:pt x="16" y="0"/>
                    <a:pt x="16" y="0"/>
                    <a:pt x="16" y="0"/>
                  </a:cubicBezTo>
                  <a:cubicBezTo>
                    <a:pt x="7" y="0"/>
                    <a:pt x="0" y="7"/>
                    <a:pt x="0" y="16"/>
                  </a:cubicBezTo>
                  <a:cubicBezTo>
                    <a:pt x="0" y="96"/>
                    <a:pt x="0" y="96"/>
                    <a:pt x="0" y="96"/>
                  </a:cubicBezTo>
                  <a:cubicBezTo>
                    <a:pt x="176" y="96"/>
                    <a:pt x="176" y="96"/>
                    <a:pt x="176" y="96"/>
                  </a:cubicBezTo>
                  <a:lnTo>
                    <a:pt x="176" y="72"/>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ysClr val="windowText" lastClr="000000"/>
                </a:solidFill>
                <a:effectLst/>
                <a:uLnTx/>
                <a:uFillTx/>
                <a:latin typeface="Calibri" panose="020F0502020204030204"/>
                <a:ea typeface="宋体" panose="02010600030101010101" pitchFamily="2" charset="-122"/>
              </a:endParaRPr>
            </a:p>
          </p:txBody>
        </p:sp>
        <p:sp>
          <p:nvSpPr>
            <p:cNvPr id="69" name="Rectangle 73"/>
            <p:cNvSpPr>
              <a:spLocks noChangeArrowheads="1"/>
            </p:cNvSpPr>
            <p:nvPr/>
          </p:nvSpPr>
          <p:spPr bwMode="auto">
            <a:xfrm flipH="1">
              <a:off x="1876700" y="2669491"/>
              <a:ext cx="261606" cy="15636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ysClr val="windowText" lastClr="000000"/>
                </a:solidFill>
                <a:effectLst/>
                <a:uLnTx/>
                <a:uFillTx/>
                <a:latin typeface="Calibri" panose="020F0502020204030204"/>
                <a:ea typeface="宋体" panose="02010600030101010101" pitchFamily="2" charset="-122"/>
              </a:endParaRPr>
            </a:p>
          </p:txBody>
        </p:sp>
      </p:grpSp>
      <p:grpSp>
        <p:nvGrpSpPr>
          <p:cNvPr id="18" name="组合 17"/>
          <p:cNvGrpSpPr/>
          <p:nvPr/>
        </p:nvGrpSpPr>
        <p:grpSpPr>
          <a:xfrm>
            <a:off x="1918742" y="3212976"/>
            <a:ext cx="8352927" cy="216024"/>
            <a:chOff x="1918742" y="3212976"/>
            <a:chExt cx="8352927" cy="216024"/>
          </a:xfrm>
        </p:grpSpPr>
        <p:sp>
          <p:nvSpPr>
            <p:cNvPr id="13" name="椭圆 12"/>
            <p:cNvSpPr/>
            <p:nvPr/>
          </p:nvSpPr>
          <p:spPr>
            <a:xfrm>
              <a:off x="1918742" y="3212976"/>
              <a:ext cx="216024" cy="21602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3" name="椭圆 72"/>
            <p:cNvSpPr/>
            <p:nvPr/>
          </p:nvSpPr>
          <p:spPr>
            <a:xfrm>
              <a:off x="3913428" y="3212976"/>
              <a:ext cx="216024" cy="21602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4" name="椭圆 73"/>
            <p:cNvSpPr/>
            <p:nvPr/>
          </p:nvSpPr>
          <p:spPr>
            <a:xfrm>
              <a:off x="5987194" y="3212976"/>
              <a:ext cx="216024" cy="21602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5" name="椭圆 74"/>
            <p:cNvSpPr/>
            <p:nvPr/>
          </p:nvSpPr>
          <p:spPr>
            <a:xfrm>
              <a:off x="8021420" y="3212976"/>
              <a:ext cx="216024" cy="21602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6" name="椭圆 75"/>
            <p:cNvSpPr/>
            <p:nvPr/>
          </p:nvSpPr>
          <p:spPr>
            <a:xfrm>
              <a:off x="10055645" y="3212976"/>
              <a:ext cx="216024" cy="21602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6" name="矩形 15"/>
            <p:cNvSpPr/>
            <p:nvPr/>
          </p:nvSpPr>
          <p:spPr>
            <a:xfrm>
              <a:off x="1959948" y="3298129"/>
              <a:ext cx="8136905"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19" name="等腰三角形 18"/>
          <p:cNvSpPr/>
          <p:nvPr/>
        </p:nvSpPr>
        <p:spPr>
          <a:xfrm flipV="1">
            <a:off x="1901460" y="4797152"/>
            <a:ext cx="250588" cy="216024"/>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7" name="等腰三角形 76"/>
          <p:cNvSpPr/>
          <p:nvPr/>
        </p:nvSpPr>
        <p:spPr>
          <a:xfrm flipV="1">
            <a:off x="3935686" y="4797152"/>
            <a:ext cx="250588" cy="216024"/>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8" name="等腰三角形 77"/>
          <p:cNvSpPr/>
          <p:nvPr/>
        </p:nvSpPr>
        <p:spPr>
          <a:xfrm flipV="1">
            <a:off x="5969912" y="4797152"/>
            <a:ext cx="250588" cy="216024"/>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9" name="等腰三角形 78"/>
          <p:cNvSpPr/>
          <p:nvPr/>
        </p:nvSpPr>
        <p:spPr>
          <a:xfrm flipV="1">
            <a:off x="8004138" y="4797152"/>
            <a:ext cx="250588" cy="216024"/>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mtClean="0"/>
              <a:t>4</a:t>
            </a:r>
            <a:endParaRPr lang="zh-CN" altLang="en-US"/>
          </a:p>
        </p:txBody>
      </p:sp>
      <p:sp>
        <p:nvSpPr>
          <p:cNvPr id="80" name="等腰三角形 79"/>
          <p:cNvSpPr/>
          <p:nvPr/>
        </p:nvSpPr>
        <p:spPr>
          <a:xfrm flipV="1">
            <a:off x="10038364" y="4797152"/>
            <a:ext cx="250588" cy="216024"/>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0" name="TextBox 19"/>
          <p:cNvSpPr txBox="1"/>
          <p:nvPr/>
        </p:nvSpPr>
        <p:spPr>
          <a:xfrm>
            <a:off x="1382988" y="5147900"/>
            <a:ext cx="1287532" cy="369332"/>
          </a:xfrm>
          <a:prstGeom prst="rect">
            <a:avLst/>
          </a:prstGeom>
          <a:noFill/>
        </p:spPr>
        <p:txBody>
          <a:bodyPr wrap="none" rtlCol="0">
            <a:spAutoFit/>
          </a:bodyPr>
          <a:lstStyle/>
          <a:p>
            <a:pPr algn="ctr"/>
            <a:r>
              <a:rPr lang="en-US" altLang="zh-CN" smtClean="0">
                <a:solidFill>
                  <a:schemeClr val="bg1"/>
                </a:solidFill>
                <a:latin typeface="HelveticaNeueLT Pro 35 Th" pitchFamily="34" charset="0"/>
                <a:ea typeface="华文细黑" panose="02010600040101010101" pitchFamily="2" charset="-122"/>
              </a:rPr>
              <a:t>2010</a:t>
            </a:r>
            <a:r>
              <a:rPr lang="zh-CN" altLang="en-US" smtClean="0">
                <a:solidFill>
                  <a:schemeClr val="bg1"/>
                </a:solidFill>
                <a:latin typeface="HelveticaNeueLT Pro 35 Th" pitchFamily="34" charset="0"/>
                <a:ea typeface="华文细黑" panose="02010600040101010101" pitchFamily="2" charset="-122"/>
              </a:rPr>
              <a:t>年</a:t>
            </a:r>
            <a:r>
              <a:rPr lang="en-US" altLang="zh-CN" smtClean="0">
                <a:solidFill>
                  <a:schemeClr val="bg1"/>
                </a:solidFill>
                <a:latin typeface="HelveticaNeueLT Pro 35 Th" pitchFamily="34" charset="0"/>
                <a:ea typeface="华文细黑" panose="02010600040101010101" pitchFamily="2" charset="-122"/>
              </a:rPr>
              <a:t>6</a:t>
            </a:r>
            <a:r>
              <a:rPr lang="zh-CN" altLang="en-US" smtClean="0">
                <a:solidFill>
                  <a:schemeClr val="bg1"/>
                </a:solidFill>
                <a:latin typeface="HelveticaNeueLT Pro 35 Th" pitchFamily="34" charset="0"/>
                <a:ea typeface="华文细黑" panose="02010600040101010101" pitchFamily="2" charset="-122"/>
              </a:rPr>
              <a:t>月</a:t>
            </a:r>
            <a:endParaRPr lang="zh-CN" altLang="en-US">
              <a:solidFill>
                <a:schemeClr val="bg1"/>
              </a:solidFill>
              <a:latin typeface="HelveticaNeueLT Pro 35 Th" pitchFamily="34" charset="0"/>
              <a:ea typeface="华文细黑" panose="02010600040101010101" pitchFamily="2" charset="-122"/>
            </a:endParaRPr>
          </a:p>
        </p:txBody>
      </p:sp>
      <p:sp>
        <p:nvSpPr>
          <p:cNvPr id="81" name="TextBox 80"/>
          <p:cNvSpPr txBox="1"/>
          <p:nvPr/>
        </p:nvSpPr>
        <p:spPr>
          <a:xfrm>
            <a:off x="3417214" y="5147900"/>
            <a:ext cx="1287533" cy="369332"/>
          </a:xfrm>
          <a:prstGeom prst="rect">
            <a:avLst/>
          </a:prstGeom>
          <a:noFill/>
        </p:spPr>
        <p:txBody>
          <a:bodyPr wrap="none" rtlCol="0">
            <a:spAutoFit/>
          </a:bodyPr>
          <a:lstStyle/>
          <a:p>
            <a:pPr algn="ctr"/>
            <a:r>
              <a:rPr lang="en-US" altLang="zh-CN" smtClean="0">
                <a:solidFill>
                  <a:schemeClr val="bg1"/>
                </a:solidFill>
                <a:latin typeface="HelveticaNeueLT Pro 35 Th" pitchFamily="34" charset="0"/>
                <a:ea typeface="华文细黑" panose="02010600040101010101" pitchFamily="2" charset="-122"/>
              </a:rPr>
              <a:t>2011</a:t>
            </a:r>
            <a:r>
              <a:rPr lang="zh-CN" altLang="en-US" smtClean="0">
                <a:solidFill>
                  <a:schemeClr val="bg1"/>
                </a:solidFill>
                <a:latin typeface="HelveticaNeueLT Pro 35 Th" pitchFamily="34" charset="0"/>
                <a:ea typeface="华文细黑" panose="02010600040101010101" pitchFamily="2" charset="-122"/>
              </a:rPr>
              <a:t>年</a:t>
            </a:r>
            <a:r>
              <a:rPr lang="en-US" altLang="zh-CN" smtClean="0">
                <a:solidFill>
                  <a:schemeClr val="bg1"/>
                </a:solidFill>
                <a:latin typeface="HelveticaNeueLT Pro 35 Th" pitchFamily="34" charset="0"/>
                <a:ea typeface="华文细黑" panose="02010600040101010101" pitchFamily="2" charset="-122"/>
              </a:rPr>
              <a:t>6</a:t>
            </a:r>
            <a:r>
              <a:rPr lang="zh-CN" altLang="en-US" smtClean="0">
                <a:solidFill>
                  <a:schemeClr val="bg1"/>
                </a:solidFill>
                <a:latin typeface="HelveticaNeueLT Pro 35 Th" pitchFamily="34" charset="0"/>
                <a:ea typeface="华文细黑" panose="02010600040101010101" pitchFamily="2" charset="-122"/>
              </a:rPr>
              <a:t>月</a:t>
            </a:r>
            <a:endParaRPr lang="zh-CN" altLang="en-US">
              <a:solidFill>
                <a:schemeClr val="bg1"/>
              </a:solidFill>
              <a:latin typeface="HelveticaNeueLT Pro 35 Th" pitchFamily="34" charset="0"/>
              <a:ea typeface="华文细黑" panose="02010600040101010101" pitchFamily="2" charset="-122"/>
            </a:endParaRPr>
          </a:p>
        </p:txBody>
      </p:sp>
      <p:sp>
        <p:nvSpPr>
          <p:cNvPr id="82" name="TextBox 81"/>
          <p:cNvSpPr txBox="1"/>
          <p:nvPr/>
        </p:nvSpPr>
        <p:spPr>
          <a:xfrm>
            <a:off x="5451441" y="5147900"/>
            <a:ext cx="1287532" cy="369332"/>
          </a:xfrm>
          <a:prstGeom prst="rect">
            <a:avLst/>
          </a:prstGeom>
          <a:noFill/>
        </p:spPr>
        <p:txBody>
          <a:bodyPr wrap="none" rtlCol="0">
            <a:spAutoFit/>
          </a:bodyPr>
          <a:lstStyle/>
          <a:p>
            <a:pPr algn="ctr"/>
            <a:r>
              <a:rPr lang="en-US" altLang="zh-CN" smtClean="0">
                <a:solidFill>
                  <a:schemeClr val="bg1"/>
                </a:solidFill>
                <a:latin typeface="HelveticaNeueLT Pro 35 Th" pitchFamily="34" charset="0"/>
                <a:ea typeface="华文细黑" panose="02010600040101010101" pitchFamily="2" charset="-122"/>
              </a:rPr>
              <a:t>2012</a:t>
            </a:r>
            <a:r>
              <a:rPr lang="zh-CN" altLang="en-US" smtClean="0">
                <a:solidFill>
                  <a:schemeClr val="bg1"/>
                </a:solidFill>
                <a:latin typeface="HelveticaNeueLT Pro 35 Th" pitchFamily="34" charset="0"/>
                <a:ea typeface="华文细黑" panose="02010600040101010101" pitchFamily="2" charset="-122"/>
              </a:rPr>
              <a:t>年</a:t>
            </a:r>
            <a:r>
              <a:rPr lang="en-US" altLang="zh-CN" smtClean="0">
                <a:solidFill>
                  <a:schemeClr val="bg1"/>
                </a:solidFill>
                <a:latin typeface="HelveticaNeueLT Pro 35 Th" pitchFamily="34" charset="0"/>
                <a:ea typeface="华文细黑" panose="02010600040101010101" pitchFamily="2" charset="-122"/>
              </a:rPr>
              <a:t>6</a:t>
            </a:r>
            <a:r>
              <a:rPr lang="zh-CN" altLang="en-US" smtClean="0">
                <a:solidFill>
                  <a:schemeClr val="bg1"/>
                </a:solidFill>
                <a:latin typeface="HelveticaNeueLT Pro 35 Th" pitchFamily="34" charset="0"/>
                <a:ea typeface="华文细黑" panose="02010600040101010101" pitchFamily="2" charset="-122"/>
              </a:rPr>
              <a:t>月</a:t>
            </a:r>
            <a:endParaRPr lang="zh-CN" altLang="en-US">
              <a:solidFill>
                <a:schemeClr val="bg1"/>
              </a:solidFill>
              <a:latin typeface="HelveticaNeueLT Pro 35 Th" pitchFamily="34" charset="0"/>
              <a:ea typeface="华文细黑" panose="02010600040101010101" pitchFamily="2" charset="-122"/>
            </a:endParaRPr>
          </a:p>
        </p:txBody>
      </p:sp>
      <p:sp>
        <p:nvSpPr>
          <p:cNvPr id="83" name="TextBox 82"/>
          <p:cNvSpPr txBox="1"/>
          <p:nvPr/>
        </p:nvSpPr>
        <p:spPr>
          <a:xfrm>
            <a:off x="7485667" y="5147900"/>
            <a:ext cx="1287532" cy="369332"/>
          </a:xfrm>
          <a:prstGeom prst="rect">
            <a:avLst/>
          </a:prstGeom>
          <a:noFill/>
        </p:spPr>
        <p:txBody>
          <a:bodyPr wrap="none" rtlCol="0">
            <a:spAutoFit/>
          </a:bodyPr>
          <a:lstStyle/>
          <a:p>
            <a:pPr algn="ctr"/>
            <a:r>
              <a:rPr lang="en-US" altLang="zh-CN" smtClean="0">
                <a:solidFill>
                  <a:schemeClr val="bg1"/>
                </a:solidFill>
                <a:latin typeface="HelveticaNeueLT Pro 35 Th" pitchFamily="34" charset="0"/>
                <a:ea typeface="华文细黑" panose="02010600040101010101" pitchFamily="2" charset="-122"/>
              </a:rPr>
              <a:t>2013</a:t>
            </a:r>
            <a:r>
              <a:rPr lang="zh-CN" altLang="en-US" smtClean="0">
                <a:solidFill>
                  <a:schemeClr val="bg1"/>
                </a:solidFill>
                <a:latin typeface="HelveticaNeueLT Pro 35 Th" pitchFamily="34" charset="0"/>
                <a:ea typeface="华文细黑" panose="02010600040101010101" pitchFamily="2" charset="-122"/>
              </a:rPr>
              <a:t>年</a:t>
            </a:r>
            <a:r>
              <a:rPr lang="en-US" altLang="zh-CN" smtClean="0">
                <a:solidFill>
                  <a:schemeClr val="bg1"/>
                </a:solidFill>
                <a:latin typeface="HelveticaNeueLT Pro 35 Th" pitchFamily="34" charset="0"/>
                <a:ea typeface="华文细黑" panose="02010600040101010101" pitchFamily="2" charset="-122"/>
              </a:rPr>
              <a:t>6</a:t>
            </a:r>
            <a:r>
              <a:rPr lang="zh-CN" altLang="en-US" smtClean="0">
                <a:solidFill>
                  <a:schemeClr val="bg1"/>
                </a:solidFill>
                <a:latin typeface="HelveticaNeueLT Pro 35 Th" pitchFamily="34" charset="0"/>
                <a:ea typeface="华文细黑" panose="02010600040101010101" pitchFamily="2" charset="-122"/>
              </a:rPr>
              <a:t>月</a:t>
            </a:r>
            <a:endParaRPr lang="zh-CN" altLang="en-US">
              <a:solidFill>
                <a:schemeClr val="bg1"/>
              </a:solidFill>
              <a:latin typeface="HelveticaNeueLT Pro 35 Th" pitchFamily="34" charset="0"/>
              <a:ea typeface="华文细黑" panose="02010600040101010101" pitchFamily="2" charset="-122"/>
            </a:endParaRPr>
          </a:p>
        </p:txBody>
      </p:sp>
      <p:sp>
        <p:nvSpPr>
          <p:cNvPr id="84" name="TextBox 83"/>
          <p:cNvSpPr txBox="1"/>
          <p:nvPr/>
        </p:nvSpPr>
        <p:spPr>
          <a:xfrm>
            <a:off x="9519893" y="5147900"/>
            <a:ext cx="1287532" cy="369332"/>
          </a:xfrm>
          <a:prstGeom prst="rect">
            <a:avLst/>
          </a:prstGeom>
          <a:noFill/>
        </p:spPr>
        <p:txBody>
          <a:bodyPr wrap="none" rtlCol="0">
            <a:spAutoFit/>
          </a:bodyPr>
          <a:lstStyle/>
          <a:p>
            <a:pPr algn="ctr"/>
            <a:r>
              <a:rPr lang="en-US" altLang="zh-CN" smtClean="0">
                <a:solidFill>
                  <a:schemeClr val="bg1"/>
                </a:solidFill>
                <a:latin typeface="HelveticaNeueLT Pro 35 Th" pitchFamily="34" charset="0"/>
                <a:ea typeface="华文细黑" panose="02010600040101010101" pitchFamily="2" charset="-122"/>
              </a:rPr>
              <a:t>2014</a:t>
            </a:r>
            <a:r>
              <a:rPr lang="zh-CN" altLang="en-US" smtClean="0">
                <a:solidFill>
                  <a:schemeClr val="bg1"/>
                </a:solidFill>
                <a:latin typeface="HelveticaNeueLT Pro 35 Th" pitchFamily="34" charset="0"/>
                <a:ea typeface="华文细黑" panose="02010600040101010101" pitchFamily="2" charset="-122"/>
              </a:rPr>
              <a:t>年</a:t>
            </a:r>
            <a:r>
              <a:rPr lang="en-US" altLang="zh-CN" smtClean="0">
                <a:solidFill>
                  <a:schemeClr val="bg1"/>
                </a:solidFill>
                <a:latin typeface="HelveticaNeueLT Pro 35 Th" pitchFamily="34" charset="0"/>
                <a:ea typeface="华文细黑" panose="02010600040101010101" pitchFamily="2" charset="-122"/>
              </a:rPr>
              <a:t>6</a:t>
            </a:r>
            <a:r>
              <a:rPr lang="zh-CN" altLang="en-US" smtClean="0">
                <a:solidFill>
                  <a:schemeClr val="bg1"/>
                </a:solidFill>
                <a:latin typeface="HelveticaNeueLT Pro 35 Th" pitchFamily="34" charset="0"/>
                <a:ea typeface="华文细黑" panose="02010600040101010101" pitchFamily="2" charset="-122"/>
              </a:rPr>
              <a:t>月</a:t>
            </a:r>
            <a:endParaRPr lang="zh-CN" altLang="en-US">
              <a:solidFill>
                <a:schemeClr val="bg1"/>
              </a:solidFill>
              <a:latin typeface="HelveticaNeueLT Pro 35 Th" pitchFamily="34" charset="0"/>
              <a:ea typeface="华文细黑" panose="02010600040101010101" pitchFamily="2" charset="-122"/>
            </a:endParaRPr>
          </a:p>
        </p:txBody>
      </p:sp>
      <p:sp>
        <p:nvSpPr>
          <p:cNvPr id="71" name="圆角矩形 70"/>
          <p:cNvSpPr/>
          <p:nvPr/>
        </p:nvSpPr>
        <p:spPr>
          <a:xfrm>
            <a:off x="8894702" y="260648"/>
            <a:ext cx="2673112" cy="600163"/>
          </a:xfrm>
          <a:prstGeom prst="roundRect">
            <a:avLst/>
          </a:prstGeom>
          <a:solidFill>
            <a:srgbClr val="FFFFFF"/>
          </a:solidFill>
          <a:ln>
            <a:noFill/>
          </a:ln>
          <a:effectLst>
            <a:reflection blurRad="6350" stA="25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2" name="TextBox 71"/>
          <p:cNvSpPr txBox="1"/>
          <p:nvPr/>
        </p:nvSpPr>
        <p:spPr>
          <a:xfrm>
            <a:off x="9061707" y="260648"/>
            <a:ext cx="2339102" cy="523220"/>
          </a:xfrm>
          <a:prstGeom prst="rect">
            <a:avLst/>
          </a:prstGeom>
          <a:noFill/>
        </p:spPr>
        <p:txBody>
          <a:bodyPr wrap="none" rtlCol="0" anchor="ctr">
            <a:spAutoFit/>
          </a:bodyPr>
          <a:lstStyle>
            <a:defPPr>
              <a:defRPr lang="zh-CN"/>
            </a:defPPr>
            <a:lvl1pPr algn="ctr">
              <a:defRPr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anose="02010600040101010101" pitchFamily="2" charset="-122"/>
                <a:cs typeface="华文黑体" pitchFamily="2" charset="-122"/>
              </a:defRPr>
            </a:lvl1pPr>
          </a:lstStyle>
          <a:p>
            <a:r>
              <a:rPr lang="zh-CN" altLang="en-US" sz="2800"/>
              <a:t>点击添加标题</a:t>
            </a:r>
            <a:endParaRPr lang="zh-CN" altLang="en-US" sz="2800"/>
          </a:p>
        </p:txBody>
      </p:sp>
    </p:spTree>
  </p:cSld>
  <p:clrMapOvr>
    <a:masterClrMapping/>
  </p:clrMapOvr>
  <mc:AlternateContent xmlns:mc="http://schemas.openxmlformats.org/markup-compatibility/2006">
    <mc:Choice xmlns:p14="http://schemas.microsoft.com/office/powerpoint/2010/main" Requires="p14">
      <p:transition spd="slow" p14:dur="1400">
        <p14:doors dir="vert"/>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71"/>
                                        </p:tgtEl>
                                        <p:attrNameLst>
                                          <p:attrName>style.visibility</p:attrName>
                                        </p:attrNameLst>
                                      </p:cBhvr>
                                      <p:to>
                                        <p:strVal val="visible"/>
                                      </p:to>
                                    </p:set>
                                    <p:animEffect transition="in" filter="fade">
                                      <p:cBhvr>
                                        <p:cTn id="7" dur="300"/>
                                        <p:tgtEl>
                                          <p:spTgt spid="71"/>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2"/>
                                        </p:tgtEl>
                                        <p:attrNameLst>
                                          <p:attrName>style.visibility</p:attrName>
                                        </p:attrNameLst>
                                      </p:cBhvr>
                                      <p:to>
                                        <p:strVal val="visible"/>
                                      </p:to>
                                    </p:set>
                                    <p:animEffect transition="in" filter="fade">
                                      <p:cBhvr>
                                        <p:cTn id="10" dur="300"/>
                                        <p:tgtEl>
                                          <p:spTgt spid="72"/>
                                        </p:tgtEl>
                                      </p:cBhvr>
                                    </p:animEffect>
                                  </p:childTnLst>
                                </p:cTn>
                              </p:par>
                            </p:childTnLst>
                          </p:cTn>
                        </p:par>
                        <p:par>
                          <p:cTn id="11" fill="hold">
                            <p:stCondLst>
                              <p:cond delay="500"/>
                            </p:stCondLst>
                            <p:childTnLst>
                              <p:par>
                                <p:cTn id="12" presetID="2" presetClass="entr" presetSubtype="4" fill="hold" grpId="0" nodeType="afterEffect">
                                  <p:stCondLst>
                                    <p:cond delay="0"/>
                                  </p:stCondLst>
                                  <p:childTnLst>
                                    <p:set>
                                      <p:cBhvr>
                                        <p:cTn id="13" dur="1" fill="hold">
                                          <p:stCondLst>
                                            <p:cond delay="0"/>
                                          </p:stCondLst>
                                        </p:cTn>
                                        <p:tgtEl>
                                          <p:spTgt spid="3"/>
                                        </p:tgtEl>
                                        <p:attrNameLst>
                                          <p:attrName>style.visibility</p:attrName>
                                        </p:attrNameLst>
                                      </p:cBhvr>
                                      <p:to>
                                        <p:strVal val="visible"/>
                                      </p:to>
                                    </p:set>
                                    <p:anim calcmode="lin" valueType="num">
                                      <p:cBhvr additive="base">
                                        <p:cTn id="14" dur="500" fill="hold"/>
                                        <p:tgtEl>
                                          <p:spTgt spid="3"/>
                                        </p:tgtEl>
                                        <p:attrNameLst>
                                          <p:attrName>ppt_x</p:attrName>
                                        </p:attrNameLst>
                                      </p:cBhvr>
                                      <p:tavLst>
                                        <p:tav tm="0">
                                          <p:val>
                                            <p:strVal val="#ppt_x"/>
                                          </p:val>
                                        </p:tav>
                                        <p:tav tm="100000">
                                          <p:val>
                                            <p:strVal val="#ppt_x"/>
                                          </p:val>
                                        </p:tav>
                                      </p:tavLst>
                                    </p:anim>
                                    <p:anim calcmode="lin" valueType="num">
                                      <p:cBhvr additive="base">
                                        <p:cTn id="15" dur="500" fill="hold"/>
                                        <p:tgtEl>
                                          <p:spTgt spid="3"/>
                                        </p:tgtEl>
                                        <p:attrNameLst>
                                          <p:attrName>ppt_y</p:attrName>
                                        </p:attrNameLst>
                                      </p:cBhvr>
                                      <p:tavLst>
                                        <p:tav tm="0">
                                          <p:val>
                                            <p:strVal val="1+#ppt_h/2"/>
                                          </p:val>
                                        </p:tav>
                                        <p:tav tm="100000">
                                          <p:val>
                                            <p:strVal val="#ppt_y"/>
                                          </p:val>
                                        </p:tav>
                                      </p:tavLst>
                                    </p:anim>
                                  </p:childTnLst>
                                </p:cTn>
                              </p:par>
                              <p:par>
                                <p:cTn id="16" presetID="2" presetClass="entr" presetSubtype="1" fill="hold" grpId="0" nodeType="withEffect">
                                  <p:stCondLst>
                                    <p:cond delay="0"/>
                                  </p:stCondLst>
                                  <p:childTnLst>
                                    <p:set>
                                      <p:cBhvr>
                                        <p:cTn id="17" dur="1" fill="hold">
                                          <p:stCondLst>
                                            <p:cond delay="0"/>
                                          </p:stCondLst>
                                        </p:cTn>
                                        <p:tgtEl>
                                          <p:spTgt spid="33"/>
                                        </p:tgtEl>
                                        <p:attrNameLst>
                                          <p:attrName>style.visibility</p:attrName>
                                        </p:attrNameLst>
                                      </p:cBhvr>
                                      <p:to>
                                        <p:strVal val="visible"/>
                                      </p:to>
                                    </p:set>
                                    <p:anim calcmode="lin" valueType="num">
                                      <p:cBhvr additive="base">
                                        <p:cTn id="18" dur="500" fill="hold"/>
                                        <p:tgtEl>
                                          <p:spTgt spid="33"/>
                                        </p:tgtEl>
                                        <p:attrNameLst>
                                          <p:attrName>ppt_x</p:attrName>
                                        </p:attrNameLst>
                                      </p:cBhvr>
                                      <p:tavLst>
                                        <p:tav tm="0">
                                          <p:val>
                                            <p:strVal val="#ppt_x"/>
                                          </p:val>
                                        </p:tav>
                                        <p:tav tm="100000">
                                          <p:val>
                                            <p:strVal val="#ppt_x"/>
                                          </p:val>
                                        </p:tav>
                                      </p:tavLst>
                                    </p:anim>
                                    <p:anim calcmode="lin" valueType="num">
                                      <p:cBhvr additive="base">
                                        <p:cTn id="19" dur="500" fill="hold"/>
                                        <p:tgtEl>
                                          <p:spTgt spid="33"/>
                                        </p:tgtEl>
                                        <p:attrNameLst>
                                          <p:attrName>ppt_y</p:attrName>
                                        </p:attrNameLst>
                                      </p:cBhvr>
                                      <p:tavLst>
                                        <p:tav tm="0">
                                          <p:val>
                                            <p:strVal val="0-#ppt_h/2"/>
                                          </p:val>
                                        </p:tav>
                                        <p:tav tm="100000">
                                          <p:val>
                                            <p:strVal val="#ppt_y"/>
                                          </p:val>
                                        </p:tav>
                                      </p:tavLst>
                                    </p:anim>
                                  </p:childTnLst>
                                </p:cTn>
                              </p:par>
                              <p:par>
                                <p:cTn id="20" presetID="2" presetClass="entr" presetSubtype="4" fill="hold" grpId="0" nodeType="withEffect">
                                  <p:stCondLst>
                                    <p:cond delay="500"/>
                                  </p:stCondLst>
                                  <p:childTnLst>
                                    <p:set>
                                      <p:cBhvr>
                                        <p:cTn id="21" dur="1" fill="hold">
                                          <p:stCondLst>
                                            <p:cond delay="0"/>
                                          </p:stCondLst>
                                        </p:cTn>
                                        <p:tgtEl>
                                          <p:spTgt spid="43"/>
                                        </p:tgtEl>
                                        <p:attrNameLst>
                                          <p:attrName>style.visibility</p:attrName>
                                        </p:attrNameLst>
                                      </p:cBhvr>
                                      <p:to>
                                        <p:strVal val="visible"/>
                                      </p:to>
                                    </p:set>
                                    <p:anim calcmode="lin" valueType="num">
                                      <p:cBhvr additive="base">
                                        <p:cTn id="22" dur="500" fill="hold"/>
                                        <p:tgtEl>
                                          <p:spTgt spid="43"/>
                                        </p:tgtEl>
                                        <p:attrNameLst>
                                          <p:attrName>ppt_x</p:attrName>
                                        </p:attrNameLst>
                                      </p:cBhvr>
                                      <p:tavLst>
                                        <p:tav tm="0">
                                          <p:val>
                                            <p:strVal val="#ppt_x"/>
                                          </p:val>
                                        </p:tav>
                                        <p:tav tm="100000">
                                          <p:val>
                                            <p:strVal val="#ppt_x"/>
                                          </p:val>
                                        </p:tav>
                                      </p:tavLst>
                                    </p:anim>
                                    <p:anim calcmode="lin" valueType="num">
                                      <p:cBhvr additive="base">
                                        <p:cTn id="23" dur="500" fill="hold"/>
                                        <p:tgtEl>
                                          <p:spTgt spid="43"/>
                                        </p:tgtEl>
                                        <p:attrNameLst>
                                          <p:attrName>ppt_y</p:attrName>
                                        </p:attrNameLst>
                                      </p:cBhvr>
                                      <p:tavLst>
                                        <p:tav tm="0">
                                          <p:val>
                                            <p:strVal val="1+#ppt_h/2"/>
                                          </p:val>
                                        </p:tav>
                                        <p:tav tm="100000">
                                          <p:val>
                                            <p:strVal val="#ppt_y"/>
                                          </p:val>
                                        </p:tav>
                                      </p:tavLst>
                                    </p:anim>
                                  </p:childTnLst>
                                </p:cTn>
                              </p:par>
                              <p:par>
                                <p:cTn id="24" presetID="2" presetClass="entr" presetSubtype="1" fill="hold" grpId="0" nodeType="withEffect">
                                  <p:stCondLst>
                                    <p:cond delay="500"/>
                                  </p:stCondLst>
                                  <p:childTnLst>
                                    <p:set>
                                      <p:cBhvr>
                                        <p:cTn id="25" dur="1" fill="hold">
                                          <p:stCondLst>
                                            <p:cond delay="0"/>
                                          </p:stCondLst>
                                        </p:cTn>
                                        <p:tgtEl>
                                          <p:spTgt spid="44"/>
                                        </p:tgtEl>
                                        <p:attrNameLst>
                                          <p:attrName>style.visibility</p:attrName>
                                        </p:attrNameLst>
                                      </p:cBhvr>
                                      <p:to>
                                        <p:strVal val="visible"/>
                                      </p:to>
                                    </p:set>
                                    <p:anim calcmode="lin" valueType="num">
                                      <p:cBhvr additive="base">
                                        <p:cTn id="26" dur="500" fill="hold"/>
                                        <p:tgtEl>
                                          <p:spTgt spid="44"/>
                                        </p:tgtEl>
                                        <p:attrNameLst>
                                          <p:attrName>ppt_x</p:attrName>
                                        </p:attrNameLst>
                                      </p:cBhvr>
                                      <p:tavLst>
                                        <p:tav tm="0">
                                          <p:val>
                                            <p:strVal val="#ppt_x"/>
                                          </p:val>
                                        </p:tav>
                                        <p:tav tm="100000">
                                          <p:val>
                                            <p:strVal val="#ppt_x"/>
                                          </p:val>
                                        </p:tav>
                                      </p:tavLst>
                                    </p:anim>
                                    <p:anim calcmode="lin" valueType="num">
                                      <p:cBhvr additive="base">
                                        <p:cTn id="27" dur="500" fill="hold"/>
                                        <p:tgtEl>
                                          <p:spTgt spid="44"/>
                                        </p:tgtEl>
                                        <p:attrNameLst>
                                          <p:attrName>ppt_y</p:attrName>
                                        </p:attrNameLst>
                                      </p:cBhvr>
                                      <p:tavLst>
                                        <p:tav tm="0">
                                          <p:val>
                                            <p:strVal val="0-#ppt_h/2"/>
                                          </p:val>
                                        </p:tav>
                                        <p:tav tm="100000">
                                          <p:val>
                                            <p:strVal val="#ppt_y"/>
                                          </p:val>
                                        </p:tav>
                                      </p:tavLst>
                                    </p:anim>
                                  </p:childTnLst>
                                </p:cTn>
                              </p:par>
                              <p:par>
                                <p:cTn id="28" presetID="2" presetClass="entr" presetSubtype="4" fill="hold" grpId="0" nodeType="withEffect">
                                  <p:stCondLst>
                                    <p:cond delay="1000"/>
                                  </p:stCondLst>
                                  <p:childTnLst>
                                    <p:set>
                                      <p:cBhvr>
                                        <p:cTn id="29" dur="1" fill="hold">
                                          <p:stCondLst>
                                            <p:cond delay="0"/>
                                          </p:stCondLst>
                                        </p:cTn>
                                        <p:tgtEl>
                                          <p:spTgt spid="45"/>
                                        </p:tgtEl>
                                        <p:attrNameLst>
                                          <p:attrName>style.visibility</p:attrName>
                                        </p:attrNameLst>
                                      </p:cBhvr>
                                      <p:to>
                                        <p:strVal val="visible"/>
                                      </p:to>
                                    </p:set>
                                    <p:anim calcmode="lin" valueType="num">
                                      <p:cBhvr additive="base">
                                        <p:cTn id="30" dur="500" fill="hold"/>
                                        <p:tgtEl>
                                          <p:spTgt spid="45"/>
                                        </p:tgtEl>
                                        <p:attrNameLst>
                                          <p:attrName>ppt_x</p:attrName>
                                        </p:attrNameLst>
                                      </p:cBhvr>
                                      <p:tavLst>
                                        <p:tav tm="0">
                                          <p:val>
                                            <p:strVal val="#ppt_x"/>
                                          </p:val>
                                        </p:tav>
                                        <p:tav tm="100000">
                                          <p:val>
                                            <p:strVal val="#ppt_x"/>
                                          </p:val>
                                        </p:tav>
                                      </p:tavLst>
                                    </p:anim>
                                    <p:anim calcmode="lin" valueType="num">
                                      <p:cBhvr additive="base">
                                        <p:cTn id="31" dur="500" fill="hold"/>
                                        <p:tgtEl>
                                          <p:spTgt spid="45"/>
                                        </p:tgtEl>
                                        <p:attrNameLst>
                                          <p:attrName>ppt_y</p:attrName>
                                        </p:attrNameLst>
                                      </p:cBhvr>
                                      <p:tavLst>
                                        <p:tav tm="0">
                                          <p:val>
                                            <p:strVal val="1+#ppt_h/2"/>
                                          </p:val>
                                        </p:tav>
                                        <p:tav tm="100000">
                                          <p:val>
                                            <p:strVal val="#ppt_y"/>
                                          </p:val>
                                        </p:tav>
                                      </p:tavLst>
                                    </p:anim>
                                  </p:childTnLst>
                                </p:cTn>
                              </p:par>
                              <p:par>
                                <p:cTn id="32" presetID="2" presetClass="entr" presetSubtype="1" fill="hold" grpId="0" nodeType="withEffect">
                                  <p:stCondLst>
                                    <p:cond delay="1000"/>
                                  </p:stCondLst>
                                  <p:childTnLst>
                                    <p:set>
                                      <p:cBhvr>
                                        <p:cTn id="33" dur="1" fill="hold">
                                          <p:stCondLst>
                                            <p:cond delay="0"/>
                                          </p:stCondLst>
                                        </p:cTn>
                                        <p:tgtEl>
                                          <p:spTgt spid="48"/>
                                        </p:tgtEl>
                                        <p:attrNameLst>
                                          <p:attrName>style.visibility</p:attrName>
                                        </p:attrNameLst>
                                      </p:cBhvr>
                                      <p:to>
                                        <p:strVal val="visible"/>
                                      </p:to>
                                    </p:set>
                                    <p:anim calcmode="lin" valueType="num">
                                      <p:cBhvr additive="base">
                                        <p:cTn id="34" dur="500" fill="hold"/>
                                        <p:tgtEl>
                                          <p:spTgt spid="48"/>
                                        </p:tgtEl>
                                        <p:attrNameLst>
                                          <p:attrName>ppt_x</p:attrName>
                                        </p:attrNameLst>
                                      </p:cBhvr>
                                      <p:tavLst>
                                        <p:tav tm="0">
                                          <p:val>
                                            <p:strVal val="#ppt_x"/>
                                          </p:val>
                                        </p:tav>
                                        <p:tav tm="100000">
                                          <p:val>
                                            <p:strVal val="#ppt_x"/>
                                          </p:val>
                                        </p:tav>
                                      </p:tavLst>
                                    </p:anim>
                                    <p:anim calcmode="lin" valueType="num">
                                      <p:cBhvr additive="base">
                                        <p:cTn id="35" dur="500" fill="hold"/>
                                        <p:tgtEl>
                                          <p:spTgt spid="48"/>
                                        </p:tgtEl>
                                        <p:attrNameLst>
                                          <p:attrName>ppt_y</p:attrName>
                                        </p:attrNameLst>
                                      </p:cBhvr>
                                      <p:tavLst>
                                        <p:tav tm="0">
                                          <p:val>
                                            <p:strVal val="0-#ppt_h/2"/>
                                          </p:val>
                                        </p:tav>
                                        <p:tav tm="100000">
                                          <p:val>
                                            <p:strVal val="#ppt_y"/>
                                          </p:val>
                                        </p:tav>
                                      </p:tavLst>
                                    </p:anim>
                                  </p:childTnLst>
                                </p:cTn>
                              </p:par>
                              <p:par>
                                <p:cTn id="36" presetID="2" presetClass="entr" presetSubtype="4" fill="hold" grpId="0" nodeType="withEffect">
                                  <p:stCondLst>
                                    <p:cond delay="1500"/>
                                  </p:stCondLst>
                                  <p:childTnLst>
                                    <p:set>
                                      <p:cBhvr>
                                        <p:cTn id="37" dur="1" fill="hold">
                                          <p:stCondLst>
                                            <p:cond delay="0"/>
                                          </p:stCondLst>
                                        </p:cTn>
                                        <p:tgtEl>
                                          <p:spTgt spid="49"/>
                                        </p:tgtEl>
                                        <p:attrNameLst>
                                          <p:attrName>style.visibility</p:attrName>
                                        </p:attrNameLst>
                                      </p:cBhvr>
                                      <p:to>
                                        <p:strVal val="visible"/>
                                      </p:to>
                                    </p:set>
                                    <p:anim calcmode="lin" valueType="num">
                                      <p:cBhvr additive="base">
                                        <p:cTn id="38" dur="500" fill="hold"/>
                                        <p:tgtEl>
                                          <p:spTgt spid="49"/>
                                        </p:tgtEl>
                                        <p:attrNameLst>
                                          <p:attrName>ppt_x</p:attrName>
                                        </p:attrNameLst>
                                      </p:cBhvr>
                                      <p:tavLst>
                                        <p:tav tm="0">
                                          <p:val>
                                            <p:strVal val="#ppt_x"/>
                                          </p:val>
                                        </p:tav>
                                        <p:tav tm="100000">
                                          <p:val>
                                            <p:strVal val="#ppt_x"/>
                                          </p:val>
                                        </p:tav>
                                      </p:tavLst>
                                    </p:anim>
                                    <p:anim calcmode="lin" valueType="num">
                                      <p:cBhvr additive="base">
                                        <p:cTn id="39" dur="500" fill="hold"/>
                                        <p:tgtEl>
                                          <p:spTgt spid="49"/>
                                        </p:tgtEl>
                                        <p:attrNameLst>
                                          <p:attrName>ppt_y</p:attrName>
                                        </p:attrNameLst>
                                      </p:cBhvr>
                                      <p:tavLst>
                                        <p:tav tm="0">
                                          <p:val>
                                            <p:strVal val="1+#ppt_h/2"/>
                                          </p:val>
                                        </p:tav>
                                        <p:tav tm="100000">
                                          <p:val>
                                            <p:strVal val="#ppt_y"/>
                                          </p:val>
                                        </p:tav>
                                      </p:tavLst>
                                    </p:anim>
                                  </p:childTnLst>
                                </p:cTn>
                              </p:par>
                              <p:par>
                                <p:cTn id="40" presetID="2" presetClass="entr" presetSubtype="1" fill="hold" grpId="0" nodeType="withEffect">
                                  <p:stCondLst>
                                    <p:cond delay="1500"/>
                                  </p:stCondLst>
                                  <p:childTnLst>
                                    <p:set>
                                      <p:cBhvr>
                                        <p:cTn id="41" dur="1" fill="hold">
                                          <p:stCondLst>
                                            <p:cond delay="0"/>
                                          </p:stCondLst>
                                        </p:cTn>
                                        <p:tgtEl>
                                          <p:spTgt spid="50"/>
                                        </p:tgtEl>
                                        <p:attrNameLst>
                                          <p:attrName>style.visibility</p:attrName>
                                        </p:attrNameLst>
                                      </p:cBhvr>
                                      <p:to>
                                        <p:strVal val="visible"/>
                                      </p:to>
                                    </p:set>
                                    <p:anim calcmode="lin" valueType="num">
                                      <p:cBhvr additive="base">
                                        <p:cTn id="42" dur="500" fill="hold"/>
                                        <p:tgtEl>
                                          <p:spTgt spid="50"/>
                                        </p:tgtEl>
                                        <p:attrNameLst>
                                          <p:attrName>ppt_x</p:attrName>
                                        </p:attrNameLst>
                                      </p:cBhvr>
                                      <p:tavLst>
                                        <p:tav tm="0">
                                          <p:val>
                                            <p:strVal val="#ppt_x"/>
                                          </p:val>
                                        </p:tav>
                                        <p:tav tm="100000">
                                          <p:val>
                                            <p:strVal val="#ppt_x"/>
                                          </p:val>
                                        </p:tav>
                                      </p:tavLst>
                                    </p:anim>
                                    <p:anim calcmode="lin" valueType="num">
                                      <p:cBhvr additive="base">
                                        <p:cTn id="43" dur="500" fill="hold"/>
                                        <p:tgtEl>
                                          <p:spTgt spid="50"/>
                                        </p:tgtEl>
                                        <p:attrNameLst>
                                          <p:attrName>ppt_y</p:attrName>
                                        </p:attrNameLst>
                                      </p:cBhvr>
                                      <p:tavLst>
                                        <p:tav tm="0">
                                          <p:val>
                                            <p:strVal val="0-#ppt_h/2"/>
                                          </p:val>
                                        </p:tav>
                                        <p:tav tm="100000">
                                          <p:val>
                                            <p:strVal val="#ppt_y"/>
                                          </p:val>
                                        </p:tav>
                                      </p:tavLst>
                                    </p:anim>
                                  </p:childTnLst>
                                </p:cTn>
                              </p:par>
                              <p:par>
                                <p:cTn id="44" presetID="2" presetClass="entr" presetSubtype="4" fill="hold" grpId="0" nodeType="withEffect">
                                  <p:stCondLst>
                                    <p:cond delay="2000"/>
                                  </p:stCondLst>
                                  <p:childTnLst>
                                    <p:set>
                                      <p:cBhvr>
                                        <p:cTn id="45" dur="1" fill="hold">
                                          <p:stCondLst>
                                            <p:cond delay="0"/>
                                          </p:stCondLst>
                                        </p:cTn>
                                        <p:tgtEl>
                                          <p:spTgt spid="51"/>
                                        </p:tgtEl>
                                        <p:attrNameLst>
                                          <p:attrName>style.visibility</p:attrName>
                                        </p:attrNameLst>
                                      </p:cBhvr>
                                      <p:to>
                                        <p:strVal val="visible"/>
                                      </p:to>
                                    </p:set>
                                    <p:anim calcmode="lin" valueType="num">
                                      <p:cBhvr additive="base">
                                        <p:cTn id="46" dur="500" fill="hold"/>
                                        <p:tgtEl>
                                          <p:spTgt spid="51"/>
                                        </p:tgtEl>
                                        <p:attrNameLst>
                                          <p:attrName>ppt_x</p:attrName>
                                        </p:attrNameLst>
                                      </p:cBhvr>
                                      <p:tavLst>
                                        <p:tav tm="0">
                                          <p:val>
                                            <p:strVal val="#ppt_x"/>
                                          </p:val>
                                        </p:tav>
                                        <p:tav tm="100000">
                                          <p:val>
                                            <p:strVal val="#ppt_x"/>
                                          </p:val>
                                        </p:tav>
                                      </p:tavLst>
                                    </p:anim>
                                    <p:anim calcmode="lin" valueType="num">
                                      <p:cBhvr additive="base">
                                        <p:cTn id="47" dur="500" fill="hold"/>
                                        <p:tgtEl>
                                          <p:spTgt spid="51"/>
                                        </p:tgtEl>
                                        <p:attrNameLst>
                                          <p:attrName>ppt_y</p:attrName>
                                        </p:attrNameLst>
                                      </p:cBhvr>
                                      <p:tavLst>
                                        <p:tav tm="0">
                                          <p:val>
                                            <p:strVal val="1+#ppt_h/2"/>
                                          </p:val>
                                        </p:tav>
                                        <p:tav tm="100000">
                                          <p:val>
                                            <p:strVal val="#ppt_y"/>
                                          </p:val>
                                        </p:tav>
                                      </p:tavLst>
                                    </p:anim>
                                  </p:childTnLst>
                                </p:cTn>
                              </p:par>
                              <p:par>
                                <p:cTn id="48" presetID="2" presetClass="entr" presetSubtype="1" fill="hold" grpId="0" nodeType="withEffect">
                                  <p:stCondLst>
                                    <p:cond delay="2000"/>
                                  </p:stCondLst>
                                  <p:childTnLst>
                                    <p:set>
                                      <p:cBhvr>
                                        <p:cTn id="49" dur="1" fill="hold">
                                          <p:stCondLst>
                                            <p:cond delay="0"/>
                                          </p:stCondLst>
                                        </p:cTn>
                                        <p:tgtEl>
                                          <p:spTgt spid="52"/>
                                        </p:tgtEl>
                                        <p:attrNameLst>
                                          <p:attrName>style.visibility</p:attrName>
                                        </p:attrNameLst>
                                      </p:cBhvr>
                                      <p:to>
                                        <p:strVal val="visible"/>
                                      </p:to>
                                    </p:set>
                                    <p:anim calcmode="lin" valueType="num">
                                      <p:cBhvr additive="base">
                                        <p:cTn id="50" dur="500" fill="hold"/>
                                        <p:tgtEl>
                                          <p:spTgt spid="52"/>
                                        </p:tgtEl>
                                        <p:attrNameLst>
                                          <p:attrName>ppt_x</p:attrName>
                                        </p:attrNameLst>
                                      </p:cBhvr>
                                      <p:tavLst>
                                        <p:tav tm="0">
                                          <p:val>
                                            <p:strVal val="#ppt_x"/>
                                          </p:val>
                                        </p:tav>
                                        <p:tav tm="100000">
                                          <p:val>
                                            <p:strVal val="#ppt_x"/>
                                          </p:val>
                                        </p:tav>
                                      </p:tavLst>
                                    </p:anim>
                                    <p:anim calcmode="lin" valueType="num">
                                      <p:cBhvr additive="base">
                                        <p:cTn id="51" dur="500" fill="hold"/>
                                        <p:tgtEl>
                                          <p:spTgt spid="52"/>
                                        </p:tgtEl>
                                        <p:attrNameLst>
                                          <p:attrName>ppt_y</p:attrName>
                                        </p:attrNameLst>
                                      </p:cBhvr>
                                      <p:tavLst>
                                        <p:tav tm="0">
                                          <p:val>
                                            <p:strVal val="0-#ppt_h/2"/>
                                          </p:val>
                                        </p:tav>
                                        <p:tav tm="100000">
                                          <p:val>
                                            <p:strVal val="#ppt_y"/>
                                          </p:val>
                                        </p:tav>
                                      </p:tavLst>
                                    </p:anim>
                                  </p:childTnLst>
                                </p:cTn>
                              </p:par>
                              <p:par>
                                <p:cTn id="52" presetID="42" presetClass="entr" presetSubtype="0" fill="hold" nodeType="withEffect">
                                  <p:stCondLst>
                                    <p:cond delay="2500"/>
                                  </p:stCondLst>
                                  <p:childTnLst>
                                    <p:set>
                                      <p:cBhvr>
                                        <p:cTn id="53" dur="1" fill="hold">
                                          <p:stCondLst>
                                            <p:cond delay="0"/>
                                          </p:stCondLst>
                                        </p:cTn>
                                        <p:tgtEl>
                                          <p:spTgt spid="53"/>
                                        </p:tgtEl>
                                        <p:attrNameLst>
                                          <p:attrName>style.visibility</p:attrName>
                                        </p:attrNameLst>
                                      </p:cBhvr>
                                      <p:to>
                                        <p:strVal val="visible"/>
                                      </p:to>
                                    </p:set>
                                    <p:animEffect transition="in" filter="fade">
                                      <p:cBhvr>
                                        <p:cTn id="54" dur="1000"/>
                                        <p:tgtEl>
                                          <p:spTgt spid="53"/>
                                        </p:tgtEl>
                                      </p:cBhvr>
                                    </p:animEffect>
                                    <p:anim calcmode="lin" valueType="num">
                                      <p:cBhvr>
                                        <p:cTn id="55" dur="1000" fill="hold"/>
                                        <p:tgtEl>
                                          <p:spTgt spid="53"/>
                                        </p:tgtEl>
                                        <p:attrNameLst>
                                          <p:attrName>ppt_x</p:attrName>
                                        </p:attrNameLst>
                                      </p:cBhvr>
                                      <p:tavLst>
                                        <p:tav tm="0">
                                          <p:val>
                                            <p:strVal val="#ppt_x"/>
                                          </p:val>
                                        </p:tav>
                                        <p:tav tm="100000">
                                          <p:val>
                                            <p:strVal val="#ppt_x"/>
                                          </p:val>
                                        </p:tav>
                                      </p:tavLst>
                                    </p:anim>
                                    <p:anim calcmode="lin" valueType="num">
                                      <p:cBhvr>
                                        <p:cTn id="56" dur="1000" fill="hold"/>
                                        <p:tgtEl>
                                          <p:spTgt spid="53"/>
                                        </p:tgtEl>
                                        <p:attrNameLst>
                                          <p:attrName>ppt_y</p:attrName>
                                        </p:attrNameLst>
                                      </p:cBhvr>
                                      <p:tavLst>
                                        <p:tav tm="0">
                                          <p:val>
                                            <p:strVal val="#ppt_y+.1"/>
                                          </p:val>
                                        </p:tav>
                                        <p:tav tm="100000">
                                          <p:val>
                                            <p:strVal val="#ppt_y"/>
                                          </p:val>
                                        </p:tav>
                                      </p:tavLst>
                                    </p:anim>
                                  </p:childTnLst>
                                </p:cTn>
                              </p:par>
                              <p:par>
                                <p:cTn id="57" presetID="42" presetClass="entr" presetSubtype="0" fill="hold" grpId="0" nodeType="withEffect">
                                  <p:stCondLst>
                                    <p:cond delay="2500"/>
                                  </p:stCondLst>
                                  <p:childTnLst>
                                    <p:set>
                                      <p:cBhvr>
                                        <p:cTn id="58" dur="1" fill="hold">
                                          <p:stCondLst>
                                            <p:cond delay="0"/>
                                          </p:stCondLst>
                                        </p:cTn>
                                        <p:tgtEl>
                                          <p:spTgt spid="58"/>
                                        </p:tgtEl>
                                        <p:attrNameLst>
                                          <p:attrName>style.visibility</p:attrName>
                                        </p:attrNameLst>
                                      </p:cBhvr>
                                      <p:to>
                                        <p:strVal val="visible"/>
                                      </p:to>
                                    </p:set>
                                    <p:animEffect transition="in" filter="fade">
                                      <p:cBhvr>
                                        <p:cTn id="59" dur="1000"/>
                                        <p:tgtEl>
                                          <p:spTgt spid="58"/>
                                        </p:tgtEl>
                                      </p:cBhvr>
                                    </p:animEffect>
                                    <p:anim calcmode="lin" valueType="num">
                                      <p:cBhvr>
                                        <p:cTn id="60" dur="1000" fill="hold"/>
                                        <p:tgtEl>
                                          <p:spTgt spid="58"/>
                                        </p:tgtEl>
                                        <p:attrNameLst>
                                          <p:attrName>ppt_x</p:attrName>
                                        </p:attrNameLst>
                                      </p:cBhvr>
                                      <p:tavLst>
                                        <p:tav tm="0">
                                          <p:val>
                                            <p:strVal val="#ppt_x"/>
                                          </p:val>
                                        </p:tav>
                                        <p:tav tm="100000">
                                          <p:val>
                                            <p:strVal val="#ppt_x"/>
                                          </p:val>
                                        </p:tav>
                                      </p:tavLst>
                                    </p:anim>
                                    <p:anim calcmode="lin" valueType="num">
                                      <p:cBhvr>
                                        <p:cTn id="61" dur="1000" fill="hold"/>
                                        <p:tgtEl>
                                          <p:spTgt spid="58"/>
                                        </p:tgtEl>
                                        <p:attrNameLst>
                                          <p:attrName>ppt_y</p:attrName>
                                        </p:attrNameLst>
                                      </p:cBhvr>
                                      <p:tavLst>
                                        <p:tav tm="0">
                                          <p:val>
                                            <p:strVal val="#ppt_y+.1"/>
                                          </p:val>
                                        </p:tav>
                                        <p:tav tm="100000">
                                          <p:val>
                                            <p:strVal val="#ppt_y"/>
                                          </p:val>
                                        </p:tav>
                                      </p:tavLst>
                                    </p:anim>
                                  </p:childTnLst>
                                </p:cTn>
                              </p:par>
                              <p:par>
                                <p:cTn id="62" presetID="42" presetClass="entr" presetSubtype="0" fill="hold" nodeType="withEffect">
                                  <p:stCondLst>
                                    <p:cond delay="2500"/>
                                  </p:stCondLst>
                                  <p:childTnLst>
                                    <p:set>
                                      <p:cBhvr>
                                        <p:cTn id="63" dur="1" fill="hold">
                                          <p:stCondLst>
                                            <p:cond delay="0"/>
                                          </p:stCondLst>
                                        </p:cTn>
                                        <p:tgtEl>
                                          <p:spTgt spid="59"/>
                                        </p:tgtEl>
                                        <p:attrNameLst>
                                          <p:attrName>style.visibility</p:attrName>
                                        </p:attrNameLst>
                                      </p:cBhvr>
                                      <p:to>
                                        <p:strVal val="visible"/>
                                      </p:to>
                                    </p:set>
                                    <p:animEffect transition="in" filter="fade">
                                      <p:cBhvr>
                                        <p:cTn id="64" dur="1000"/>
                                        <p:tgtEl>
                                          <p:spTgt spid="59"/>
                                        </p:tgtEl>
                                      </p:cBhvr>
                                    </p:animEffect>
                                    <p:anim calcmode="lin" valueType="num">
                                      <p:cBhvr>
                                        <p:cTn id="65" dur="1000" fill="hold"/>
                                        <p:tgtEl>
                                          <p:spTgt spid="59"/>
                                        </p:tgtEl>
                                        <p:attrNameLst>
                                          <p:attrName>ppt_x</p:attrName>
                                        </p:attrNameLst>
                                      </p:cBhvr>
                                      <p:tavLst>
                                        <p:tav tm="0">
                                          <p:val>
                                            <p:strVal val="#ppt_x"/>
                                          </p:val>
                                        </p:tav>
                                        <p:tav tm="100000">
                                          <p:val>
                                            <p:strVal val="#ppt_x"/>
                                          </p:val>
                                        </p:tav>
                                      </p:tavLst>
                                    </p:anim>
                                    <p:anim calcmode="lin" valueType="num">
                                      <p:cBhvr>
                                        <p:cTn id="66" dur="1000" fill="hold"/>
                                        <p:tgtEl>
                                          <p:spTgt spid="59"/>
                                        </p:tgtEl>
                                        <p:attrNameLst>
                                          <p:attrName>ppt_y</p:attrName>
                                        </p:attrNameLst>
                                      </p:cBhvr>
                                      <p:tavLst>
                                        <p:tav tm="0">
                                          <p:val>
                                            <p:strVal val="#ppt_y+.1"/>
                                          </p:val>
                                        </p:tav>
                                        <p:tav tm="100000">
                                          <p:val>
                                            <p:strVal val="#ppt_y"/>
                                          </p:val>
                                        </p:tav>
                                      </p:tavLst>
                                    </p:anim>
                                  </p:childTnLst>
                                </p:cTn>
                              </p:par>
                              <p:par>
                                <p:cTn id="67" presetID="42" presetClass="entr" presetSubtype="0" fill="hold" grpId="0" nodeType="withEffect">
                                  <p:stCondLst>
                                    <p:cond delay="2500"/>
                                  </p:stCondLst>
                                  <p:childTnLst>
                                    <p:set>
                                      <p:cBhvr>
                                        <p:cTn id="68" dur="1" fill="hold">
                                          <p:stCondLst>
                                            <p:cond delay="0"/>
                                          </p:stCondLst>
                                        </p:cTn>
                                        <p:tgtEl>
                                          <p:spTgt spid="62"/>
                                        </p:tgtEl>
                                        <p:attrNameLst>
                                          <p:attrName>style.visibility</p:attrName>
                                        </p:attrNameLst>
                                      </p:cBhvr>
                                      <p:to>
                                        <p:strVal val="visible"/>
                                      </p:to>
                                    </p:set>
                                    <p:animEffect transition="in" filter="fade">
                                      <p:cBhvr>
                                        <p:cTn id="69" dur="1000"/>
                                        <p:tgtEl>
                                          <p:spTgt spid="62"/>
                                        </p:tgtEl>
                                      </p:cBhvr>
                                    </p:animEffect>
                                    <p:anim calcmode="lin" valueType="num">
                                      <p:cBhvr>
                                        <p:cTn id="70" dur="1000" fill="hold"/>
                                        <p:tgtEl>
                                          <p:spTgt spid="62"/>
                                        </p:tgtEl>
                                        <p:attrNameLst>
                                          <p:attrName>ppt_x</p:attrName>
                                        </p:attrNameLst>
                                      </p:cBhvr>
                                      <p:tavLst>
                                        <p:tav tm="0">
                                          <p:val>
                                            <p:strVal val="#ppt_x"/>
                                          </p:val>
                                        </p:tav>
                                        <p:tav tm="100000">
                                          <p:val>
                                            <p:strVal val="#ppt_x"/>
                                          </p:val>
                                        </p:tav>
                                      </p:tavLst>
                                    </p:anim>
                                    <p:anim calcmode="lin" valueType="num">
                                      <p:cBhvr>
                                        <p:cTn id="71" dur="1000" fill="hold"/>
                                        <p:tgtEl>
                                          <p:spTgt spid="62"/>
                                        </p:tgtEl>
                                        <p:attrNameLst>
                                          <p:attrName>ppt_y</p:attrName>
                                        </p:attrNameLst>
                                      </p:cBhvr>
                                      <p:tavLst>
                                        <p:tav tm="0">
                                          <p:val>
                                            <p:strVal val="#ppt_y+.1"/>
                                          </p:val>
                                        </p:tav>
                                        <p:tav tm="100000">
                                          <p:val>
                                            <p:strVal val="#ppt_y"/>
                                          </p:val>
                                        </p:tav>
                                      </p:tavLst>
                                    </p:anim>
                                  </p:childTnLst>
                                </p:cTn>
                              </p:par>
                              <p:par>
                                <p:cTn id="72" presetID="42" presetClass="entr" presetSubtype="0" fill="hold" nodeType="withEffect">
                                  <p:stCondLst>
                                    <p:cond delay="2500"/>
                                  </p:stCondLst>
                                  <p:childTnLst>
                                    <p:set>
                                      <p:cBhvr>
                                        <p:cTn id="73" dur="1" fill="hold">
                                          <p:stCondLst>
                                            <p:cond delay="0"/>
                                          </p:stCondLst>
                                        </p:cTn>
                                        <p:tgtEl>
                                          <p:spTgt spid="63"/>
                                        </p:tgtEl>
                                        <p:attrNameLst>
                                          <p:attrName>style.visibility</p:attrName>
                                        </p:attrNameLst>
                                      </p:cBhvr>
                                      <p:to>
                                        <p:strVal val="visible"/>
                                      </p:to>
                                    </p:set>
                                    <p:animEffect transition="in" filter="fade">
                                      <p:cBhvr>
                                        <p:cTn id="74" dur="1000"/>
                                        <p:tgtEl>
                                          <p:spTgt spid="63"/>
                                        </p:tgtEl>
                                      </p:cBhvr>
                                    </p:animEffect>
                                    <p:anim calcmode="lin" valueType="num">
                                      <p:cBhvr>
                                        <p:cTn id="75" dur="1000" fill="hold"/>
                                        <p:tgtEl>
                                          <p:spTgt spid="63"/>
                                        </p:tgtEl>
                                        <p:attrNameLst>
                                          <p:attrName>ppt_x</p:attrName>
                                        </p:attrNameLst>
                                      </p:cBhvr>
                                      <p:tavLst>
                                        <p:tav tm="0">
                                          <p:val>
                                            <p:strVal val="#ppt_x"/>
                                          </p:val>
                                        </p:tav>
                                        <p:tav tm="100000">
                                          <p:val>
                                            <p:strVal val="#ppt_x"/>
                                          </p:val>
                                        </p:tav>
                                      </p:tavLst>
                                    </p:anim>
                                    <p:anim calcmode="lin" valueType="num">
                                      <p:cBhvr>
                                        <p:cTn id="76" dur="1000" fill="hold"/>
                                        <p:tgtEl>
                                          <p:spTgt spid="63"/>
                                        </p:tgtEl>
                                        <p:attrNameLst>
                                          <p:attrName>ppt_y</p:attrName>
                                        </p:attrNameLst>
                                      </p:cBhvr>
                                      <p:tavLst>
                                        <p:tav tm="0">
                                          <p:val>
                                            <p:strVal val="#ppt_y+.1"/>
                                          </p:val>
                                        </p:tav>
                                        <p:tav tm="100000">
                                          <p:val>
                                            <p:strVal val="#ppt_y"/>
                                          </p:val>
                                        </p:tav>
                                      </p:tavLst>
                                    </p:anim>
                                  </p:childTnLst>
                                </p:cTn>
                              </p:par>
                              <p:par>
                                <p:cTn id="77" presetID="22" presetClass="entr" presetSubtype="8" fill="hold" nodeType="withEffect">
                                  <p:stCondLst>
                                    <p:cond delay="3000"/>
                                  </p:stCondLst>
                                  <p:childTnLst>
                                    <p:set>
                                      <p:cBhvr>
                                        <p:cTn id="78" dur="1" fill="hold">
                                          <p:stCondLst>
                                            <p:cond delay="0"/>
                                          </p:stCondLst>
                                        </p:cTn>
                                        <p:tgtEl>
                                          <p:spTgt spid="18"/>
                                        </p:tgtEl>
                                        <p:attrNameLst>
                                          <p:attrName>style.visibility</p:attrName>
                                        </p:attrNameLst>
                                      </p:cBhvr>
                                      <p:to>
                                        <p:strVal val="visible"/>
                                      </p:to>
                                    </p:set>
                                    <p:animEffect transition="in" filter="wipe(left)">
                                      <p:cBhvr>
                                        <p:cTn id="79" dur="500"/>
                                        <p:tgtEl>
                                          <p:spTgt spid="18"/>
                                        </p:tgtEl>
                                      </p:cBhvr>
                                    </p:animEffect>
                                  </p:childTnLst>
                                </p:cTn>
                              </p:par>
                              <p:par>
                                <p:cTn id="80" presetID="10" presetClass="entr" presetSubtype="0" fill="hold" grpId="0" nodeType="withEffect">
                                  <p:stCondLst>
                                    <p:cond delay="2500"/>
                                  </p:stCondLst>
                                  <p:childTnLst>
                                    <p:set>
                                      <p:cBhvr>
                                        <p:cTn id="81" dur="1" fill="hold">
                                          <p:stCondLst>
                                            <p:cond delay="0"/>
                                          </p:stCondLst>
                                        </p:cTn>
                                        <p:tgtEl>
                                          <p:spTgt spid="19"/>
                                        </p:tgtEl>
                                        <p:attrNameLst>
                                          <p:attrName>style.visibility</p:attrName>
                                        </p:attrNameLst>
                                      </p:cBhvr>
                                      <p:to>
                                        <p:strVal val="visible"/>
                                      </p:to>
                                    </p:set>
                                    <p:animEffect transition="in" filter="fade">
                                      <p:cBhvr>
                                        <p:cTn id="82" dur="500"/>
                                        <p:tgtEl>
                                          <p:spTgt spid="19"/>
                                        </p:tgtEl>
                                      </p:cBhvr>
                                    </p:animEffect>
                                  </p:childTnLst>
                                </p:cTn>
                              </p:par>
                              <p:par>
                                <p:cTn id="83" presetID="42" presetClass="entr" presetSubtype="0" fill="hold" grpId="0" nodeType="withEffect">
                                  <p:stCondLst>
                                    <p:cond delay="2500"/>
                                  </p:stCondLst>
                                  <p:childTnLst>
                                    <p:set>
                                      <p:cBhvr>
                                        <p:cTn id="84" dur="1" fill="hold">
                                          <p:stCondLst>
                                            <p:cond delay="0"/>
                                          </p:stCondLst>
                                        </p:cTn>
                                        <p:tgtEl>
                                          <p:spTgt spid="20"/>
                                        </p:tgtEl>
                                        <p:attrNameLst>
                                          <p:attrName>style.visibility</p:attrName>
                                        </p:attrNameLst>
                                      </p:cBhvr>
                                      <p:to>
                                        <p:strVal val="visible"/>
                                      </p:to>
                                    </p:set>
                                    <p:animEffect transition="in" filter="fade">
                                      <p:cBhvr>
                                        <p:cTn id="85" dur="500"/>
                                        <p:tgtEl>
                                          <p:spTgt spid="20"/>
                                        </p:tgtEl>
                                      </p:cBhvr>
                                    </p:animEffect>
                                    <p:anim calcmode="lin" valueType="num">
                                      <p:cBhvr>
                                        <p:cTn id="86" dur="500" fill="hold"/>
                                        <p:tgtEl>
                                          <p:spTgt spid="20"/>
                                        </p:tgtEl>
                                        <p:attrNameLst>
                                          <p:attrName>ppt_x</p:attrName>
                                        </p:attrNameLst>
                                      </p:cBhvr>
                                      <p:tavLst>
                                        <p:tav tm="0">
                                          <p:val>
                                            <p:strVal val="#ppt_x"/>
                                          </p:val>
                                        </p:tav>
                                        <p:tav tm="100000">
                                          <p:val>
                                            <p:strVal val="#ppt_x"/>
                                          </p:val>
                                        </p:tav>
                                      </p:tavLst>
                                    </p:anim>
                                    <p:anim calcmode="lin" valueType="num">
                                      <p:cBhvr>
                                        <p:cTn id="87" dur="500" fill="hold"/>
                                        <p:tgtEl>
                                          <p:spTgt spid="20"/>
                                        </p:tgtEl>
                                        <p:attrNameLst>
                                          <p:attrName>ppt_y</p:attrName>
                                        </p:attrNameLst>
                                      </p:cBhvr>
                                      <p:tavLst>
                                        <p:tav tm="0">
                                          <p:val>
                                            <p:strVal val="#ppt_y+.1"/>
                                          </p:val>
                                        </p:tav>
                                        <p:tav tm="100000">
                                          <p:val>
                                            <p:strVal val="#ppt_y"/>
                                          </p:val>
                                        </p:tav>
                                      </p:tavLst>
                                    </p:anim>
                                  </p:childTnLst>
                                </p:cTn>
                              </p:par>
                              <p:par>
                                <p:cTn id="88" presetID="10" presetClass="entr" presetSubtype="0" fill="hold" grpId="0" nodeType="withEffect">
                                  <p:stCondLst>
                                    <p:cond delay="3000"/>
                                  </p:stCondLst>
                                  <p:childTnLst>
                                    <p:set>
                                      <p:cBhvr>
                                        <p:cTn id="89" dur="1" fill="hold">
                                          <p:stCondLst>
                                            <p:cond delay="0"/>
                                          </p:stCondLst>
                                        </p:cTn>
                                        <p:tgtEl>
                                          <p:spTgt spid="77"/>
                                        </p:tgtEl>
                                        <p:attrNameLst>
                                          <p:attrName>style.visibility</p:attrName>
                                        </p:attrNameLst>
                                      </p:cBhvr>
                                      <p:to>
                                        <p:strVal val="visible"/>
                                      </p:to>
                                    </p:set>
                                    <p:animEffect transition="in" filter="fade">
                                      <p:cBhvr>
                                        <p:cTn id="90" dur="500"/>
                                        <p:tgtEl>
                                          <p:spTgt spid="77"/>
                                        </p:tgtEl>
                                      </p:cBhvr>
                                    </p:animEffect>
                                  </p:childTnLst>
                                </p:cTn>
                              </p:par>
                              <p:par>
                                <p:cTn id="91" presetID="10" presetClass="entr" presetSubtype="0" fill="hold" grpId="0" nodeType="withEffect">
                                  <p:stCondLst>
                                    <p:cond delay="3500"/>
                                  </p:stCondLst>
                                  <p:childTnLst>
                                    <p:set>
                                      <p:cBhvr>
                                        <p:cTn id="92" dur="1" fill="hold">
                                          <p:stCondLst>
                                            <p:cond delay="0"/>
                                          </p:stCondLst>
                                        </p:cTn>
                                        <p:tgtEl>
                                          <p:spTgt spid="78"/>
                                        </p:tgtEl>
                                        <p:attrNameLst>
                                          <p:attrName>style.visibility</p:attrName>
                                        </p:attrNameLst>
                                      </p:cBhvr>
                                      <p:to>
                                        <p:strVal val="visible"/>
                                      </p:to>
                                    </p:set>
                                    <p:animEffect transition="in" filter="fade">
                                      <p:cBhvr>
                                        <p:cTn id="93" dur="500"/>
                                        <p:tgtEl>
                                          <p:spTgt spid="78"/>
                                        </p:tgtEl>
                                      </p:cBhvr>
                                    </p:animEffect>
                                  </p:childTnLst>
                                </p:cTn>
                              </p:par>
                              <p:par>
                                <p:cTn id="94" presetID="10" presetClass="entr" presetSubtype="0" fill="hold" grpId="0" nodeType="withEffect">
                                  <p:stCondLst>
                                    <p:cond delay="4000"/>
                                  </p:stCondLst>
                                  <p:childTnLst>
                                    <p:set>
                                      <p:cBhvr>
                                        <p:cTn id="95" dur="1" fill="hold">
                                          <p:stCondLst>
                                            <p:cond delay="0"/>
                                          </p:stCondLst>
                                        </p:cTn>
                                        <p:tgtEl>
                                          <p:spTgt spid="79"/>
                                        </p:tgtEl>
                                        <p:attrNameLst>
                                          <p:attrName>style.visibility</p:attrName>
                                        </p:attrNameLst>
                                      </p:cBhvr>
                                      <p:to>
                                        <p:strVal val="visible"/>
                                      </p:to>
                                    </p:set>
                                    <p:animEffect transition="in" filter="fade">
                                      <p:cBhvr>
                                        <p:cTn id="96" dur="500"/>
                                        <p:tgtEl>
                                          <p:spTgt spid="79"/>
                                        </p:tgtEl>
                                      </p:cBhvr>
                                    </p:animEffect>
                                  </p:childTnLst>
                                </p:cTn>
                              </p:par>
                              <p:par>
                                <p:cTn id="97" presetID="10" presetClass="entr" presetSubtype="0" fill="hold" grpId="0" nodeType="withEffect">
                                  <p:stCondLst>
                                    <p:cond delay="4500"/>
                                  </p:stCondLst>
                                  <p:childTnLst>
                                    <p:set>
                                      <p:cBhvr>
                                        <p:cTn id="98" dur="1" fill="hold">
                                          <p:stCondLst>
                                            <p:cond delay="0"/>
                                          </p:stCondLst>
                                        </p:cTn>
                                        <p:tgtEl>
                                          <p:spTgt spid="80"/>
                                        </p:tgtEl>
                                        <p:attrNameLst>
                                          <p:attrName>style.visibility</p:attrName>
                                        </p:attrNameLst>
                                      </p:cBhvr>
                                      <p:to>
                                        <p:strVal val="visible"/>
                                      </p:to>
                                    </p:set>
                                    <p:animEffect transition="in" filter="fade">
                                      <p:cBhvr>
                                        <p:cTn id="99" dur="500"/>
                                        <p:tgtEl>
                                          <p:spTgt spid="80"/>
                                        </p:tgtEl>
                                      </p:cBhvr>
                                    </p:animEffect>
                                  </p:childTnLst>
                                </p:cTn>
                              </p:par>
                              <p:par>
                                <p:cTn id="100" presetID="42" presetClass="entr" presetSubtype="0" fill="hold" grpId="0" nodeType="withEffect">
                                  <p:stCondLst>
                                    <p:cond delay="3000"/>
                                  </p:stCondLst>
                                  <p:childTnLst>
                                    <p:set>
                                      <p:cBhvr>
                                        <p:cTn id="101" dur="1" fill="hold">
                                          <p:stCondLst>
                                            <p:cond delay="0"/>
                                          </p:stCondLst>
                                        </p:cTn>
                                        <p:tgtEl>
                                          <p:spTgt spid="81"/>
                                        </p:tgtEl>
                                        <p:attrNameLst>
                                          <p:attrName>style.visibility</p:attrName>
                                        </p:attrNameLst>
                                      </p:cBhvr>
                                      <p:to>
                                        <p:strVal val="visible"/>
                                      </p:to>
                                    </p:set>
                                    <p:animEffect transition="in" filter="fade">
                                      <p:cBhvr>
                                        <p:cTn id="102" dur="500"/>
                                        <p:tgtEl>
                                          <p:spTgt spid="81"/>
                                        </p:tgtEl>
                                      </p:cBhvr>
                                    </p:animEffect>
                                    <p:anim calcmode="lin" valueType="num">
                                      <p:cBhvr>
                                        <p:cTn id="103" dur="500" fill="hold"/>
                                        <p:tgtEl>
                                          <p:spTgt spid="81"/>
                                        </p:tgtEl>
                                        <p:attrNameLst>
                                          <p:attrName>ppt_x</p:attrName>
                                        </p:attrNameLst>
                                      </p:cBhvr>
                                      <p:tavLst>
                                        <p:tav tm="0">
                                          <p:val>
                                            <p:strVal val="#ppt_x"/>
                                          </p:val>
                                        </p:tav>
                                        <p:tav tm="100000">
                                          <p:val>
                                            <p:strVal val="#ppt_x"/>
                                          </p:val>
                                        </p:tav>
                                      </p:tavLst>
                                    </p:anim>
                                    <p:anim calcmode="lin" valueType="num">
                                      <p:cBhvr>
                                        <p:cTn id="104" dur="500" fill="hold"/>
                                        <p:tgtEl>
                                          <p:spTgt spid="81"/>
                                        </p:tgtEl>
                                        <p:attrNameLst>
                                          <p:attrName>ppt_y</p:attrName>
                                        </p:attrNameLst>
                                      </p:cBhvr>
                                      <p:tavLst>
                                        <p:tav tm="0">
                                          <p:val>
                                            <p:strVal val="#ppt_y+.1"/>
                                          </p:val>
                                        </p:tav>
                                        <p:tav tm="100000">
                                          <p:val>
                                            <p:strVal val="#ppt_y"/>
                                          </p:val>
                                        </p:tav>
                                      </p:tavLst>
                                    </p:anim>
                                  </p:childTnLst>
                                </p:cTn>
                              </p:par>
                              <p:par>
                                <p:cTn id="105" presetID="42" presetClass="entr" presetSubtype="0" fill="hold" grpId="0" nodeType="withEffect">
                                  <p:stCondLst>
                                    <p:cond delay="3500"/>
                                  </p:stCondLst>
                                  <p:childTnLst>
                                    <p:set>
                                      <p:cBhvr>
                                        <p:cTn id="106" dur="1" fill="hold">
                                          <p:stCondLst>
                                            <p:cond delay="0"/>
                                          </p:stCondLst>
                                        </p:cTn>
                                        <p:tgtEl>
                                          <p:spTgt spid="82"/>
                                        </p:tgtEl>
                                        <p:attrNameLst>
                                          <p:attrName>style.visibility</p:attrName>
                                        </p:attrNameLst>
                                      </p:cBhvr>
                                      <p:to>
                                        <p:strVal val="visible"/>
                                      </p:to>
                                    </p:set>
                                    <p:animEffect transition="in" filter="fade">
                                      <p:cBhvr>
                                        <p:cTn id="107" dur="500"/>
                                        <p:tgtEl>
                                          <p:spTgt spid="82"/>
                                        </p:tgtEl>
                                      </p:cBhvr>
                                    </p:animEffect>
                                    <p:anim calcmode="lin" valueType="num">
                                      <p:cBhvr>
                                        <p:cTn id="108" dur="500" fill="hold"/>
                                        <p:tgtEl>
                                          <p:spTgt spid="82"/>
                                        </p:tgtEl>
                                        <p:attrNameLst>
                                          <p:attrName>ppt_x</p:attrName>
                                        </p:attrNameLst>
                                      </p:cBhvr>
                                      <p:tavLst>
                                        <p:tav tm="0">
                                          <p:val>
                                            <p:strVal val="#ppt_x"/>
                                          </p:val>
                                        </p:tav>
                                        <p:tav tm="100000">
                                          <p:val>
                                            <p:strVal val="#ppt_x"/>
                                          </p:val>
                                        </p:tav>
                                      </p:tavLst>
                                    </p:anim>
                                    <p:anim calcmode="lin" valueType="num">
                                      <p:cBhvr>
                                        <p:cTn id="109" dur="500" fill="hold"/>
                                        <p:tgtEl>
                                          <p:spTgt spid="82"/>
                                        </p:tgtEl>
                                        <p:attrNameLst>
                                          <p:attrName>ppt_y</p:attrName>
                                        </p:attrNameLst>
                                      </p:cBhvr>
                                      <p:tavLst>
                                        <p:tav tm="0">
                                          <p:val>
                                            <p:strVal val="#ppt_y+.1"/>
                                          </p:val>
                                        </p:tav>
                                        <p:tav tm="100000">
                                          <p:val>
                                            <p:strVal val="#ppt_y"/>
                                          </p:val>
                                        </p:tav>
                                      </p:tavLst>
                                    </p:anim>
                                  </p:childTnLst>
                                </p:cTn>
                              </p:par>
                              <p:par>
                                <p:cTn id="110" presetID="42" presetClass="entr" presetSubtype="0" fill="hold" grpId="0" nodeType="withEffect">
                                  <p:stCondLst>
                                    <p:cond delay="4000"/>
                                  </p:stCondLst>
                                  <p:childTnLst>
                                    <p:set>
                                      <p:cBhvr>
                                        <p:cTn id="111" dur="1" fill="hold">
                                          <p:stCondLst>
                                            <p:cond delay="0"/>
                                          </p:stCondLst>
                                        </p:cTn>
                                        <p:tgtEl>
                                          <p:spTgt spid="83"/>
                                        </p:tgtEl>
                                        <p:attrNameLst>
                                          <p:attrName>style.visibility</p:attrName>
                                        </p:attrNameLst>
                                      </p:cBhvr>
                                      <p:to>
                                        <p:strVal val="visible"/>
                                      </p:to>
                                    </p:set>
                                    <p:animEffect transition="in" filter="fade">
                                      <p:cBhvr>
                                        <p:cTn id="112" dur="500"/>
                                        <p:tgtEl>
                                          <p:spTgt spid="83"/>
                                        </p:tgtEl>
                                      </p:cBhvr>
                                    </p:animEffect>
                                    <p:anim calcmode="lin" valueType="num">
                                      <p:cBhvr>
                                        <p:cTn id="113" dur="500" fill="hold"/>
                                        <p:tgtEl>
                                          <p:spTgt spid="83"/>
                                        </p:tgtEl>
                                        <p:attrNameLst>
                                          <p:attrName>ppt_x</p:attrName>
                                        </p:attrNameLst>
                                      </p:cBhvr>
                                      <p:tavLst>
                                        <p:tav tm="0">
                                          <p:val>
                                            <p:strVal val="#ppt_x"/>
                                          </p:val>
                                        </p:tav>
                                        <p:tav tm="100000">
                                          <p:val>
                                            <p:strVal val="#ppt_x"/>
                                          </p:val>
                                        </p:tav>
                                      </p:tavLst>
                                    </p:anim>
                                    <p:anim calcmode="lin" valueType="num">
                                      <p:cBhvr>
                                        <p:cTn id="114" dur="500" fill="hold"/>
                                        <p:tgtEl>
                                          <p:spTgt spid="83"/>
                                        </p:tgtEl>
                                        <p:attrNameLst>
                                          <p:attrName>ppt_y</p:attrName>
                                        </p:attrNameLst>
                                      </p:cBhvr>
                                      <p:tavLst>
                                        <p:tav tm="0">
                                          <p:val>
                                            <p:strVal val="#ppt_y+.1"/>
                                          </p:val>
                                        </p:tav>
                                        <p:tav tm="100000">
                                          <p:val>
                                            <p:strVal val="#ppt_y"/>
                                          </p:val>
                                        </p:tav>
                                      </p:tavLst>
                                    </p:anim>
                                  </p:childTnLst>
                                </p:cTn>
                              </p:par>
                              <p:par>
                                <p:cTn id="115" presetID="42" presetClass="entr" presetSubtype="0" fill="hold" grpId="0" nodeType="withEffect">
                                  <p:stCondLst>
                                    <p:cond delay="4500"/>
                                  </p:stCondLst>
                                  <p:childTnLst>
                                    <p:set>
                                      <p:cBhvr>
                                        <p:cTn id="116" dur="1" fill="hold">
                                          <p:stCondLst>
                                            <p:cond delay="0"/>
                                          </p:stCondLst>
                                        </p:cTn>
                                        <p:tgtEl>
                                          <p:spTgt spid="84"/>
                                        </p:tgtEl>
                                        <p:attrNameLst>
                                          <p:attrName>style.visibility</p:attrName>
                                        </p:attrNameLst>
                                      </p:cBhvr>
                                      <p:to>
                                        <p:strVal val="visible"/>
                                      </p:to>
                                    </p:set>
                                    <p:animEffect transition="in" filter="fade">
                                      <p:cBhvr>
                                        <p:cTn id="117" dur="500"/>
                                        <p:tgtEl>
                                          <p:spTgt spid="84"/>
                                        </p:tgtEl>
                                      </p:cBhvr>
                                    </p:animEffect>
                                    <p:anim calcmode="lin" valueType="num">
                                      <p:cBhvr>
                                        <p:cTn id="118" dur="500" fill="hold"/>
                                        <p:tgtEl>
                                          <p:spTgt spid="84"/>
                                        </p:tgtEl>
                                        <p:attrNameLst>
                                          <p:attrName>ppt_x</p:attrName>
                                        </p:attrNameLst>
                                      </p:cBhvr>
                                      <p:tavLst>
                                        <p:tav tm="0">
                                          <p:val>
                                            <p:strVal val="#ppt_x"/>
                                          </p:val>
                                        </p:tav>
                                        <p:tav tm="100000">
                                          <p:val>
                                            <p:strVal val="#ppt_x"/>
                                          </p:val>
                                        </p:tav>
                                      </p:tavLst>
                                    </p:anim>
                                    <p:anim calcmode="lin" valueType="num">
                                      <p:cBhvr>
                                        <p:cTn id="119" dur="500" fill="hold"/>
                                        <p:tgtEl>
                                          <p:spTgt spid="8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33" grpId="0" animBg="1"/>
      <p:bldP spid="43" grpId="0" animBg="1"/>
      <p:bldP spid="44" grpId="0" animBg="1"/>
      <p:bldP spid="45" grpId="0" animBg="1"/>
      <p:bldP spid="48" grpId="0" animBg="1"/>
      <p:bldP spid="49" grpId="0" animBg="1"/>
      <p:bldP spid="50" grpId="0" animBg="1"/>
      <p:bldP spid="51" grpId="0" animBg="1"/>
      <p:bldP spid="52" grpId="0" animBg="1"/>
      <p:bldP spid="58" grpId="0" animBg="1"/>
      <p:bldP spid="62" grpId="0" animBg="1"/>
      <p:bldP spid="19" grpId="0" animBg="1"/>
      <p:bldP spid="77" grpId="0" animBg="1"/>
      <p:bldP spid="78" grpId="0" animBg="1"/>
      <p:bldP spid="79" grpId="0" animBg="1"/>
      <p:bldP spid="80" grpId="0" animBg="1"/>
      <p:bldP spid="20" grpId="0"/>
      <p:bldP spid="81" grpId="0"/>
      <p:bldP spid="82" grpId="0"/>
      <p:bldP spid="83" grpId="0"/>
      <p:bldP spid="84" grpId="0"/>
      <p:bldP spid="71" grpId="0" animBg="1"/>
      <p:bldP spid="72"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矩形 33" hidden="1"/>
          <p:cNvSpPr/>
          <p:nvPr/>
        </p:nvSpPr>
        <p:spPr>
          <a:xfrm>
            <a:off x="2584817" y="2133288"/>
            <a:ext cx="936104" cy="6551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smtClean="0">
                <a:solidFill>
                  <a:srgbClr val="B0F533"/>
                </a:solidFill>
                <a:latin typeface="Gill Sans MT Pro Light" pitchFamily="34" charset="0"/>
              </a:rPr>
              <a:t>1</a:t>
            </a:r>
            <a:endParaRPr lang="zh-CN" altLang="en-US" sz="3600">
              <a:solidFill>
                <a:srgbClr val="B0F533"/>
              </a:solidFill>
              <a:latin typeface="Gill Sans MT Pro Light" pitchFamily="34" charset="0"/>
            </a:endParaRPr>
          </a:p>
        </p:txBody>
      </p:sp>
      <p:sp>
        <p:nvSpPr>
          <p:cNvPr id="35" name="矩形 34" hidden="1"/>
          <p:cNvSpPr/>
          <p:nvPr/>
        </p:nvSpPr>
        <p:spPr>
          <a:xfrm>
            <a:off x="3621305" y="2133288"/>
            <a:ext cx="5984291" cy="655104"/>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smtClean="0">
                <a:latin typeface="华文黑体" pitchFamily="2" charset="-122"/>
                <a:ea typeface="华文黑体" pitchFamily="2" charset="-122"/>
                <a:cs typeface="华文黑体" pitchFamily="2" charset="-122"/>
              </a:rPr>
              <a:t>                     点击添加标题</a:t>
            </a:r>
            <a:endParaRPr lang="zh-CN" altLang="en-US" sz="2800">
              <a:latin typeface="华文黑体" pitchFamily="2" charset="-122"/>
              <a:ea typeface="华文黑体" pitchFamily="2" charset="-122"/>
              <a:cs typeface="华文黑体" pitchFamily="2" charset="-122"/>
            </a:endParaRPr>
          </a:p>
        </p:txBody>
      </p:sp>
      <p:sp>
        <p:nvSpPr>
          <p:cNvPr id="2" name="椭圆 1"/>
          <p:cNvSpPr/>
          <p:nvPr/>
        </p:nvSpPr>
        <p:spPr>
          <a:xfrm>
            <a:off x="1558702" y="2204864"/>
            <a:ext cx="1800200" cy="1800200"/>
          </a:xfrm>
          <a:prstGeom prst="ellipse">
            <a:avLst/>
          </a:prstGeom>
          <a:no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smtClean="0">
                <a:solidFill>
                  <a:srgbClr val="FF781D"/>
                </a:solidFill>
                <a:latin typeface="HelveticaNeueLT Pro 35 Th" pitchFamily="34" charset="0"/>
              </a:rPr>
              <a:t>75%</a:t>
            </a:r>
            <a:endParaRPr lang="zh-CN" altLang="en-US" sz="3600">
              <a:solidFill>
                <a:srgbClr val="FF781D"/>
              </a:solidFill>
              <a:latin typeface="HelveticaNeueLT Pro 35 Th" pitchFamily="34" charset="0"/>
            </a:endParaRPr>
          </a:p>
        </p:txBody>
      </p:sp>
      <p:sp>
        <p:nvSpPr>
          <p:cNvPr id="70" name="椭圆 69"/>
          <p:cNvSpPr/>
          <p:nvPr/>
        </p:nvSpPr>
        <p:spPr>
          <a:xfrm>
            <a:off x="3982971" y="2204864"/>
            <a:ext cx="1800200" cy="1800200"/>
          </a:xfrm>
          <a:prstGeom prst="ellipse">
            <a:avLst/>
          </a:prstGeom>
          <a:no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US" altLang="zh-CN" sz="3600" smtClean="0">
                <a:solidFill>
                  <a:prstClr val="white"/>
                </a:solidFill>
                <a:latin typeface="HelveticaNeueLT Pro 35 Th" pitchFamily="34" charset="0"/>
              </a:rPr>
              <a:t>50%</a:t>
            </a:r>
            <a:endParaRPr lang="zh-CN" altLang="en-US" sz="3600">
              <a:solidFill>
                <a:prstClr val="white"/>
              </a:solidFill>
              <a:latin typeface="HelveticaNeueLT Pro 35 Th" pitchFamily="34" charset="0"/>
            </a:endParaRPr>
          </a:p>
        </p:txBody>
      </p:sp>
      <p:sp>
        <p:nvSpPr>
          <p:cNvPr id="72" name="椭圆 71"/>
          <p:cNvSpPr/>
          <p:nvPr/>
        </p:nvSpPr>
        <p:spPr>
          <a:xfrm>
            <a:off x="6407240" y="2204864"/>
            <a:ext cx="1800200" cy="1800200"/>
          </a:xfrm>
          <a:prstGeom prst="ellipse">
            <a:avLst/>
          </a:prstGeom>
          <a:no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US" altLang="zh-CN" sz="3600" smtClean="0">
                <a:solidFill>
                  <a:prstClr val="white"/>
                </a:solidFill>
                <a:latin typeface="HelveticaNeueLT Pro 35 Th" pitchFamily="34" charset="0"/>
              </a:rPr>
              <a:t>25%</a:t>
            </a:r>
            <a:endParaRPr lang="zh-CN" altLang="en-US" sz="3600">
              <a:solidFill>
                <a:prstClr val="white"/>
              </a:solidFill>
              <a:latin typeface="HelveticaNeueLT Pro 35 Th" pitchFamily="34" charset="0"/>
            </a:endParaRPr>
          </a:p>
        </p:txBody>
      </p:sp>
      <p:sp>
        <p:nvSpPr>
          <p:cNvPr id="85" name="椭圆 84"/>
          <p:cNvSpPr/>
          <p:nvPr/>
        </p:nvSpPr>
        <p:spPr>
          <a:xfrm>
            <a:off x="8831510" y="2204864"/>
            <a:ext cx="1800200" cy="1800200"/>
          </a:xfrm>
          <a:prstGeom prst="ellipse">
            <a:avLst/>
          </a:prstGeom>
          <a:no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US" altLang="zh-CN" sz="3600" smtClean="0">
                <a:solidFill>
                  <a:prstClr val="white"/>
                </a:solidFill>
                <a:latin typeface="HelveticaNeueLT Pro 35 Th" pitchFamily="34" charset="0"/>
              </a:rPr>
              <a:t>10%</a:t>
            </a:r>
            <a:endParaRPr lang="zh-CN" altLang="en-US" sz="3600">
              <a:solidFill>
                <a:prstClr val="white"/>
              </a:solidFill>
              <a:latin typeface="HelveticaNeueLT Pro 35 Th" pitchFamily="34" charset="0"/>
            </a:endParaRPr>
          </a:p>
        </p:txBody>
      </p:sp>
      <p:sp>
        <p:nvSpPr>
          <p:cNvPr id="86" name="椭圆 85"/>
          <p:cNvSpPr/>
          <p:nvPr/>
        </p:nvSpPr>
        <p:spPr>
          <a:xfrm>
            <a:off x="1558702" y="2203748"/>
            <a:ext cx="1800200" cy="1800200"/>
          </a:xfrm>
          <a:custGeom>
            <a:avLst/>
            <a:gdLst>
              <a:gd name="connsiteX0" fmla="*/ 0 w 1800200"/>
              <a:gd name="connsiteY0" fmla="*/ 900100 h 1800200"/>
              <a:gd name="connsiteX1" fmla="*/ 900100 w 1800200"/>
              <a:gd name="connsiteY1" fmla="*/ 0 h 1800200"/>
              <a:gd name="connsiteX2" fmla="*/ 1800200 w 1800200"/>
              <a:gd name="connsiteY2" fmla="*/ 900100 h 1800200"/>
              <a:gd name="connsiteX3" fmla="*/ 900100 w 1800200"/>
              <a:gd name="connsiteY3" fmla="*/ 1800200 h 1800200"/>
              <a:gd name="connsiteX4" fmla="*/ 0 w 1800200"/>
              <a:gd name="connsiteY4" fmla="*/ 900100 h 1800200"/>
              <a:gd name="connsiteX0-1" fmla="*/ 900100 w 1800200"/>
              <a:gd name="connsiteY0-2" fmla="*/ 0 h 1800200"/>
              <a:gd name="connsiteX1-3" fmla="*/ 1800200 w 1800200"/>
              <a:gd name="connsiteY1-4" fmla="*/ 900100 h 1800200"/>
              <a:gd name="connsiteX2-5" fmla="*/ 900100 w 1800200"/>
              <a:gd name="connsiteY2-6" fmla="*/ 1800200 h 1800200"/>
              <a:gd name="connsiteX3-7" fmla="*/ 0 w 1800200"/>
              <a:gd name="connsiteY3-8" fmla="*/ 900100 h 1800200"/>
              <a:gd name="connsiteX4-9" fmla="*/ 991540 w 1800200"/>
              <a:gd name="connsiteY4-10" fmla="*/ 91440 h 1800200"/>
              <a:gd name="connsiteX0-11" fmla="*/ 900100 w 1800200"/>
              <a:gd name="connsiteY0-12" fmla="*/ 0 h 1800200"/>
              <a:gd name="connsiteX1-13" fmla="*/ 1800200 w 1800200"/>
              <a:gd name="connsiteY1-14" fmla="*/ 900100 h 1800200"/>
              <a:gd name="connsiteX2-15" fmla="*/ 900100 w 1800200"/>
              <a:gd name="connsiteY2-16" fmla="*/ 1800200 h 1800200"/>
              <a:gd name="connsiteX3-17" fmla="*/ 0 w 1800200"/>
              <a:gd name="connsiteY3-18" fmla="*/ 900100 h 1800200"/>
            </a:gdLst>
            <a:ahLst/>
            <a:cxnLst>
              <a:cxn ang="0">
                <a:pos x="connsiteX0-1" y="connsiteY0-2"/>
              </a:cxn>
              <a:cxn ang="0">
                <a:pos x="connsiteX1-3" y="connsiteY1-4"/>
              </a:cxn>
              <a:cxn ang="0">
                <a:pos x="connsiteX2-5" y="connsiteY2-6"/>
              </a:cxn>
              <a:cxn ang="0">
                <a:pos x="connsiteX3-7" y="connsiteY3-8"/>
              </a:cxn>
            </a:cxnLst>
            <a:rect l="l" t="t" r="r" b="b"/>
            <a:pathLst>
              <a:path w="1800200" h="1800200">
                <a:moveTo>
                  <a:pt x="900100" y="0"/>
                </a:moveTo>
                <a:cubicBezTo>
                  <a:pt x="1397212" y="0"/>
                  <a:pt x="1800200" y="402988"/>
                  <a:pt x="1800200" y="900100"/>
                </a:cubicBezTo>
                <a:cubicBezTo>
                  <a:pt x="1800200" y="1397212"/>
                  <a:pt x="1397212" y="1800200"/>
                  <a:pt x="900100" y="1800200"/>
                </a:cubicBezTo>
                <a:cubicBezTo>
                  <a:pt x="402988" y="1800200"/>
                  <a:pt x="0" y="1397212"/>
                  <a:pt x="0" y="900100"/>
                </a:cubicBezTo>
              </a:path>
            </a:pathLst>
          </a:custGeom>
          <a:noFill/>
          <a:ln w="57150">
            <a:solidFill>
              <a:srgbClr val="FF781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7" name="椭圆 85"/>
          <p:cNvSpPr/>
          <p:nvPr/>
        </p:nvSpPr>
        <p:spPr>
          <a:xfrm>
            <a:off x="4883071" y="2203748"/>
            <a:ext cx="900100" cy="1800200"/>
          </a:xfrm>
          <a:custGeom>
            <a:avLst/>
            <a:gdLst>
              <a:gd name="connsiteX0" fmla="*/ 0 w 1800200"/>
              <a:gd name="connsiteY0" fmla="*/ 900100 h 1800200"/>
              <a:gd name="connsiteX1" fmla="*/ 900100 w 1800200"/>
              <a:gd name="connsiteY1" fmla="*/ 0 h 1800200"/>
              <a:gd name="connsiteX2" fmla="*/ 1800200 w 1800200"/>
              <a:gd name="connsiteY2" fmla="*/ 900100 h 1800200"/>
              <a:gd name="connsiteX3" fmla="*/ 900100 w 1800200"/>
              <a:gd name="connsiteY3" fmla="*/ 1800200 h 1800200"/>
              <a:gd name="connsiteX4" fmla="*/ 0 w 1800200"/>
              <a:gd name="connsiteY4" fmla="*/ 900100 h 1800200"/>
              <a:gd name="connsiteX0-1" fmla="*/ 900100 w 1800200"/>
              <a:gd name="connsiteY0-2" fmla="*/ 0 h 1800200"/>
              <a:gd name="connsiteX1-3" fmla="*/ 1800200 w 1800200"/>
              <a:gd name="connsiteY1-4" fmla="*/ 900100 h 1800200"/>
              <a:gd name="connsiteX2-5" fmla="*/ 900100 w 1800200"/>
              <a:gd name="connsiteY2-6" fmla="*/ 1800200 h 1800200"/>
              <a:gd name="connsiteX3-7" fmla="*/ 0 w 1800200"/>
              <a:gd name="connsiteY3-8" fmla="*/ 900100 h 1800200"/>
              <a:gd name="connsiteX4-9" fmla="*/ 991540 w 1800200"/>
              <a:gd name="connsiteY4-10" fmla="*/ 91440 h 1800200"/>
              <a:gd name="connsiteX0-11" fmla="*/ 900100 w 1800200"/>
              <a:gd name="connsiteY0-12" fmla="*/ 0 h 1800200"/>
              <a:gd name="connsiteX1-13" fmla="*/ 1800200 w 1800200"/>
              <a:gd name="connsiteY1-14" fmla="*/ 900100 h 1800200"/>
              <a:gd name="connsiteX2-15" fmla="*/ 900100 w 1800200"/>
              <a:gd name="connsiteY2-16" fmla="*/ 1800200 h 1800200"/>
              <a:gd name="connsiteX3-17" fmla="*/ 0 w 1800200"/>
              <a:gd name="connsiteY3-18" fmla="*/ 900100 h 1800200"/>
              <a:gd name="connsiteX0-19" fmla="*/ 0 w 900100"/>
              <a:gd name="connsiteY0-20" fmla="*/ 0 h 1800200"/>
              <a:gd name="connsiteX1-21" fmla="*/ 900100 w 900100"/>
              <a:gd name="connsiteY1-22" fmla="*/ 900100 h 1800200"/>
              <a:gd name="connsiteX2-23" fmla="*/ 0 w 900100"/>
              <a:gd name="connsiteY2-24" fmla="*/ 1800200 h 1800200"/>
            </a:gdLst>
            <a:ahLst/>
            <a:cxnLst>
              <a:cxn ang="0">
                <a:pos x="connsiteX0-1" y="connsiteY0-2"/>
              </a:cxn>
              <a:cxn ang="0">
                <a:pos x="connsiteX1-3" y="connsiteY1-4"/>
              </a:cxn>
              <a:cxn ang="0">
                <a:pos x="connsiteX2-5" y="connsiteY2-6"/>
              </a:cxn>
            </a:cxnLst>
            <a:rect l="l" t="t" r="r" b="b"/>
            <a:pathLst>
              <a:path w="900100" h="1800200">
                <a:moveTo>
                  <a:pt x="0" y="0"/>
                </a:moveTo>
                <a:cubicBezTo>
                  <a:pt x="497112" y="0"/>
                  <a:pt x="900100" y="402988"/>
                  <a:pt x="900100" y="900100"/>
                </a:cubicBezTo>
                <a:cubicBezTo>
                  <a:pt x="900100" y="1397212"/>
                  <a:pt x="497112" y="1800200"/>
                  <a:pt x="0" y="1800200"/>
                </a:cubicBezTo>
              </a:path>
            </a:pathLst>
          </a:custGeom>
          <a:no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8" name="椭圆 85"/>
          <p:cNvSpPr/>
          <p:nvPr/>
        </p:nvSpPr>
        <p:spPr>
          <a:xfrm>
            <a:off x="7307340" y="2203748"/>
            <a:ext cx="900100" cy="900100"/>
          </a:xfrm>
          <a:custGeom>
            <a:avLst/>
            <a:gdLst>
              <a:gd name="connsiteX0" fmla="*/ 0 w 1800200"/>
              <a:gd name="connsiteY0" fmla="*/ 900100 h 1800200"/>
              <a:gd name="connsiteX1" fmla="*/ 900100 w 1800200"/>
              <a:gd name="connsiteY1" fmla="*/ 0 h 1800200"/>
              <a:gd name="connsiteX2" fmla="*/ 1800200 w 1800200"/>
              <a:gd name="connsiteY2" fmla="*/ 900100 h 1800200"/>
              <a:gd name="connsiteX3" fmla="*/ 900100 w 1800200"/>
              <a:gd name="connsiteY3" fmla="*/ 1800200 h 1800200"/>
              <a:gd name="connsiteX4" fmla="*/ 0 w 1800200"/>
              <a:gd name="connsiteY4" fmla="*/ 900100 h 1800200"/>
              <a:gd name="connsiteX0-1" fmla="*/ 900100 w 1800200"/>
              <a:gd name="connsiteY0-2" fmla="*/ 0 h 1800200"/>
              <a:gd name="connsiteX1-3" fmla="*/ 1800200 w 1800200"/>
              <a:gd name="connsiteY1-4" fmla="*/ 900100 h 1800200"/>
              <a:gd name="connsiteX2-5" fmla="*/ 900100 w 1800200"/>
              <a:gd name="connsiteY2-6" fmla="*/ 1800200 h 1800200"/>
              <a:gd name="connsiteX3-7" fmla="*/ 0 w 1800200"/>
              <a:gd name="connsiteY3-8" fmla="*/ 900100 h 1800200"/>
              <a:gd name="connsiteX4-9" fmla="*/ 991540 w 1800200"/>
              <a:gd name="connsiteY4-10" fmla="*/ 91440 h 1800200"/>
              <a:gd name="connsiteX0-11" fmla="*/ 900100 w 1800200"/>
              <a:gd name="connsiteY0-12" fmla="*/ 0 h 1800200"/>
              <a:gd name="connsiteX1-13" fmla="*/ 1800200 w 1800200"/>
              <a:gd name="connsiteY1-14" fmla="*/ 900100 h 1800200"/>
              <a:gd name="connsiteX2-15" fmla="*/ 900100 w 1800200"/>
              <a:gd name="connsiteY2-16" fmla="*/ 1800200 h 1800200"/>
              <a:gd name="connsiteX3-17" fmla="*/ 0 w 1800200"/>
              <a:gd name="connsiteY3-18" fmla="*/ 900100 h 1800200"/>
              <a:gd name="connsiteX0-19" fmla="*/ 0 w 900100"/>
              <a:gd name="connsiteY0-20" fmla="*/ 0 h 1800200"/>
              <a:gd name="connsiteX1-21" fmla="*/ 900100 w 900100"/>
              <a:gd name="connsiteY1-22" fmla="*/ 900100 h 1800200"/>
              <a:gd name="connsiteX2-23" fmla="*/ 0 w 900100"/>
              <a:gd name="connsiteY2-24" fmla="*/ 1800200 h 1800200"/>
              <a:gd name="connsiteX0-25" fmla="*/ 0 w 900100"/>
              <a:gd name="connsiteY0-26" fmla="*/ 0 h 900100"/>
              <a:gd name="connsiteX1-27" fmla="*/ 900100 w 900100"/>
              <a:gd name="connsiteY1-28" fmla="*/ 900100 h 900100"/>
            </a:gdLst>
            <a:ahLst/>
            <a:cxnLst>
              <a:cxn ang="0">
                <a:pos x="connsiteX0-1" y="connsiteY0-2"/>
              </a:cxn>
              <a:cxn ang="0">
                <a:pos x="connsiteX1-3" y="connsiteY1-4"/>
              </a:cxn>
            </a:cxnLst>
            <a:rect l="l" t="t" r="r" b="b"/>
            <a:pathLst>
              <a:path w="900100" h="900100">
                <a:moveTo>
                  <a:pt x="0" y="0"/>
                </a:moveTo>
                <a:cubicBezTo>
                  <a:pt x="497112" y="0"/>
                  <a:pt x="900100" y="402988"/>
                  <a:pt x="900100" y="900100"/>
                </a:cubicBezTo>
              </a:path>
            </a:pathLst>
          </a:custGeom>
          <a:no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9" name="椭圆 85"/>
          <p:cNvSpPr/>
          <p:nvPr/>
        </p:nvSpPr>
        <p:spPr>
          <a:xfrm>
            <a:off x="9731610" y="2203330"/>
            <a:ext cx="417278" cy="101720"/>
          </a:xfrm>
          <a:custGeom>
            <a:avLst/>
            <a:gdLst>
              <a:gd name="connsiteX0" fmla="*/ 0 w 1800200"/>
              <a:gd name="connsiteY0" fmla="*/ 900100 h 1800200"/>
              <a:gd name="connsiteX1" fmla="*/ 900100 w 1800200"/>
              <a:gd name="connsiteY1" fmla="*/ 0 h 1800200"/>
              <a:gd name="connsiteX2" fmla="*/ 1800200 w 1800200"/>
              <a:gd name="connsiteY2" fmla="*/ 900100 h 1800200"/>
              <a:gd name="connsiteX3" fmla="*/ 900100 w 1800200"/>
              <a:gd name="connsiteY3" fmla="*/ 1800200 h 1800200"/>
              <a:gd name="connsiteX4" fmla="*/ 0 w 1800200"/>
              <a:gd name="connsiteY4" fmla="*/ 900100 h 1800200"/>
              <a:gd name="connsiteX0-1" fmla="*/ 900100 w 1800200"/>
              <a:gd name="connsiteY0-2" fmla="*/ 0 h 1800200"/>
              <a:gd name="connsiteX1-3" fmla="*/ 1800200 w 1800200"/>
              <a:gd name="connsiteY1-4" fmla="*/ 900100 h 1800200"/>
              <a:gd name="connsiteX2-5" fmla="*/ 900100 w 1800200"/>
              <a:gd name="connsiteY2-6" fmla="*/ 1800200 h 1800200"/>
              <a:gd name="connsiteX3-7" fmla="*/ 0 w 1800200"/>
              <a:gd name="connsiteY3-8" fmla="*/ 900100 h 1800200"/>
              <a:gd name="connsiteX4-9" fmla="*/ 991540 w 1800200"/>
              <a:gd name="connsiteY4-10" fmla="*/ 91440 h 1800200"/>
              <a:gd name="connsiteX0-11" fmla="*/ 900100 w 1800200"/>
              <a:gd name="connsiteY0-12" fmla="*/ 0 h 1800200"/>
              <a:gd name="connsiteX1-13" fmla="*/ 1800200 w 1800200"/>
              <a:gd name="connsiteY1-14" fmla="*/ 900100 h 1800200"/>
              <a:gd name="connsiteX2-15" fmla="*/ 900100 w 1800200"/>
              <a:gd name="connsiteY2-16" fmla="*/ 1800200 h 1800200"/>
              <a:gd name="connsiteX3-17" fmla="*/ 0 w 1800200"/>
              <a:gd name="connsiteY3-18" fmla="*/ 900100 h 1800200"/>
              <a:gd name="connsiteX0-19" fmla="*/ 0 w 900100"/>
              <a:gd name="connsiteY0-20" fmla="*/ 0 h 1800200"/>
              <a:gd name="connsiteX1-21" fmla="*/ 900100 w 900100"/>
              <a:gd name="connsiteY1-22" fmla="*/ 900100 h 1800200"/>
              <a:gd name="connsiteX2-23" fmla="*/ 0 w 900100"/>
              <a:gd name="connsiteY2-24" fmla="*/ 1800200 h 1800200"/>
              <a:gd name="connsiteX0-25" fmla="*/ 0 w 900100"/>
              <a:gd name="connsiteY0-26" fmla="*/ 0 h 900100"/>
              <a:gd name="connsiteX1-27" fmla="*/ 900100 w 900100"/>
              <a:gd name="connsiteY1-28" fmla="*/ 900100 h 900100"/>
              <a:gd name="connsiteX0-29" fmla="*/ 0 w 900100"/>
              <a:gd name="connsiteY0-30" fmla="*/ 0 h 900100"/>
              <a:gd name="connsiteX1-31" fmla="*/ 417278 w 900100"/>
              <a:gd name="connsiteY1-32" fmla="*/ 101302 h 900100"/>
              <a:gd name="connsiteX2-33" fmla="*/ 900100 w 900100"/>
              <a:gd name="connsiteY2-34" fmla="*/ 900100 h 900100"/>
              <a:gd name="connsiteX0-35" fmla="*/ 0 w 900100"/>
              <a:gd name="connsiteY0-36" fmla="*/ 0 h 900100"/>
              <a:gd name="connsiteX1-37" fmla="*/ 417278 w 900100"/>
              <a:gd name="connsiteY1-38" fmla="*/ 101302 h 900100"/>
              <a:gd name="connsiteX2-39" fmla="*/ 900100 w 900100"/>
              <a:gd name="connsiteY2-40" fmla="*/ 900100 h 900100"/>
              <a:gd name="connsiteX0-41" fmla="*/ 0 w 900100"/>
              <a:gd name="connsiteY0-42" fmla="*/ 0 h 900100"/>
              <a:gd name="connsiteX1-43" fmla="*/ 417278 w 900100"/>
              <a:gd name="connsiteY1-44" fmla="*/ 101302 h 900100"/>
              <a:gd name="connsiteX2-45" fmla="*/ 900100 w 900100"/>
              <a:gd name="connsiteY2-46" fmla="*/ 900100 h 900100"/>
              <a:gd name="connsiteX0-47" fmla="*/ 0 w 900100"/>
              <a:gd name="connsiteY0-48" fmla="*/ 330 h 900430"/>
              <a:gd name="connsiteX1-49" fmla="*/ 417278 w 900100"/>
              <a:gd name="connsiteY1-50" fmla="*/ 101632 h 900430"/>
              <a:gd name="connsiteX2-51" fmla="*/ 900100 w 900100"/>
              <a:gd name="connsiteY2-52" fmla="*/ 900430 h 900430"/>
              <a:gd name="connsiteX0-53" fmla="*/ 0 w 417278"/>
              <a:gd name="connsiteY0-54" fmla="*/ 330 h 101632"/>
              <a:gd name="connsiteX1-55" fmla="*/ 417278 w 417278"/>
              <a:gd name="connsiteY1-56" fmla="*/ 101632 h 101632"/>
              <a:gd name="connsiteX0-57" fmla="*/ 0 w 417278"/>
              <a:gd name="connsiteY0-58" fmla="*/ 418 h 101720"/>
              <a:gd name="connsiteX1-59" fmla="*/ 417278 w 417278"/>
              <a:gd name="connsiteY1-60" fmla="*/ 101720 h 101720"/>
            </a:gdLst>
            <a:ahLst/>
            <a:cxnLst>
              <a:cxn ang="0">
                <a:pos x="connsiteX0-1" y="connsiteY0-2"/>
              </a:cxn>
              <a:cxn ang="0">
                <a:pos x="connsiteX1-3" y="connsiteY1-4"/>
              </a:cxn>
            </a:cxnLst>
            <a:rect l="l" t="t" r="r" b="b"/>
            <a:pathLst>
              <a:path w="417278" h="101720">
                <a:moveTo>
                  <a:pt x="0" y="418"/>
                </a:moveTo>
                <a:cubicBezTo>
                  <a:pt x="158143" y="-3915"/>
                  <a:pt x="282947" y="25091"/>
                  <a:pt x="417278" y="101720"/>
                </a:cubicBezTo>
              </a:path>
            </a:pathLst>
          </a:custGeom>
          <a:no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1" name="TextBox 90"/>
          <p:cNvSpPr txBox="1"/>
          <p:nvPr/>
        </p:nvSpPr>
        <p:spPr>
          <a:xfrm>
            <a:off x="1234759" y="4361408"/>
            <a:ext cx="2236510" cy="1477328"/>
          </a:xfrm>
          <a:prstGeom prst="rect">
            <a:avLst/>
          </a:prstGeom>
          <a:noFill/>
        </p:spPr>
        <p:txBody>
          <a:bodyPr wrap="none" rtlCol="0">
            <a:spAutoFit/>
          </a:bodyPr>
          <a:lstStyle/>
          <a:p>
            <a:pPr algn="ctr"/>
            <a:r>
              <a:rPr lang="zh-CN" altLang="en-US" sz="2000" smtClean="0">
                <a:solidFill>
                  <a:schemeClr val="bg1"/>
                </a:solidFill>
                <a:latin typeface="华文黑体" pitchFamily="2" charset="-122"/>
                <a:ea typeface="华文黑体" pitchFamily="2" charset="-122"/>
                <a:cs typeface="华文黑体" pitchFamily="2" charset="-122"/>
              </a:rPr>
              <a:t>单击添加标题</a:t>
            </a:r>
            <a:endParaRPr lang="en-US" altLang="zh-CN" sz="2000" smtClean="0">
              <a:solidFill>
                <a:schemeClr val="bg1"/>
              </a:solidFill>
              <a:latin typeface="华文黑体" pitchFamily="2" charset="-122"/>
              <a:ea typeface="华文黑体" pitchFamily="2" charset="-122"/>
              <a:cs typeface="华文黑体" pitchFamily="2" charset="-122"/>
            </a:endParaRPr>
          </a:p>
          <a:p>
            <a:pPr algn="ctr"/>
            <a:endParaRPr lang="en-US" altLang="zh-CN" sz="600" smtClean="0">
              <a:solidFill>
                <a:schemeClr val="bg1"/>
              </a:solidFill>
              <a:latin typeface="华文黑体" pitchFamily="2" charset="-122"/>
              <a:ea typeface="华文黑体" pitchFamily="2" charset="-122"/>
              <a:cs typeface="华文黑体" pitchFamily="2" charset="-122"/>
            </a:endParaRPr>
          </a:p>
          <a:p>
            <a:pPr algn="ctr"/>
            <a:r>
              <a:rPr lang="zh-CN" altLang="en-US" sz="1600" smtClean="0">
                <a:solidFill>
                  <a:schemeClr val="bg1"/>
                </a:solidFill>
                <a:latin typeface="华文细黑" panose="02010600040101010101" pitchFamily="2" charset="-122"/>
                <a:ea typeface="华文细黑" panose="02010600040101010101" pitchFamily="2" charset="-122"/>
                <a:cs typeface="华文黑体" pitchFamily="2" charset="-122"/>
              </a:rPr>
              <a:t>单击添加文本单击添加</a:t>
            </a:r>
            <a:endParaRPr lang="en-US" altLang="zh-CN" sz="1600" smtClean="0">
              <a:solidFill>
                <a:schemeClr val="bg1"/>
              </a:solidFill>
              <a:latin typeface="华文细黑" panose="02010600040101010101" pitchFamily="2" charset="-122"/>
              <a:ea typeface="华文细黑" panose="02010600040101010101" pitchFamily="2" charset="-122"/>
              <a:cs typeface="华文黑体" pitchFamily="2" charset="-122"/>
            </a:endParaRPr>
          </a:p>
          <a:p>
            <a:pPr algn="ctr"/>
            <a:r>
              <a:rPr lang="zh-CN" altLang="en-US" sz="1600" smtClean="0">
                <a:solidFill>
                  <a:schemeClr val="bg1"/>
                </a:solidFill>
                <a:latin typeface="华文细黑" panose="02010600040101010101" pitchFamily="2" charset="-122"/>
                <a:ea typeface="华文细黑" panose="02010600040101010101" pitchFamily="2" charset="-122"/>
                <a:cs typeface="华文黑体" pitchFamily="2" charset="-122"/>
              </a:rPr>
              <a:t>文本单击添加文本单击</a:t>
            </a:r>
            <a:endParaRPr lang="en-US" altLang="zh-CN" sz="1600" smtClean="0">
              <a:solidFill>
                <a:schemeClr val="bg1"/>
              </a:solidFill>
              <a:latin typeface="华文细黑" panose="02010600040101010101" pitchFamily="2" charset="-122"/>
              <a:ea typeface="华文细黑" panose="02010600040101010101" pitchFamily="2" charset="-122"/>
              <a:cs typeface="华文黑体" pitchFamily="2" charset="-122"/>
            </a:endParaRPr>
          </a:p>
          <a:p>
            <a:pPr algn="ctr"/>
            <a:r>
              <a:rPr lang="zh-CN" altLang="en-US" sz="1600" smtClean="0">
                <a:solidFill>
                  <a:schemeClr val="bg1"/>
                </a:solidFill>
                <a:latin typeface="华文细黑" panose="02010600040101010101" pitchFamily="2" charset="-122"/>
                <a:ea typeface="华文细黑" panose="02010600040101010101" pitchFamily="2" charset="-122"/>
                <a:cs typeface="华文黑体" pitchFamily="2" charset="-122"/>
              </a:rPr>
              <a:t>添加文本单击</a:t>
            </a:r>
            <a:r>
              <a:rPr lang="zh-CN" altLang="en-US" sz="1600">
                <a:solidFill>
                  <a:schemeClr val="bg1"/>
                </a:solidFill>
                <a:latin typeface="华文细黑" panose="02010600040101010101" pitchFamily="2" charset="-122"/>
                <a:ea typeface="华文细黑" panose="02010600040101010101" pitchFamily="2" charset="-122"/>
                <a:cs typeface="华文黑体" pitchFamily="2" charset="-122"/>
              </a:rPr>
              <a:t>添加</a:t>
            </a:r>
            <a:r>
              <a:rPr lang="zh-CN" altLang="en-US" sz="1600" smtClean="0">
                <a:solidFill>
                  <a:schemeClr val="bg1"/>
                </a:solidFill>
                <a:latin typeface="华文细黑" panose="02010600040101010101" pitchFamily="2" charset="-122"/>
                <a:ea typeface="华文细黑" panose="02010600040101010101" pitchFamily="2" charset="-122"/>
                <a:cs typeface="华文黑体" pitchFamily="2" charset="-122"/>
              </a:rPr>
              <a:t>文本</a:t>
            </a:r>
            <a:endParaRPr lang="en-US" altLang="zh-CN" sz="1600" smtClean="0">
              <a:solidFill>
                <a:schemeClr val="bg1"/>
              </a:solidFill>
              <a:latin typeface="华文细黑" panose="02010600040101010101" pitchFamily="2" charset="-122"/>
              <a:ea typeface="华文细黑" panose="02010600040101010101" pitchFamily="2" charset="-122"/>
              <a:cs typeface="华文黑体" pitchFamily="2" charset="-122"/>
            </a:endParaRPr>
          </a:p>
          <a:p>
            <a:pPr algn="ctr"/>
            <a:r>
              <a:rPr lang="zh-CN" altLang="en-US" sz="1600">
                <a:solidFill>
                  <a:schemeClr val="bg1"/>
                </a:solidFill>
                <a:latin typeface="华文细黑" panose="02010600040101010101" pitchFamily="2" charset="-122"/>
                <a:ea typeface="华文细黑" panose="02010600040101010101" pitchFamily="2" charset="-122"/>
                <a:cs typeface="华文黑体" pitchFamily="2" charset="-122"/>
              </a:rPr>
              <a:t>单击添加文本</a:t>
            </a:r>
            <a:endParaRPr lang="zh-CN" altLang="en-US" sz="1600">
              <a:solidFill>
                <a:schemeClr val="bg1"/>
              </a:solidFill>
              <a:latin typeface="华文细黑" panose="02010600040101010101" pitchFamily="2" charset="-122"/>
              <a:ea typeface="华文细黑" panose="02010600040101010101" pitchFamily="2" charset="-122"/>
              <a:cs typeface="华文黑体" pitchFamily="2" charset="-122"/>
            </a:endParaRPr>
          </a:p>
        </p:txBody>
      </p:sp>
      <p:sp>
        <p:nvSpPr>
          <p:cNvPr id="93" name="TextBox 92"/>
          <p:cNvSpPr txBox="1"/>
          <p:nvPr/>
        </p:nvSpPr>
        <p:spPr>
          <a:xfrm>
            <a:off x="3764816" y="4361408"/>
            <a:ext cx="2236510" cy="1231106"/>
          </a:xfrm>
          <a:prstGeom prst="rect">
            <a:avLst/>
          </a:prstGeom>
          <a:noFill/>
        </p:spPr>
        <p:txBody>
          <a:bodyPr wrap="none" rtlCol="0">
            <a:spAutoFit/>
          </a:bodyPr>
          <a:lstStyle/>
          <a:p>
            <a:pPr algn="ctr"/>
            <a:r>
              <a:rPr lang="zh-CN" altLang="en-US" sz="2000" smtClean="0">
                <a:solidFill>
                  <a:schemeClr val="bg1"/>
                </a:solidFill>
                <a:latin typeface="华文黑体" pitchFamily="2" charset="-122"/>
                <a:ea typeface="华文黑体" pitchFamily="2" charset="-122"/>
                <a:cs typeface="华文黑体" pitchFamily="2" charset="-122"/>
              </a:rPr>
              <a:t>单击添加标题</a:t>
            </a:r>
            <a:endParaRPr lang="en-US" altLang="zh-CN" sz="2000" smtClean="0">
              <a:solidFill>
                <a:schemeClr val="bg1"/>
              </a:solidFill>
              <a:latin typeface="华文黑体" pitchFamily="2" charset="-122"/>
              <a:ea typeface="华文黑体" pitchFamily="2" charset="-122"/>
              <a:cs typeface="华文黑体" pitchFamily="2" charset="-122"/>
            </a:endParaRPr>
          </a:p>
          <a:p>
            <a:pPr algn="ctr"/>
            <a:endParaRPr lang="en-US" altLang="zh-CN" sz="600" smtClean="0">
              <a:solidFill>
                <a:schemeClr val="bg1"/>
              </a:solidFill>
              <a:latin typeface="华文黑体" pitchFamily="2" charset="-122"/>
              <a:ea typeface="华文黑体" pitchFamily="2" charset="-122"/>
              <a:cs typeface="华文黑体" pitchFamily="2" charset="-122"/>
            </a:endParaRPr>
          </a:p>
          <a:p>
            <a:pPr algn="ctr"/>
            <a:r>
              <a:rPr lang="zh-CN" altLang="en-US" sz="1600" smtClean="0">
                <a:solidFill>
                  <a:schemeClr val="bg1"/>
                </a:solidFill>
                <a:latin typeface="华文细黑" panose="02010600040101010101" pitchFamily="2" charset="-122"/>
                <a:ea typeface="华文细黑" panose="02010600040101010101" pitchFamily="2" charset="-122"/>
                <a:cs typeface="华文黑体" pitchFamily="2" charset="-122"/>
              </a:rPr>
              <a:t>单击添加文本单击添加</a:t>
            </a:r>
            <a:endParaRPr lang="en-US" altLang="zh-CN" sz="1600" smtClean="0">
              <a:solidFill>
                <a:schemeClr val="bg1"/>
              </a:solidFill>
              <a:latin typeface="华文细黑" panose="02010600040101010101" pitchFamily="2" charset="-122"/>
              <a:ea typeface="华文细黑" panose="02010600040101010101" pitchFamily="2" charset="-122"/>
              <a:cs typeface="华文黑体" pitchFamily="2" charset="-122"/>
            </a:endParaRPr>
          </a:p>
          <a:p>
            <a:pPr algn="ctr"/>
            <a:r>
              <a:rPr lang="zh-CN" altLang="en-US" sz="1600" smtClean="0">
                <a:solidFill>
                  <a:schemeClr val="bg1"/>
                </a:solidFill>
                <a:latin typeface="华文细黑" panose="02010600040101010101" pitchFamily="2" charset="-122"/>
                <a:ea typeface="华文细黑" panose="02010600040101010101" pitchFamily="2" charset="-122"/>
                <a:cs typeface="华文黑体" pitchFamily="2" charset="-122"/>
              </a:rPr>
              <a:t>文本单击添加文本单击</a:t>
            </a:r>
            <a:endParaRPr lang="en-US" altLang="zh-CN" sz="1600" smtClean="0">
              <a:solidFill>
                <a:schemeClr val="bg1"/>
              </a:solidFill>
              <a:latin typeface="华文细黑" panose="02010600040101010101" pitchFamily="2" charset="-122"/>
              <a:ea typeface="华文细黑" panose="02010600040101010101" pitchFamily="2" charset="-122"/>
              <a:cs typeface="华文黑体" pitchFamily="2" charset="-122"/>
            </a:endParaRPr>
          </a:p>
          <a:p>
            <a:pPr algn="ctr"/>
            <a:r>
              <a:rPr lang="zh-CN" altLang="en-US" sz="1600" smtClean="0">
                <a:solidFill>
                  <a:schemeClr val="bg1"/>
                </a:solidFill>
                <a:latin typeface="华文细黑" panose="02010600040101010101" pitchFamily="2" charset="-122"/>
                <a:ea typeface="华文细黑" panose="02010600040101010101" pitchFamily="2" charset="-122"/>
                <a:cs typeface="华文黑体" pitchFamily="2" charset="-122"/>
              </a:rPr>
              <a:t>添加文本单击</a:t>
            </a:r>
            <a:r>
              <a:rPr lang="zh-CN" altLang="en-US" sz="1600">
                <a:solidFill>
                  <a:schemeClr val="bg1"/>
                </a:solidFill>
                <a:latin typeface="华文细黑" panose="02010600040101010101" pitchFamily="2" charset="-122"/>
                <a:ea typeface="华文细黑" panose="02010600040101010101" pitchFamily="2" charset="-122"/>
                <a:cs typeface="华文黑体" pitchFamily="2" charset="-122"/>
              </a:rPr>
              <a:t>添加</a:t>
            </a:r>
            <a:r>
              <a:rPr lang="zh-CN" altLang="en-US" sz="1600" smtClean="0">
                <a:solidFill>
                  <a:schemeClr val="bg1"/>
                </a:solidFill>
                <a:latin typeface="华文细黑" panose="02010600040101010101" pitchFamily="2" charset="-122"/>
                <a:ea typeface="华文细黑" panose="02010600040101010101" pitchFamily="2" charset="-122"/>
                <a:cs typeface="华文黑体" pitchFamily="2" charset="-122"/>
              </a:rPr>
              <a:t>文本</a:t>
            </a:r>
            <a:endParaRPr lang="zh-CN" altLang="en-US" sz="1600">
              <a:solidFill>
                <a:schemeClr val="bg1"/>
              </a:solidFill>
              <a:latin typeface="华文细黑" panose="02010600040101010101" pitchFamily="2" charset="-122"/>
              <a:ea typeface="华文细黑" panose="02010600040101010101" pitchFamily="2" charset="-122"/>
              <a:cs typeface="华文黑体" pitchFamily="2" charset="-122"/>
            </a:endParaRPr>
          </a:p>
        </p:txBody>
      </p:sp>
      <p:sp>
        <p:nvSpPr>
          <p:cNvPr id="94" name="TextBox 93"/>
          <p:cNvSpPr txBox="1"/>
          <p:nvPr/>
        </p:nvSpPr>
        <p:spPr>
          <a:xfrm>
            <a:off x="6189085" y="4361408"/>
            <a:ext cx="2236510" cy="1477328"/>
          </a:xfrm>
          <a:prstGeom prst="rect">
            <a:avLst/>
          </a:prstGeom>
          <a:noFill/>
        </p:spPr>
        <p:txBody>
          <a:bodyPr wrap="none" rtlCol="0">
            <a:spAutoFit/>
          </a:bodyPr>
          <a:lstStyle/>
          <a:p>
            <a:pPr algn="ctr"/>
            <a:r>
              <a:rPr lang="zh-CN" altLang="en-US" sz="2000" smtClean="0">
                <a:solidFill>
                  <a:schemeClr val="bg1"/>
                </a:solidFill>
                <a:latin typeface="华文黑体" pitchFamily="2" charset="-122"/>
                <a:ea typeface="华文黑体" pitchFamily="2" charset="-122"/>
                <a:cs typeface="华文黑体" pitchFamily="2" charset="-122"/>
              </a:rPr>
              <a:t>单击添加标题</a:t>
            </a:r>
            <a:endParaRPr lang="en-US" altLang="zh-CN" sz="2000" smtClean="0">
              <a:solidFill>
                <a:schemeClr val="bg1"/>
              </a:solidFill>
              <a:latin typeface="华文黑体" pitchFamily="2" charset="-122"/>
              <a:ea typeface="华文黑体" pitchFamily="2" charset="-122"/>
              <a:cs typeface="华文黑体" pitchFamily="2" charset="-122"/>
            </a:endParaRPr>
          </a:p>
          <a:p>
            <a:pPr algn="ctr"/>
            <a:endParaRPr lang="en-US" altLang="zh-CN" sz="600" smtClean="0">
              <a:solidFill>
                <a:schemeClr val="bg1"/>
              </a:solidFill>
              <a:latin typeface="华文黑体" pitchFamily="2" charset="-122"/>
              <a:ea typeface="华文黑体" pitchFamily="2" charset="-122"/>
              <a:cs typeface="华文黑体" pitchFamily="2" charset="-122"/>
            </a:endParaRPr>
          </a:p>
          <a:p>
            <a:pPr algn="ctr"/>
            <a:r>
              <a:rPr lang="zh-CN" altLang="en-US" sz="1600" smtClean="0">
                <a:solidFill>
                  <a:schemeClr val="bg1"/>
                </a:solidFill>
                <a:latin typeface="华文细黑" panose="02010600040101010101" pitchFamily="2" charset="-122"/>
                <a:ea typeface="华文细黑" panose="02010600040101010101" pitchFamily="2" charset="-122"/>
                <a:cs typeface="华文黑体" pitchFamily="2" charset="-122"/>
              </a:rPr>
              <a:t>单击添加文本单击添加</a:t>
            </a:r>
            <a:endParaRPr lang="en-US" altLang="zh-CN" sz="1600" smtClean="0">
              <a:solidFill>
                <a:schemeClr val="bg1"/>
              </a:solidFill>
              <a:latin typeface="华文细黑" panose="02010600040101010101" pitchFamily="2" charset="-122"/>
              <a:ea typeface="华文细黑" panose="02010600040101010101" pitchFamily="2" charset="-122"/>
              <a:cs typeface="华文黑体" pitchFamily="2" charset="-122"/>
            </a:endParaRPr>
          </a:p>
          <a:p>
            <a:pPr algn="ctr"/>
            <a:r>
              <a:rPr lang="zh-CN" altLang="en-US" sz="1600" smtClean="0">
                <a:solidFill>
                  <a:schemeClr val="bg1"/>
                </a:solidFill>
                <a:latin typeface="华文细黑" panose="02010600040101010101" pitchFamily="2" charset="-122"/>
                <a:ea typeface="华文细黑" panose="02010600040101010101" pitchFamily="2" charset="-122"/>
                <a:cs typeface="华文黑体" pitchFamily="2" charset="-122"/>
              </a:rPr>
              <a:t>文本单击添加文本单击</a:t>
            </a:r>
            <a:endParaRPr lang="en-US" altLang="zh-CN" sz="1600" smtClean="0">
              <a:solidFill>
                <a:schemeClr val="bg1"/>
              </a:solidFill>
              <a:latin typeface="华文细黑" panose="02010600040101010101" pitchFamily="2" charset="-122"/>
              <a:ea typeface="华文细黑" panose="02010600040101010101" pitchFamily="2" charset="-122"/>
              <a:cs typeface="华文黑体" pitchFamily="2" charset="-122"/>
            </a:endParaRPr>
          </a:p>
          <a:p>
            <a:pPr algn="ctr"/>
            <a:r>
              <a:rPr lang="zh-CN" altLang="en-US" sz="1600" smtClean="0">
                <a:solidFill>
                  <a:schemeClr val="bg1"/>
                </a:solidFill>
                <a:latin typeface="华文细黑" panose="02010600040101010101" pitchFamily="2" charset="-122"/>
                <a:ea typeface="华文细黑" panose="02010600040101010101" pitchFamily="2" charset="-122"/>
                <a:cs typeface="华文黑体" pitchFamily="2" charset="-122"/>
              </a:rPr>
              <a:t>添加文本单击</a:t>
            </a:r>
            <a:r>
              <a:rPr lang="zh-CN" altLang="en-US" sz="1600">
                <a:solidFill>
                  <a:schemeClr val="bg1"/>
                </a:solidFill>
                <a:latin typeface="华文细黑" panose="02010600040101010101" pitchFamily="2" charset="-122"/>
                <a:ea typeface="华文细黑" panose="02010600040101010101" pitchFamily="2" charset="-122"/>
                <a:cs typeface="华文黑体" pitchFamily="2" charset="-122"/>
              </a:rPr>
              <a:t>添加</a:t>
            </a:r>
            <a:r>
              <a:rPr lang="zh-CN" altLang="en-US" sz="1600" smtClean="0">
                <a:solidFill>
                  <a:schemeClr val="bg1"/>
                </a:solidFill>
                <a:latin typeface="华文细黑" panose="02010600040101010101" pitchFamily="2" charset="-122"/>
                <a:ea typeface="华文细黑" panose="02010600040101010101" pitchFamily="2" charset="-122"/>
                <a:cs typeface="华文黑体" pitchFamily="2" charset="-122"/>
              </a:rPr>
              <a:t>文本</a:t>
            </a:r>
            <a:endParaRPr lang="en-US" altLang="zh-CN" sz="1600" smtClean="0">
              <a:solidFill>
                <a:schemeClr val="bg1"/>
              </a:solidFill>
              <a:latin typeface="华文细黑" panose="02010600040101010101" pitchFamily="2" charset="-122"/>
              <a:ea typeface="华文细黑" panose="02010600040101010101" pitchFamily="2" charset="-122"/>
              <a:cs typeface="华文黑体" pitchFamily="2" charset="-122"/>
            </a:endParaRPr>
          </a:p>
          <a:p>
            <a:pPr algn="ctr"/>
            <a:r>
              <a:rPr lang="zh-CN" altLang="en-US" sz="1600">
                <a:solidFill>
                  <a:schemeClr val="bg1"/>
                </a:solidFill>
                <a:latin typeface="华文细黑" panose="02010600040101010101" pitchFamily="2" charset="-122"/>
                <a:ea typeface="华文细黑" panose="02010600040101010101" pitchFamily="2" charset="-122"/>
                <a:cs typeface="华文黑体" pitchFamily="2" charset="-122"/>
              </a:rPr>
              <a:t>单击添加文本</a:t>
            </a:r>
            <a:endParaRPr lang="zh-CN" altLang="en-US" sz="1600">
              <a:solidFill>
                <a:schemeClr val="bg1"/>
              </a:solidFill>
              <a:latin typeface="华文细黑" panose="02010600040101010101" pitchFamily="2" charset="-122"/>
              <a:ea typeface="华文细黑" panose="02010600040101010101" pitchFamily="2" charset="-122"/>
              <a:cs typeface="华文黑体" pitchFamily="2" charset="-122"/>
            </a:endParaRPr>
          </a:p>
        </p:txBody>
      </p:sp>
      <p:sp>
        <p:nvSpPr>
          <p:cNvPr id="95" name="TextBox 94"/>
          <p:cNvSpPr txBox="1"/>
          <p:nvPr/>
        </p:nvSpPr>
        <p:spPr>
          <a:xfrm>
            <a:off x="8613355" y="4361408"/>
            <a:ext cx="2236510" cy="1231106"/>
          </a:xfrm>
          <a:prstGeom prst="rect">
            <a:avLst/>
          </a:prstGeom>
          <a:noFill/>
        </p:spPr>
        <p:txBody>
          <a:bodyPr wrap="none" rtlCol="0">
            <a:spAutoFit/>
          </a:bodyPr>
          <a:lstStyle/>
          <a:p>
            <a:pPr algn="ctr"/>
            <a:r>
              <a:rPr lang="zh-CN" altLang="en-US" sz="2000" smtClean="0">
                <a:solidFill>
                  <a:schemeClr val="bg1"/>
                </a:solidFill>
                <a:latin typeface="华文黑体" pitchFamily="2" charset="-122"/>
                <a:ea typeface="华文黑体" pitchFamily="2" charset="-122"/>
                <a:cs typeface="华文黑体" pitchFamily="2" charset="-122"/>
              </a:rPr>
              <a:t>单击添加标题</a:t>
            </a:r>
            <a:endParaRPr lang="en-US" altLang="zh-CN" sz="2000" smtClean="0">
              <a:solidFill>
                <a:schemeClr val="bg1"/>
              </a:solidFill>
              <a:latin typeface="华文黑体" pitchFamily="2" charset="-122"/>
              <a:ea typeface="华文黑体" pitchFamily="2" charset="-122"/>
              <a:cs typeface="华文黑体" pitchFamily="2" charset="-122"/>
            </a:endParaRPr>
          </a:p>
          <a:p>
            <a:pPr algn="ctr"/>
            <a:endParaRPr lang="en-US" altLang="zh-CN" sz="600" smtClean="0">
              <a:solidFill>
                <a:schemeClr val="bg1"/>
              </a:solidFill>
              <a:latin typeface="华文黑体" pitchFamily="2" charset="-122"/>
              <a:ea typeface="华文黑体" pitchFamily="2" charset="-122"/>
              <a:cs typeface="华文黑体" pitchFamily="2" charset="-122"/>
            </a:endParaRPr>
          </a:p>
          <a:p>
            <a:pPr algn="ctr"/>
            <a:r>
              <a:rPr lang="zh-CN" altLang="en-US" sz="1600" smtClean="0">
                <a:solidFill>
                  <a:schemeClr val="bg1"/>
                </a:solidFill>
                <a:latin typeface="华文细黑" panose="02010600040101010101" pitchFamily="2" charset="-122"/>
                <a:ea typeface="华文细黑" panose="02010600040101010101" pitchFamily="2" charset="-122"/>
                <a:cs typeface="华文黑体" pitchFamily="2" charset="-122"/>
              </a:rPr>
              <a:t>单击添加文本单击添加</a:t>
            </a:r>
            <a:endParaRPr lang="en-US" altLang="zh-CN" sz="1600" smtClean="0">
              <a:solidFill>
                <a:schemeClr val="bg1"/>
              </a:solidFill>
              <a:latin typeface="华文细黑" panose="02010600040101010101" pitchFamily="2" charset="-122"/>
              <a:ea typeface="华文细黑" panose="02010600040101010101" pitchFamily="2" charset="-122"/>
              <a:cs typeface="华文黑体" pitchFamily="2" charset="-122"/>
            </a:endParaRPr>
          </a:p>
          <a:p>
            <a:pPr algn="ctr"/>
            <a:r>
              <a:rPr lang="zh-CN" altLang="en-US" sz="1600" smtClean="0">
                <a:solidFill>
                  <a:schemeClr val="bg1"/>
                </a:solidFill>
                <a:latin typeface="华文细黑" panose="02010600040101010101" pitchFamily="2" charset="-122"/>
                <a:ea typeface="华文细黑" panose="02010600040101010101" pitchFamily="2" charset="-122"/>
                <a:cs typeface="华文黑体" pitchFamily="2" charset="-122"/>
              </a:rPr>
              <a:t>文本单击添加文本单击</a:t>
            </a:r>
            <a:endParaRPr lang="en-US" altLang="zh-CN" sz="1600" smtClean="0">
              <a:solidFill>
                <a:schemeClr val="bg1"/>
              </a:solidFill>
              <a:latin typeface="华文细黑" panose="02010600040101010101" pitchFamily="2" charset="-122"/>
              <a:ea typeface="华文细黑" panose="02010600040101010101" pitchFamily="2" charset="-122"/>
              <a:cs typeface="华文黑体" pitchFamily="2" charset="-122"/>
            </a:endParaRPr>
          </a:p>
          <a:p>
            <a:pPr algn="ctr"/>
            <a:r>
              <a:rPr lang="zh-CN" altLang="en-US" sz="1600" smtClean="0">
                <a:solidFill>
                  <a:schemeClr val="bg1"/>
                </a:solidFill>
                <a:latin typeface="华文细黑" panose="02010600040101010101" pitchFamily="2" charset="-122"/>
                <a:ea typeface="华文细黑" panose="02010600040101010101" pitchFamily="2" charset="-122"/>
                <a:cs typeface="华文黑体" pitchFamily="2" charset="-122"/>
              </a:rPr>
              <a:t>添加文本单击</a:t>
            </a:r>
            <a:r>
              <a:rPr lang="zh-CN" altLang="en-US" sz="1600">
                <a:solidFill>
                  <a:schemeClr val="bg1"/>
                </a:solidFill>
                <a:latin typeface="华文细黑" panose="02010600040101010101" pitchFamily="2" charset="-122"/>
                <a:ea typeface="华文细黑" panose="02010600040101010101" pitchFamily="2" charset="-122"/>
                <a:cs typeface="华文黑体" pitchFamily="2" charset="-122"/>
              </a:rPr>
              <a:t>添加</a:t>
            </a:r>
            <a:r>
              <a:rPr lang="zh-CN" altLang="en-US" sz="1600" smtClean="0">
                <a:solidFill>
                  <a:schemeClr val="bg1"/>
                </a:solidFill>
                <a:latin typeface="华文细黑" panose="02010600040101010101" pitchFamily="2" charset="-122"/>
                <a:ea typeface="华文细黑" panose="02010600040101010101" pitchFamily="2" charset="-122"/>
                <a:cs typeface="华文黑体" pitchFamily="2" charset="-122"/>
              </a:rPr>
              <a:t>文本</a:t>
            </a:r>
            <a:endParaRPr lang="zh-CN" altLang="en-US" sz="1600">
              <a:solidFill>
                <a:schemeClr val="bg1"/>
              </a:solidFill>
              <a:latin typeface="华文细黑" panose="02010600040101010101" pitchFamily="2" charset="-122"/>
              <a:ea typeface="华文细黑" panose="02010600040101010101" pitchFamily="2" charset="-122"/>
              <a:cs typeface="华文黑体" pitchFamily="2" charset="-122"/>
            </a:endParaRPr>
          </a:p>
        </p:txBody>
      </p:sp>
      <p:sp>
        <p:nvSpPr>
          <p:cNvPr id="20" name="圆角矩形 19"/>
          <p:cNvSpPr/>
          <p:nvPr/>
        </p:nvSpPr>
        <p:spPr>
          <a:xfrm>
            <a:off x="8894702" y="260648"/>
            <a:ext cx="2673112" cy="600163"/>
          </a:xfrm>
          <a:prstGeom prst="roundRect">
            <a:avLst/>
          </a:prstGeom>
          <a:solidFill>
            <a:srgbClr val="FFFFFF"/>
          </a:solidFill>
          <a:ln>
            <a:noFill/>
          </a:ln>
          <a:effectLst>
            <a:reflection blurRad="6350" stA="25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1" name="TextBox 20"/>
          <p:cNvSpPr txBox="1"/>
          <p:nvPr/>
        </p:nvSpPr>
        <p:spPr>
          <a:xfrm>
            <a:off x="9061707" y="260648"/>
            <a:ext cx="2339102" cy="523220"/>
          </a:xfrm>
          <a:prstGeom prst="rect">
            <a:avLst/>
          </a:prstGeom>
          <a:noFill/>
        </p:spPr>
        <p:txBody>
          <a:bodyPr wrap="none" rtlCol="0" anchor="ctr">
            <a:spAutoFit/>
          </a:bodyPr>
          <a:lstStyle>
            <a:defPPr>
              <a:defRPr lang="zh-CN"/>
            </a:defPPr>
            <a:lvl1pPr algn="ctr">
              <a:defRPr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anose="02010600040101010101" pitchFamily="2" charset="-122"/>
                <a:cs typeface="华文黑体" pitchFamily="2" charset="-122"/>
              </a:defRPr>
            </a:lvl1pPr>
          </a:lstStyle>
          <a:p>
            <a:r>
              <a:rPr lang="zh-CN" altLang="en-US" sz="2800"/>
              <a:t>点击添加标题</a:t>
            </a:r>
            <a:endParaRPr lang="zh-CN" altLang="en-US" sz="2800"/>
          </a:p>
        </p:txBody>
      </p:sp>
    </p:spTree>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300"/>
                                        <p:tgtEl>
                                          <p:spTgt spid="2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1"/>
                                        </p:tgtEl>
                                        <p:attrNameLst>
                                          <p:attrName>style.visibility</p:attrName>
                                        </p:attrNameLst>
                                      </p:cBhvr>
                                      <p:to>
                                        <p:strVal val="visible"/>
                                      </p:to>
                                    </p:set>
                                    <p:animEffect transition="in" filter="fade">
                                      <p:cBhvr>
                                        <p:cTn id="10" dur="300"/>
                                        <p:tgtEl>
                                          <p:spTgt spid="21"/>
                                        </p:tgtEl>
                                      </p:cBhvr>
                                    </p:animEffect>
                                  </p:childTnLst>
                                </p:cTn>
                              </p:par>
                            </p:childTnLst>
                          </p:cTn>
                        </p:par>
                        <p:par>
                          <p:cTn id="11" fill="hold">
                            <p:stCondLst>
                              <p:cond delay="500"/>
                            </p:stCondLst>
                            <p:childTnLst>
                              <p:par>
                                <p:cTn id="12" presetID="21" presetClass="entr" presetSubtype="1" fill="hold" grpId="0" nodeType="afterEffect">
                                  <p:stCondLst>
                                    <p:cond delay="0"/>
                                  </p:stCondLst>
                                  <p:childTnLst>
                                    <p:set>
                                      <p:cBhvr>
                                        <p:cTn id="13" dur="1" fill="hold">
                                          <p:stCondLst>
                                            <p:cond delay="0"/>
                                          </p:stCondLst>
                                        </p:cTn>
                                        <p:tgtEl>
                                          <p:spTgt spid="2"/>
                                        </p:tgtEl>
                                        <p:attrNameLst>
                                          <p:attrName>style.visibility</p:attrName>
                                        </p:attrNameLst>
                                      </p:cBhvr>
                                      <p:to>
                                        <p:strVal val="visible"/>
                                      </p:to>
                                    </p:set>
                                    <p:animEffect transition="in" filter="wheel(1)">
                                      <p:cBhvr>
                                        <p:cTn id="14" dur="1000"/>
                                        <p:tgtEl>
                                          <p:spTgt spid="2"/>
                                        </p:tgtEl>
                                      </p:cBhvr>
                                    </p:animEffect>
                                  </p:childTnLst>
                                </p:cTn>
                              </p:par>
                              <p:par>
                                <p:cTn id="15" presetID="21" presetClass="entr" presetSubtype="1" fill="hold" grpId="0" nodeType="withEffect">
                                  <p:stCondLst>
                                    <p:cond delay="0"/>
                                  </p:stCondLst>
                                  <p:childTnLst>
                                    <p:set>
                                      <p:cBhvr>
                                        <p:cTn id="16" dur="1" fill="hold">
                                          <p:stCondLst>
                                            <p:cond delay="0"/>
                                          </p:stCondLst>
                                        </p:cTn>
                                        <p:tgtEl>
                                          <p:spTgt spid="86"/>
                                        </p:tgtEl>
                                        <p:attrNameLst>
                                          <p:attrName>style.visibility</p:attrName>
                                        </p:attrNameLst>
                                      </p:cBhvr>
                                      <p:to>
                                        <p:strVal val="visible"/>
                                      </p:to>
                                    </p:set>
                                    <p:animEffect transition="in" filter="wheel(1)">
                                      <p:cBhvr>
                                        <p:cTn id="17" dur="1000"/>
                                        <p:tgtEl>
                                          <p:spTgt spid="86"/>
                                        </p:tgtEl>
                                      </p:cBhvr>
                                    </p:animEffect>
                                  </p:childTnLst>
                                </p:cTn>
                              </p:par>
                              <p:par>
                                <p:cTn id="18" presetID="47" presetClass="entr" presetSubtype="0" fill="hold" grpId="0" nodeType="withEffect">
                                  <p:stCondLst>
                                    <p:cond delay="1000"/>
                                  </p:stCondLst>
                                  <p:childTnLst>
                                    <p:set>
                                      <p:cBhvr>
                                        <p:cTn id="19" dur="1" fill="hold">
                                          <p:stCondLst>
                                            <p:cond delay="0"/>
                                          </p:stCondLst>
                                        </p:cTn>
                                        <p:tgtEl>
                                          <p:spTgt spid="91"/>
                                        </p:tgtEl>
                                        <p:attrNameLst>
                                          <p:attrName>style.visibility</p:attrName>
                                        </p:attrNameLst>
                                      </p:cBhvr>
                                      <p:to>
                                        <p:strVal val="visible"/>
                                      </p:to>
                                    </p:set>
                                    <p:animEffect transition="in" filter="fade">
                                      <p:cBhvr>
                                        <p:cTn id="20" dur="500"/>
                                        <p:tgtEl>
                                          <p:spTgt spid="91"/>
                                        </p:tgtEl>
                                      </p:cBhvr>
                                    </p:animEffect>
                                    <p:anim calcmode="lin" valueType="num">
                                      <p:cBhvr>
                                        <p:cTn id="21" dur="500" fill="hold"/>
                                        <p:tgtEl>
                                          <p:spTgt spid="91"/>
                                        </p:tgtEl>
                                        <p:attrNameLst>
                                          <p:attrName>ppt_x</p:attrName>
                                        </p:attrNameLst>
                                      </p:cBhvr>
                                      <p:tavLst>
                                        <p:tav tm="0">
                                          <p:val>
                                            <p:strVal val="#ppt_x"/>
                                          </p:val>
                                        </p:tav>
                                        <p:tav tm="100000">
                                          <p:val>
                                            <p:strVal val="#ppt_x"/>
                                          </p:val>
                                        </p:tav>
                                      </p:tavLst>
                                    </p:anim>
                                    <p:anim calcmode="lin" valueType="num">
                                      <p:cBhvr>
                                        <p:cTn id="22" dur="500" fill="hold"/>
                                        <p:tgtEl>
                                          <p:spTgt spid="91"/>
                                        </p:tgtEl>
                                        <p:attrNameLst>
                                          <p:attrName>ppt_y</p:attrName>
                                        </p:attrNameLst>
                                      </p:cBhvr>
                                      <p:tavLst>
                                        <p:tav tm="0">
                                          <p:val>
                                            <p:strVal val="#ppt_y-.1"/>
                                          </p:val>
                                        </p:tav>
                                        <p:tav tm="100000">
                                          <p:val>
                                            <p:strVal val="#ppt_y"/>
                                          </p:val>
                                        </p:tav>
                                      </p:tavLst>
                                    </p:anim>
                                  </p:childTnLst>
                                </p:cTn>
                              </p:par>
                              <p:par>
                                <p:cTn id="23" presetID="21" presetClass="entr" presetSubtype="1" fill="hold" grpId="0" nodeType="withEffect">
                                  <p:stCondLst>
                                    <p:cond delay="500"/>
                                  </p:stCondLst>
                                  <p:childTnLst>
                                    <p:set>
                                      <p:cBhvr>
                                        <p:cTn id="24" dur="1" fill="hold">
                                          <p:stCondLst>
                                            <p:cond delay="0"/>
                                          </p:stCondLst>
                                        </p:cTn>
                                        <p:tgtEl>
                                          <p:spTgt spid="70"/>
                                        </p:tgtEl>
                                        <p:attrNameLst>
                                          <p:attrName>style.visibility</p:attrName>
                                        </p:attrNameLst>
                                      </p:cBhvr>
                                      <p:to>
                                        <p:strVal val="visible"/>
                                      </p:to>
                                    </p:set>
                                    <p:animEffect transition="in" filter="wheel(1)">
                                      <p:cBhvr>
                                        <p:cTn id="25" dur="1000"/>
                                        <p:tgtEl>
                                          <p:spTgt spid="70"/>
                                        </p:tgtEl>
                                      </p:cBhvr>
                                    </p:animEffect>
                                  </p:childTnLst>
                                </p:cTn>
                              </p:par>
                              <p:par>
                                <p:cTn id="26" presetID="21" presetClass="entr" presetSubtype="1" fill="hold" grpId="0" nodeType="withEffect">
                                  <p:stCondLst>
                                    <p:cond delay="500"/>
                                  </p:stCondLst>
                                  <p:childTnLst>
                                    <p:set>
                                      <p:cBhvr>
                                        <p:cTn id="27" dur="1" fill="hold">
                                          <p:stCondLst>
                                            <p:cond delay="0"/>
                                          </p:stCondLst>
                                        </p:cTn>
                                        <p:tgtEl>
                                          <p:spTgt spid="87"/>
                                        </p:tgtEl>
                                        <p:attrNameLst>
                                          <p:attrName>style.visibility</p:attrName>
                                        </p:attrNameLst>
                                      </p:cBhvr>
                                      <p:to>
                                        <p:strVal val="visible"/>
                                      </p:to>
                                    </p:set>
                                    <p:animEffect transition="in" filter="wheel(1)">
                                      <p:cBhvr>
                                        <p:cTn id="28" dur="1000"/>
                                        <p:tgtEl>
                                          <p:spTgt spid="87"/>
                                        </p:tgtEl>
                                      </p:cBhvr>
                                    </p:animEffect>
                                  </p:childTnLst>
                                </p:cTn>
                              </p:par>
                              <p:par>
                                <p:cTn id="29" presetID="47" presetClass="entr" presetSubtype="0" fill="hold" grpId="0" nodeType="withEffect">
                                  <p:stCondLst>
                                    <p:cond delay="1500"/>
                                  </p:stCondLst>
                                  <p:childTnLst>
                                    <p:set>
                                      <p:cBhvr>
                                        <p:cTn id="30" dur="1" fill="hold">
                                          <p:stCondLst>
                                            <p:cond delay="0"/>
                                          </p:stCondLst>
                                        </p:cTn>
                                        <p:tgtEl>
                                          <p:spTgt spid="93"/>
                                        </p:tgtEl>
                                        <p:attrNameLst>
                                          <p:attrName>style.visibility</p:attrName>
                                        </p:attrNameLst>
                                      </p:cBhvr>
                                      <p:to>
                                        <p:strVal val="visible"/>
                                      </p:to>
                                    </p:set>
                                    <p:animEffect transition="in" filter="fade">
                                      <p:cBhvr>
                                        <p:cTn id="31" dur="500"/>
                                        <p:tgtEl>
                                          <p:spTgt spid="93"/>
                                        </p:tgtEl>
                                      </p:cBhvr>
                                    </p:animEffect>
                                    <p:anim calcmode="lin" valueType="num">
                                      <p:cBhvr>
                                        <p:cTn id="32" dur="500" fill="hold"/>
                                        <p:tgtEl>
                                          <p:spTgt spid="93"/>
                                        </p:tgtEl>
                                        <p:attrNameLst>
                                          <p:attrName>ppt_x</p:attrName>
                                        </p:attrNameLst>
                                      </p:cBhvr>
                                      <p:tavLst>
                                        <p:tav tm="0">
                                          <p:val>
                                            <p:strVal val="#ppt_x"/>
                                          </p:val>
                                        </p:tav>
                                        <p:tav tm="100000">
                                          <p:val>
                                            <p:strVal val="#ppt_x"/>
                                          </p:val>
                                        </p:tav>
                                      </p:tavLst>
                                    </p:anim>
                                    <p:anim calcmode="lin" valueType="num">
                                      <p:cBhvr>
                                        <p:cTn id="33" dur="500" fill="hold"/>
                                        <p:tgtEl>
                                          <p:spTgt spid="93"/>
                                        </p:tgtEl>
                                        <p:attrNameLst>
                                          <p:attrName>ppt_y</p:attrName>
                                        </p:attrNameLst>
                                      </p:cBhvr>
                                      <p:tavLst>
                                        <p:tav tm="0">
                                          <p:val>
                                            <p:strVal val="#ppt_y-.1"/>
                                          </p:val>
                                        </p:tav>
                                        <p:tav tm="100000">
                                          <p:val>
                                            <p:strVal val="#ppt_y"/>
                                          </p:val>
                                        </p:tav>
                                      </p:tavLst>
                                    </p:anim>
                                  </p:childTnLst>
                                </p:cTn>
                              </p:par>
                              <p:par>
                                <p:cTn id="34" presetID="21" presetClass="entr" presetSubtype="1" fill="hold" grpId="0" nodeType="withEffect">
                                  <p:stCondLst>
                                    <p:cond delay="1000"/>
                                  </p:stCondLst>
                                  <p:childTnLst>
                                    <p:set>
                                      <p:cBhvr>
                                        <p:cTn id="35" dur="1" fill="hold">
                                          <p:stCondLst>
                                            <p:cond delay="0"/>
                                          </p:stCondLst>
                                        </p:cTn>
                                        <p:tgtEl>
                                          <p:spTgt spid="72"/>
                                        </p:tgtEl>
                                        <p:attrNameLst>
                                          <p:attrName>style.visibility</p:attrName>
                                        </p:attrNameLst>
                                      </p:cBhvr>
                                      <p:to>
                                        <p:strVal val="visible"/>
                                      </p:to>
                                    </p:set>
                                    <p:animEffect transition="in" filter="wheel(1)">
                                      <p:cBhvr>
                                        <p:cTn id="36" dur="1000"/>
                                        <p:tgtEl>
                                          <p:spTgt spid="72"/>
                                        </p:tgtEl>
                                      </p:cBhvr>
                                    </p:animEffect>
                                  </p:childTnLst>
                                </p:cTn>
                              </p:par>
                              <p:par>
                                <p:cTn id="37" presetID="21" presetClass="entr" presetSubtype="1" fill="hold" grpId="0" nodeType="withEffect">
                                  <p:stCondLst>
                                    <p:cond delay="1000"/>
                                  </p:stCondLst>
                                  <p:childTnLst>
                                    <p:set>
                                      <p:cBhvr>
                                        <p:cTn id="38" dur="1" fill="hold">
                                          <p:stCondLst>
                                            <p:cond delay="0"/>
                                          </p:stCondLst>
                                        </p:cTn>
                                        <p:tgtEl>
                                          <p:spTgt spid="88"/>
                                        </p:tgtEl>
                                        <p:attrNameLst>
                                          <p:attrName>style.visibility</p:attrName>
                                        </p:attrNameLst>
                                      </p:cBhvr>
                                      <p:to>
                                        <p:strVal val="visible"/>
                                      </p:to>
                                    </p:set>
                                    <p:animEffect transition="in" filter="wheel(1)">
                                      <p:cBhvr>
                                        <p:cTn id="39" dur="1000"/>
                                        <p:tgtEl>
                                          <p:spTgt spid="88"/>
                                        </p:tgtEl>
                                      </p:cBhvr>
                                    </p:animEffect>
                                  </p:childTnLst>
                                </p:cTn>
                              </p:par>
                              <p:par>
                                <p:cTn id="40" presetID="47" presetClass="entr" presetSubtype="0" fill="hold" grpId="0" nodeType="withEffect">
                                  <p:stCondLst>
                                    <p:cond delay="2000"/>
                                  </p:stCondLst>
                                  <p:childTnLst>
                                    <p:set>
                                      <p:cBhvr>
                                        <p:cTn id="41" dur="1" fill="hold">
                                          <p:stCondLst>
                                            <p:cond delay="0"/>
                                          </p:stCondLst>
                                        </p:cTn>
                                        <p:tgtEl>
                                          <p:spTgt spid="94"/>
                                        </p:tgtEl>
                                        <p:attrNameLst>
                                          <p:attrName>style.visibility</p:attrName>
                                        </p:attrNameLst>
                                      </p:cBhvr>
                                      <p:to>
                                        <p:strVal val="visible"/>
                                      </p:to>
                                    </p:set>
                                    <p:animEffect transition="in" filter="fade">
                                      <p:cBhvr>
                                        <p:cTn id="42" dur="500"/>
                                        <p:tgtEl>
                                          <p:spTgt spid="94"/>
                                        </p:tgtEl>
                                      </p:cBhvr>
                                    </p:animEffect>
                                    <p:anim calcmode="lin" valueType="num">
                                      <p:cBhvr>
                                        <p:cTn id="43" dur="500" fill="hold"/>
                                        <p:tgtEl>
                                          <p:spTgt spid="94"/>
                                        </p:tgtEl>
                                        <p:attrNameLst>
                                          <p:attrName>ppt_x</p:attrName>
                                        </p:attrNameLst>
                                      </p:cBhvr>
                                      <p:tavLst>
                                        <p:tav tm="0">
                                          <p:val>
                                            <p:strVal val="#ppt_x"/>
                                          </p:val>
                                        </p:tav>
                                        <p:tav tm="100000">
                                          <p:val>
                                            <p:strVal val="#ppt_x"/>
                                          </p:val>
                                        </p:tav>
                                      </p:tavLst>
                                    </p:anim>
                                    <p:anim calcmode="lin" valueType="num">
                                      <p:cBhvr>
                                        <p:cTn id="44" dur="500" fill="hold"/>
                                        <p:tgtEl>
                                          <p:spTgt spid="94"/>
                                        </p:tgtEl>
                                        <p:attrNameLst>
                                          <p:attrName>ppt_y</p:attrName>
                                        </p:attrNameLst>
                                      </p:cBhvr>
                                      <p:tavLst>
                                        <p:tav tm="0">
                                          <p:val>
                                            <p:strVal val="#ppt_y-.1"/>
                                          </p:val>
                                        </p:tav>
                                        <p:tav tm="100000">
                                          <p:val>
                                            <p:strVal val="#ppt_y"/>
                                          </p:val>
                                        </p:tav>
                                      </p:tavLst>
                                    </p:anim>
                                  </p:childTnLst>
                                </p:cTn>
                              </p:par>
                              <p:par>
                                <p:cTn id="45" presetID="21" presetClass="entr" presetSubtype="1" fill="hold" grpId="0" nodeType="withEffect">
                                  <p:stCondLst>
                                    <p:cond delay="1500"/>
                                  </p:stCondLst>
                                  <p:childTnLst>
                                    <p:set>
                                      <p:cBhvr>
                                        <p:cTn id="46" dur="1" fill="hold">
                                          <p:stCondLst>
                                            <p:cond delay="0"/>
                                          </p:stCondLst>
                                        </p:cTn>
                                        <p:tgtEl>
                                          <p:spTgt spid="85"/>
                                        </p:tgtEl>
                                        <p:attrNameLst>
                                          <p:attrName>style.visibility</p:attrName>
                                        </p:attrNameLst>
                                      </p:cBhvr>
                                      <p:to>
                                        <p:strVal val="visible"/>
                                      </p:to>
                                    </p:set>
                                    <p:animEffect transition="in" filter="wheel(1)">
                                      <p:cBhvr>
                                        <p:cTn id="47" dur="1000"/>
                                        <p:tgtEl>
                                          <p:spTgt spid="85"/>
                                        </p:tgtEl>
                                      </p:cBhvr>
                                    </p:animEffect>
                                  </p:childTnLst>
                                </p:cTn>
                              </p:par>
                              <p:par>
                                <p:cTn id="48" presetID="21" presetClass="entr" presetSubtype="1" fill="hold" grpId="0" nodeType="withEffect">
                                  <p:stCondLst>
                                    <p:cond delay="1500"/>
                                  </p:stCondLst>
                                  <p:childTnLst>
                                    <p:set>
                                      <p:cBhvr>
                                        <p:cTn id="49" dur="1" fill="hold">
                                          <p:stCondLst>
                                            <p:cond delay="0"/>
                                          </p:stCondLst>
                                        </p:cTn>
                                        <p:tgtEl>
                                          <p:spTgt spid="89"/>
                                        </p:tgtEl>
                                        <p:attrNameLst>
                                          <p:attrName>style.visibility</p:attrName>
                                        </p:attrNameLst>
                                      </p:cBhvr>
                                      <p:to>
                                        <p:strVal val="visible"/>
                                      </p:to>
                                    </p:set>
                                    <p:animEffect transition="in" filter="wheel(1)">
                                      <p:cBhvr>
                                        <p:cTn id="50" dur="1000"/>
                                        <p:tgtEl>
                                          <p:spTgt spid="89"/>
                                        </p:tgtEl>
                                      </p:cBhvr>
                                    </p:animEffect>
                                  </p:childTnLst>
                                </p:cTn>
                              </p:par>
                              <p:par>
                                <p:cTn id="51" presetID="47" presetClass="entr" presetSubtype="0" fill="hold" grpId="0" nodeType="withEffect">
                                  <p:stCondLst>
                                    <p:cond delay="2500"/>
                                  </p:stCondLst>
                                  <p:childTnLst>
                                    <p:set>
                                      <p:cBhvr>
                                        <p:cTn id="52" dur="1" fill="hold">
                                          <p:stCondLst>
                                            <p:cond delay="0"/>
                                          </p:stCondLst>
                                        </p:cTn>
                                        <p:tgtEl>
                                          <p:spTgt spid="95"/>
                                        </p:tgtEl>
                                        <p:attrNameLst>
                                          <p:attrName>style.visibility</p:attrName>
                                        </p:attrNameLst>
                                      </p:cBhvr>
                                      <p:to>
                                        <p:strVal val="visible"/>
                                      </p:to>
                                    </p:set>
                                    <p:animEffect transition="in" filter="fade">
                                      <p:cBhvr>
                                        <p:cTn id="53" dur="500"/>
                                        <p:tgtEl>
                                          <p:spTgt spid="95"/>
                                        </p:tgtEl>
                                      </p:cBhvr>
                                    </p:animEffect>
                                    <p:anim calcmode="lin" valueType="num">
                                      <p:cBhvr>
                                        <p:cTn id="54" dur="500" fill="hold"/>
                                        <p:tgtEl>
                                          <p:spTgt spid="95"/>
                                        </p:tgtEl>
                                        <p:attrNameLst>
                                          <p:attrName>ppt_x</p:attrName>
                                        </p:attrNameLst>
                                      </p:cBhvr>
                                      <p:tavLst>
                                        <p:tav tm="0">
                                          <p:val>
                                            <p:strVal val="#ppt_x"/>
                                          </p:val>
                                        </p:tav>
                                        <p:tav tm="100000">
                                          <p:val>
                                            <p:strVal val="#ppt_x"/>
                                          </p:val>
                                        </p:tav>
                                      </p:tavLst>
                                    </p:anim>
                                    <p:anim calcmode="lin" valueType="num">
                                      <p:cBhvr>
                                        <p:cTn id="55" dur="500" fill="hold"/>
                                        <p:tgtEl>
                                          <p:spTgt spid="9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70" grpId="0" animBg="1"/>
      <p:bldP spid="72" grpId="0" animBg="1"/>
      <p:bldP spid="85" grpId="0" animBg="1"/>
      <p:bldP spid="86" grpId="0" animBg="1"/>
      <p:bldP spid="87" grpId="0" animBg="1"/>
      <p:bldP spid="88" grpId="0" animBg="1"/>
      <p:bldP spid="89" grpId="0" animBg="1"/>
      <p:bldP spid="91" grpId="0"/>
      <p:bldP spid="93" grpId="0"/>
      <p:bldP spid="94" grpId="0"/>
      <p:bldP spid="95" grpId="0"/>
      <p:bldP spid="20" grpId="0" animBg="1"/>
      <p:bldP spid="21"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矩形 33" hidden="1"/>
          <p:cNvSpPr/>
          <p:nvPr/>
        </p:nvSpPr>
        <p:spPr>
          <a:xfrm>
            <a:off x="2584817" y="2133288"/>
            <a:ext cx="936104" cy="6551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smtClean="0">
                <a:solidFill>
                  <a:srgbClr val="B0F533"/>
                </a:solidFill>
                <a:latin typeface="Gill Sans MT Pro Light" pitchFamily="34" charset="0"/>
              </a:rPr>
              <a:t>1</a:t>
            </a:r>
            <a:endParaRPr lang="zh-CN" altLang="en-US" sz="3600">
              <a:solidFill>
                <a:srgbClr val="B0F533"/>
              </a:solidFill>
              <a:latin typeface="Gill Sans MT Pro Light" pitchFamily="34" charset="0"/>
            </a:endParaRPr>
          </a:p>
        </p:txBody>
      </p:sp>
      <p:sp>
        <p:nvSpPr>
          <p:cNvPr id="35" name="矩形 34" hidden="1"/>
          <p:cNvSpPr/>
          <p:nvPr/>
        </p:nvSpPr>
        <p:spPr>
          <a:xfrm>
            <a:off x="3621305" y="2133288"/>
            <a:ext cx="5984291" cy="655104"/>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smtClean="0">
                <a:latin typeface="华文黑体" pitchFamily="2" charset="-122"/>
                <a:ea typeface="华文黑体" pitchFamily="2" charset="-122"/>
                <a:cs typeface="华文黑体" pitchFamily="2" charset="-122"/>
              </a:rPr>
              <a:t>                     点击添加标题</a:t>
            </a:r>
            <a:endParaRPr lang="zh-CN" altLang="en-US" sz="2800">
              <a:latin typeface="华文黑体" pitchFamily="2" charset="-122"/>
              <a:ea typeface="华文黑体" pitchFamily="2" charset="-122"/>
              <a:cs typeface="华文黑体" pitchFamily="2" charset="-122"/>
            </a:endParaRPr>
          </a:p>
        </p:txBody>
      </p:sp>
      <p:pic>
        <p:nvPicPr>
          <p:cNvPr id="1026" name="Picture 2" descr="D:\360data\重要数据\桌面\168831138.jpg"/>
          <p:cNvPicPr>
            <a:picLocks noChangeAspect="1" noChangeArrowheads="1"/>
          </p:cNvPicPr>
          <p:nvPr/>
        </p:nvPicPr>
        <p:blipFill>
          <a:blip r:embed="rId1" cstate="print">
            <a:extLst>
              <a:ext uri="{28A0092B-C50C-407E-A947-70E740481C1C}">
                <a14:useLocalDpi xmlns:a14="http://schemas.microsoft.com/office/drawing/2010/main" val="0"/>
              </a:ext>
            </a:extLst>
          </a:blip>
          <a:srcRect/>
          <a:stretch>
            <a:fillRect/>
          </a:stretch>
        </p:blipFill>
        <p:spPr bwMode="auto">
          <a:xfrm>
            <a:off x="1054646" y="1844824"/>
            <a:ext cx="5063836" cy="3377133"/>
          </a:xfrm>
          <a:prstGeom prst="rect">
            <a:avLst/>
          </a:prstGeom>
          <a:noFill/>
          <a:effectLst>
            <a:reflection blurRad="6350" stA="30000" endPos="35000" dir="5400000" sy="-100000" algn="bl" rotWithShape="0"/>
          </a:effectLst>
          <a:extLst>
            <a:ext uri="{909E8E84-426E-40DD-AFC4-6F175D3DCCD1}">
              <a14:hiddenFill xmlns:a14="http://schemas.microsoft.com/office/drawing/2010/main">
                <a:solidFill>
                  <a:srgbClr val="FFFFFF"/>
                </a:solidFill>
              </a14:hiddenFill>
            </a:ext>
          </a:extLst>
        </p:spPr>
      </p:pic>
      <p:sp>
        <p:nvSpPr>
          <p:cNvPr id="21" name="TextBox 20"/>
          <p:cNvSpPr txBox="1"/>
          <p:nvPr/>
        </p:nvSpPr>
        <p:spPr>
          <a:xfrm>
            <a:off x="6815286" y="2132856"/>
            <a:ext cx="4320480" cy="1446550"/>
          </a:xfrm>
          <a:prstGeom prst="rect">
            <a:avLst/>
          </a:prstGeom>
          <a:noFill/>
        </p:spPr>
        <p:txBody>
          <a:bodyPr wrap="square" rtlCol="0">
            <a:spAutoFit/>
          </a:bodyPr>
          <a:lstStyle/>
          <a:p>
            <a:r>
              <a:rPr lang="zh-CN" altLang="en-US" sz="2400" dirty="0" smtClean="0">
                <a:solidFill>
                  <a:schemeClr val="bg1"/>
                </a:solidFill>
                <a:latin typeface="华文黑体" pitchFamily="2" charset="-122"/>
                <a:ea typeface="华文黑体" pitchFamily="2" charset="-122"/>
                <a:cs typeface="华文黑体" pitchFamily="2" charset="-122"/>
              </a:rPr>
              <a:t>单击添加标题</a:t>
            </a:r>
            <a:endParaRPr lang="en-US" altLang="zh-CN" sz="2400" dirty="0" smtClean="0">
              <a:solidFill>
                <a:schemeClr val="bg1"/>
              </a:solidFill>
              <a:latin typeface="华文黑体" pitchFamily="2" charset="-122"/>
              <a:ea typeface="华文黑体" pitchFamily="2" charset="-122"/>
              <a:cs typeface="华文黑体" pitchFamily="2" charset="-122"/>
            </a:endParaRPr>
          </a:p>
          <a:p>
            <a:endParaRPr lang="en-US" altLang="zh-CN" sz="1000" dirty="0" smtClean="0">
              <a:solidFill>
                <a:schemeClr val="bg1"/>
              </a:solidFill>
              <a:latin typeface="华文黑体" pitchFamily="2" charset="-122"/>
              <a:ea typeface="华文黑体" pitchFamily="2" charset="-122"/>
              <a:cs typeface="华文黑体" pitchFamily="2" charset="-122"/>
            </a:endParaRPr>
          </a:p>
          <a:p>
            <a:r>
              <a:rPr lang="zh-CN" altLang="en-US" dirty="0" smtClean="0">
                <a:solidFill>
                  <a:schemeClr val="bg1"/>
                </a:solidFill>
                <a:latin typeface="华文细黑" panose="02010600040101010101" pitchFamily="2" charset="-122"/>
                <a:ea typeface="华文细黑" panose="02010600040101010101" pitchFamily="2" charset="-122"/>
                <a:cs typeface="华文黑体" pitchFamily="2" charset="-122"/>
              </a:rPr>
              <a:t>单击添加文本单击添加文本单击添加文本单击添加文本单击</a:t>
            </a:r>
            <a:r>
              <a:rPr lang="zh-CN" altLang="en-US" dirty="0">
                <a:solidFill>
                  <a:schemeClr val="bg1"/>
                </a:solidFill>
                <a:latin typeface="华文细黑" panose="02010600040101010101" pitchFamily="2" charset="-122"/>
                <a:ea typeface="华文细黑" panose="02010600040101010101" pitchFamily="2" charset="-122"/>
                <a:cs typeface="华文黑体" pitchFamily="2" charset="-122"/>
              </a:rPr>
              <a:t>添加</a:t>
            </a:r>
            <a:r>
              <a:rPr lang="zh-CN" altLang="en-US" dirty="0" smtClean="0">
                <a:solidFill>
                  <a:schemeClr val="bg1"/>
                </a:solidFill>
                <a:latin typeface="华文细黑" panose="02010600040101010101" pitchFamily="2" charset="-122"/>
                <a:ea typeface="华文细黑" panose="02010600040101010101" pitchFamily="2" charset="-122"/>
                <a:cs typeface="华文黑体" pitchFamily="2" charset="-122"/>
              </a:rPr>
              <a:t>文本单击</a:t>
            </a:r>
            <a:endParaRPr lang="en-US" altLang="zh-CN" dirty="0" smtClean="0">
              <a:solidFill>
                <a:schemeClr val="bg1"/>
              </a:solidFill>
              <a:latin typeface="华文细黑" panose="02010600040101010101" pitchFamily="2" charset="-122"/>
              <a:ea typeface="华文细黑" panose="02010600040101010101" pitchFamily="2" charset="-122"/>
              <a:cs typeface="华文黑体" pitchFamily="2" charset="-122"/>
            </a:endParaRPr>
          </a:p>
          <a:p>
            <a:r>
              <a:rPr lang="zh-CN" altLang="en-US" dirty="0">
                <a:solidFill>
                  <a:schemeClr val="bg1"/>
                </a:solidFill>
                <a:latin typeface="华文细黑" panose="02010600040101010101" pitchFamily="2" charset="-122"/>
                <a:ea typeface="华文细黑" panose="02010600040101010101" pitchFamily="2" charset="-122"/>
                <a:cs typeface="华文黑体" pitchFamily="2" charset="-122"/>
              </a:rPr>
              <a:t>添加文本单击添加文本单击添加文本</a:t>
            </a:r>
            <a:endParaRPr lang="zh-CN" altLang="en-US" dirty="0">
              <a:solidFill>
                <a:schemeClr val="bg1"/>
              </a:solidFill>
              <a:latin typeface="华文细黑" panose="02010600040101010101" pitchFamily="2" charset="-122"/>
              <a:ea typeface="华文细黑" panose="02010600040101010101" pitchFamily="2" charset="-122"/>
              <a:cs typeface="华文黑体" pitchFamily="2" charset="-122"/>
            </a:endParaRPr>
          </a:p>
        </p:txBody>
      </p:sp>
      <p:grpSp>
        <p:nvGrpSpPr>
          <p:cNvPr id="16" name="组合 15"/>
          <p:cNvGrpSpPr/>
          <p:nvPr/>
        </p:nvGrpSpPr>
        <p:grpSpPr>
          <a:xfrm>
            <a:off x="6959302" y="4162137"/>
            <a:ext cx="1945667" cy="369332"/>
            <a:chOff x="6959302" y="4680827"/>
            <a:chExt cx="1945667" cy="369332"/>
          </a:xfrm>
        </p:grpSpPr>
        <p:grpSp>
          <p:nvGrpSpPr>
            <p:cNvPr id="7" name="组合 6"/>
            <p:cNvGrpSpPr/>
            <p:nvPr/>
          </p:nvGrpSpPr>
          <p:grpSpPr>
            <a:xfrm>
              <a:off x="6959302" y="4709580"/>
              <a:ext cx="497646" cy="340579"/>
              <a:chOff x="8183438" y="4293096"/>
              <a:chExt cx="720080" cy="492809"/>
            </a:xfrm>
          </p:grpSpPr>
          <p:sp>
            <p:nvSpPr>
              <p:cNvPr id="26" name="Freeform 83"/>
              <p:cNvSpPr>
                <a:spLocks noEditPoints="1"/>
              </p:cNvSpPr>
              <p:nvPr/>
            </p:nvSpPr>
            <p:spPr bwMode="auto">
              <a:xfrm>
                <a:off x="8299924" y="4350201"/>
                <a:ext cx="487109" cy="378598"/>
              </a:xfrm>
              <a:custGeom>
                <a:avLst/>
                <a:gdLst>
                  <a:gd name="T0" fmla="*/ 339 w 413"/>
                  <a:gd name="T1" fmla="*/ 41 h 321"/>
                  <a:gd name="T2" fmla="*/ 280 w 413"/>
                  <a:gd name="T3" fmla="*/ 41 h 321"/>
                  <a:gd name="T4" fmla="*/ 280 w 413"/>
                  <a:gd name="T5" fmla="*/ 8 h 321"/>
                  <a:gd name="T6" fmla="*/ 273 w 413"/>
                  <a:gd name="T7" fmla="*/ 0 h 321"/>
                  <a:gd name="T8" fmla="*/ 140 w 413"/>
                  <a:gd name="T9" fmla="*/ 0 h 321"/>
                  <a:gd name="T10" fmla="*/ 132 w 413"/>
                  <a:gd name="T11" fmla="*/ 8 h 321"/>
                  <a:gd name="T12" fmla="*/ 132 w 413"/>
                  <a:gd name="T13" fmla="*/ 41 h 321"/>
                  <a:gd name="T14" fmla="*/ 73 w 413"/>
                  <a:gd name="T15" fmla="*/ 41 h 321"/>
                  <a:gd name="T16" fmla="*/ 0 w 413"/>
                  <a:gd name="T17" fmla="*/ 115 h 321"/>
                  <a:gd name="T18" fmla="*/ 0 w 413"/>
                  <a:gd name="T19" fmla="*/ 247 h 321"/>
                  <a:gd name="T20" fmla="*/ 73 w 413"/>
                  <a:gd name="T21" fmla="*/ 321 h 321"/>
                  <a:gd name="T22" fmla="*/ 339 w 413"/>
                  <a:gd name="T23" fmla="*/ 321 h 321"/>
                  <a:gd name="T24" fmla="*/ 413 w 413"/>
                  <a:gd name="T25" fmla="*/ 247 h 321"/>
                  <a:gd name="T26" fmla="*/ 413 w 413"/>
                  <a:gd name="T27" fmla="*/ 115 h 321"/>
                  <a:gd name="T28" fmla="*/ 339 w 413"/>
                  <a:gd name="T29" fmla="*/ 41 h 321"/>
                  <a:gd name="T30" fmla="*/ 81 w 413"/>
                  <a:gd name="T31" fmla="*/ 56 h 321"/>
                  <a:gd name="T32" fmla="*/ 332 w 413"/>
                  <a:gd name="T33" fmla="*/ 56 h 321"/>
                  <a:gd name="T34" fmla="*/ 332 w 413"/>
                  <a:gd name="T35" fmla="*/ 306 h 321"/>
                  <a:gd name="T36" fmla="*/ 81 w 413"/>
                  <a:gd name="T37" fmla="*/ 306 h 321"/>
                  <a:gd name="T38" fmla="*/ 81 w 413"/>
                  <a:gd name="T39" fmla="*/ 56 h 321"/>
                  <a:gd name="T40" fmla="*/ 147 w 413"/>
                  <a:gd name="T41" fmla="*/ 15 h 321"/>
                  <a:gd name="T42" fmla="*/ 265 w 413"/>
                  <a:gd name="T43" fmla="*/ 15 h 321"/>
                  <a:gd name="T44" fmla="*/ 265 w 413"/>
                  <a:gd name="T45" fmla="*/ 41 h 321"/>
                  <a:gd name="T46" fmla="*/ 147 w 413"/>
                  <a:gd name="T47" fmla="*/ 41 h 321"/>
                  <a:gd name="T48" fmla="*/ 147 w 413"/>
                  <a:gd name="T49" fmla="*/ 15 h 321"/>
                  <a:gd name="T50" fmla="*/ 14 w 413"/>
                  <a:gd name="T51" fmla="*/ 247 h 321"/>
                  <a:gd name="T52" fmla="*/ 14 w 413"/>
                  <a:gd name="T53" fmla="*/ 115 h 321"/>
                  <a:gd name="T54" fmla="*/ 66 w 413"/>
                  <a:gd name="T55" fmla="*/ 56 h 321"/>
                  <a:gd name="T56" fmla="*/ 66 w 413"/>
                  <a:gd name="T57" fmla="*/ 305 h 321"/>
                  <a:gd name="T58" fmla="*/ 14 w 413"/>
                  <a:gd name="T59" fmla="*/ 247 h 321"/>
                  <a:gd name="T60" fmla="*/ 398 w 413"/>
                  <a:gd name="T61" fmla="*/ 247 h 321"/>
                  <a:gd name="T62" fmla="*/ 347 w 413"/>
                  <a:gd name="T63" fmla="*/ 305 h 321"/>
                  <a:gd name="T64" fmla="*/ 347 w 413"/>
                  <a:gd name="T65" fmla="*/ 56 h 321"/>
                  <a:gd name="T66" fmla="*/ 398 w 413"/>
                  <a:gd name="T67" fmla="*/ 115 h 321"/>
                  <a:gd name="T68" fmla="*/ 398 w 413"/>
                  <a:gd name="T69" fmla="*/ 247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13" h="321">
                    <a:moveTo>
                      <a:pt x="339" y="41"/>
                    </a:moveTo>
                    <a:cubicBezTo>
                      <a:pt x="280" y="41"/>
                      <a:pt x="280" y="41"/>
                      <a:pt x="280" y="41"/>
                    </a:cubicBezTo>
                    <a:cubicBezTo>
                      <a:pt x="280" y="8"/>
                      <a:pt x="280" y="8"/>
                      <a:pt x="280" y="8"/>
                    </a:cubicBezTo>
                    <a:cubicBezTo>
                      <a:pt x="280" y="4"/>
                      <a:pt x="277" y="0"/>
                      <a:pt x="273" y="0"/>
                    </a:cubicBezTo>
                    <a:cubicBezTo>
                      <a:pt x="140" y="0"/>
                      <a:pt x="140" y="0"/>
                      <a:pt x="140" y="0"/>
                    </a:cubicBezTo>
                    <a:cubicBezTo>
                      <a:pt x="136" y="0"/>
                      <a:pt x="132" y="4"/>
                      <a:pt x="132" y="8"/>
                    </a:cubicBezTo>
                    <a:cubicBezTo>
                      <a:pt x="132" y="41"/>
                      <a:pt x="132" y="41"/>
                      <a:pt x="132" y="41"/>
                    </a:cubicBezTo>
                    <a:cubicBezTo>
                      <a:pt x="73" y="41"/>
                      <a:pt x="73" y="41"/>
                      <a:pt x="73" y="41"/>
                    </a:cubicBezTo>
                    <a:cubicBezTo>
                      <a:pt x="33" y="41"/>
                      <a:pt x="0" y="74"/>
                      <a:pt x="0" y="115"/>
                    </a:cubicBezTo>
                    <a:cubicBezTo>
                      <a:pt x="0" y="247"/>
                      <a:pt x="0" y="247"/>
                      <a:pt x="0" y="247"/>
                    </a:cubicBezTo>
                    <a:cubicBezTo>
                      <a:pt x="0" y="288"/>
                      <a:pt x="33" y="321"/>
                      <a:pt x="73" y="321"/>
                    </a:cubicBezTo>
                    <a:cubicBezTo>
                      <a:pt x="339" y="321"/>
                      <a:pt x="339" y="321"/>
                      <a:pt x="339" y="321"/>
                    </a:cubicBezTo>
                    <a:cubicBezTo>
                      <a:pt x="380" y="321"/>
                      <a:pt x="413" y="288"/>
                      <a:pt x="413" y="247"/>
                    </a:cubicBezTo>
                    <a:cubicBezTo>
                      <a:pt x="413" y="115"/>
                      <a:pt x="413" y="115"/>
                      <a:pt x="413" y="115"/>
                    </a:cubicBezTo>
                    <a:cubicBezTo>
                      <a:pt x="413" y="74"/>
                      <a:pt x="380" y="41"/>
                      <a:pt x="339" y="41"/>
                    </a:cubicBezTo>
                    <a:close/>
                    <a:moveTo>
                      <a:pt x="81" y="56"/>
                    </a:moveTo>
                    <a:cubicBezTo>
                      <a:pt x="332" y="56"/>
                      <a:pt x="332" y="56"/>
                      <a:pt x="332" y="56"/>
                    </a:cubicBezTo>
                    <a:cubicBezTo>
                      <a:pt x="332" y="306"/>
                      <a:pt x="332" y="306"/>
                      <a:pt x="332" y="306"/>
                    </a:cubicBezTo>
                    <a:cubicBezTo>
                      <a:pt x="81" y="306"/>
                      <a:pt x="81" y="306"/>
                      <a:pt x="81" y="306"/>
                    </a:cubicBezTo>
                    <a:lnTo>
                      <a:pt x="81" y="56"/>
                    </a:lnTo>
                    <a:close/>
                    <a:moveTo>
                      <a:pt x="147" y="15"/>
                    </a:moveTo>
                    <a:cubicBezTo>
                      <a:pt x="265" y="15"/>
                      <a:pt x="265" y="15"/>
                      <a:pt x="265" y="15"/>
                    </a:cubicBezTo>
                    <a:cubicBezTo>
                      <a:pt x="265" y="41"/>
                      <a:pt x="265" y="41"/>
                      <a:pt x="265" y="41"/>
                    </a:cubicBezTo>
                    <a:cubicBezTo>
                      <a:pt x="147" y="41"/>
                      <a:pt x="147" y="41"/>
                      <a:pt x="147" y="41"/>
                    </a:cubicBezTo>
                    <a:lnTo>
                      <a:pt x="147" y="15"/>
                    </a:lnTo>
                    <a:close/>
                    <a:moveTo>
                      <a:pt x="14" y="247"/>
                    </a:moveTo>
                    <a:cubicBezTo>
                      <a:pt x="14" y="115"/>
                      <a:pt x="14" y="115"/>
                      <a:pt x="14" y="115"/>
                    </a:cubicBezTo>
                    <a:cubicBezTo>
                      <a:pt x="14" y="85"/>
                      <a:pt x="37" y="60"/>
                      <a:pt x="66" y="56"/>
                    </a:cubicBezTo>
                    <a:cubicBezTo>
                      <a:pt x="66" y="305"/>
                      <a:pt x="66" y="305"/>
                      <a:pt x="66" y="305"/>
                    </a:cubicBezTo>
                    <a:cubicBezTo>
                      <a:pt x="37" y="302"/>
                      <a:pt x="14" y="277"/>
                      <a:pt x="14" y="247"/>
                    </a:cubicBezTo>
                    <a:close/>
                    <a:moveTo>
                      <a:pt x="398" y="247"/>
                    </a:moveTo>
                    <a:cubicBezTo>
                      <a:pt x="398" y="277"/>
                      <a:pt x="376" y="302"/>
                      <a:pt x="347" y="305"/>
                    </a:cubicBezTo>
                    <a:cubicBezTo>
                      <a:pt x="347" y="56"/>
                      <a:pt x="347" y="56"/>
                      <a:pt x="347" y="56"/>
                    </a:cubicBezTo>
                    <a:cubicBezTo>
                      <a:pt x="376" y="60"/>
                      <a:pt x="398" y="85"/>
                      <a:pt x="398" y="115"/>
                    </a:cubicBezTo>
                    <a:lnTo>
                      <a:pt x="398" y="247"/>
                    </a:lnTo>
                    <a:close/>
                  </a:path>
                </a:pathLst>
              </a:custGeom>
              <a:solidFill>
                <a:schemeClr val="bg1"/>
              </a:solidFill>
              <a:ln>
                <a:noFill/>
              </a:ln>
            </p:spPr>
            <p:txBody>
              <a:bodyPr vert="horz" wrap="square" lIns="68571" tIns="34286" rIns="68571" bIns="34286" numCol="1" anchor="t" anchorCtr="0" compatLnSpc="1"/>
              <a:lstStyle/>
              <a:p>
                <a:endParaRPr lang="en-US"/>
              </a:p>
            </p:txBody>
          </p:sp>
          <p:sp>
            <p:nvSpPr>
              <p:cNvPr id="28" name="圆角矩形 27"/>
              <p:cNvSpPr/>
              <p:nvPr/>
            </p:nvSpPr>
            <p:spPr>
              <a:xfrm>
                <a:off x="8183438" y="4293096"/>
                <a:ext cx="720080" cy="492809"/>
              </a:xfrm>
              <a:prstGeom prst="roundRect">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10" name="TextBox 9"/>
            <p:cNvSpPr txBox="1"/>
            <p:nvPr/>
          </p:nvSpPr>
          <p:spPr>
            <a:xfrm>
              <a:off x="7489197" y="4680827"/>
              <a:ext cx="1415772" cy="338554"/>
            </a:xfrm>
            <a:prstGeom prst="rect">
              <a:avLst/>
            </a:prstGeom>
            <a:noFill/>
          </p:spPr>
          <p:txBody>
            <a:bodyPr wrap="none" rtlCol="0">
              <a:spAutoFit/>
            </a:bodyPr>
            <a:lstStyle/>
            <a:p>
              <a:r>
                <a:rPr lang="zh-CN" altLang="en-US" sz="1600" smtClean="0">
                  <a:solidFill>
                    <a:schemeClr val="bg1"/>
                  </a:solidFill>
                  <a:latin typeface="华文细黑" panose="02010600040101010101" pitchFamily="2" charset="-122"/>
                  <a:ea typeface="华文细黑" panose="02010600040101010101" pitchFamily="2" charset="-122"/>
                </a:rPr>
                <a:t>点击添加标题</a:t>
              </a:r>
              <a:endParaRPr lang="zh-CN" altLang="en-US" sz="1600">
                <a:solidFill>
                  <a:schemeClr val="bg1"/>
                </a:solidFill>
                <a:latin typeface="华文细黑" panose="02010600040101010101" pitchFamily="2" charset="-122"/>
                <a:ea typeface="华文细黑" panose="02010600040101010101" pitchFamily="2" charset="-122"/>
              </a:endParaRPr>
            </a:p>
          </p:txBody>
        </p:sp>
      </p:grpSp>
      <p:grpSp>
        <p:nvGrpSpPr>
          <p:cNvPr id="13" name="组合 12"/>
          <p:cNvGrpSpPr/>
          <p:nvPr/>
        </p:nvGrpSpPr>
        <p:grpSpPr>
          <a:xfrm>
            <a:off x="9263558" y="4162137"/>
            <a:ext cx="1913418" cy="369332"/>
            <a:chOff x="9263558" y="4680827"/>
            <a:chExt cx="1913418" cy="369332"/>
          </a:xfrm>
        </p:grpSpPr>
        <p:grpSp>
          <p:nvGrpSpPr>
            <p:cNvPr id="9" name="组合 8"/>
            <p:cNvGrpSpPr/>
            <p:nvPr/>
          </p:nvGrpSpPr>
          <p:grpSpPr>
            <a:xfrm>
              <a:off x="9263558" y="4709580"/>
              <a:ext cx="497646" cy="340579"/>
              <a:chOff x="9278713" y="5445224"/>
              <a:chExt cx="720080" cy="492809"/>
            </a:xfrm>
          </p:grpSpPr>
          <p:sp>
            <p:nvSpPr>
              <p:cNvPr id="24" name="Freeform 78"/>
              <p:cNvSpPr>
                <a:spLocks noEditPoints="1"/>
              </p:cNvSpPr>
              <p:nvPr/>
            </p:nvSpPr>
            <p:spPr bwMode="auto">
              <a:xfrm>
                <a:off x="9433918" y="5486846"/>
                <a:ext cx="409671" cy="409565"/>
              </a:xfrm>
              <a:custGeom>
                <a:avLst/>
                <a:gdLst>
                  <a:gd name="T0" fmla="*/ 174 w 347"/>
                  <a:gd name="T1" fmla="*/ 0 h 347"/>
                  <a:gd name="T2" fmla="*/ 0 w 347"/>
                  <a:gd name="T3" fmla="*/ 174 h 347"/>
                  <a:gd name="T4" fmla="*/ 174 w 347"/>
                  <a:gd name="T5" fmla="*/ 347 h 347"/>
                  <a:gd name="T6" fmla="*/ 347 w 347"/>
                  <a:gd name="T7" fmla="*/ 174 h 347"/>
                  <a:gd name="T8" fmla="*/ 174 w 347"/>
                  <a:gd name="T9" fmla="*/ 0 h 347"/>
                  <a:gd name="T10" fmla="*/ 332 w 347"/>
                  <a:gd name="T11" fmla="*/ 166 h 347"/>
                  <a:gd name="T12" fmla="*/ 283 w 347"/>
                  <a:gd name="T13" fmla="*/ 166 h 347"/>
                  <a:gd name="T14" fmla="*/ 231 w 347"/>
                  <a:gd name="T15" fmla="*/ 26 h 347"/>
                  <a:gd name="T16" fmla="*/ 332 w 347"/>
                  <a:gd name="T17" fmla="*/ 166 h 347"/>
                  <a:gd name="T18" fmla="*/ 174 w 347"/>
                  <a:gd name="T19" fmla="*/ 332 h 347"/>
                  <a:gd name="T20" fmla="*/ 147 w 347"/>
                  <a:gd name="T21" fmla="*/ 181 h 347"/>
                  <a:gd name="T22" fmla="*/ 200 w 347"/>
                  <a:gd name="T23" fmla="*/ 181 h 347"/>
                  <a:gd name="T24" fmla="*/ 174 w 347"/>
                  <a:gd name="T25" fmla="*/ 332 h 347"/>
                  <a:gd name="T26" fmla="*/ 147 w 347"/>
                  <a:gd name="T27" fmla="*/ 166 h 347"/>
                  <a:gd name="T28" fmla="*/ 174 w 347"/>
                  <a:gd name="T29" fmla="*/ 15 h 347"/>
                  <a:gd name="T30" fmla="*/ 174 w 347"/>
                  <a:gd name="T31" fmla="*/ 15 h 347"/>
                  <a:gd name="T32" fmla="*/ 200 w 347"/>
                  <a:gd name="T33" fmla="*/ 166 h 347"/>
                  <a:gd name="T34" fmla="*/ 147 w 347"/>
                  <a:gd name="T35" fmla="*/ 166 h 347"/>
                  <a:gd name="T36" fmla="*/ 153 w 347"/>
                  <a:gd name="T37" fmla="*/ 19 h 347"/>
                  <a:gd name="T38" fmla="*/ 133 w 347"/>
                  <a:gd name="T39" fmla="*/ 166 h 347"/>
                  <a:gd name="T40" fmla="*/ 79 w 347"/>
                  <a:gd name="T41" fmla="*/ 166 h 347"/>
                  <a:gd name="T42" fmla="*/ 153 w 347"/>
                  <a:gd name="T43" fmla="*/ 19 h 347"/>
                  <a:gd name="T44" fmla="*/ 133 w 347"/>
                  <a:gd name="T45" fmla="*/ 181 h 347"/>
                  <a:gd name="T46" fmla="*/ 153 w 347"/>
                  <a:gd name="T47" fmla="*/ 329 h 347"/>
                  <a:gd name="T48" fmla="*/ 79 w 347"/>
                  <a:gd name="T49" fmla="*/ 181 h 347"/>
                  <a:gd name="T50" fmla="*/ 133 w 347"/>
                  <a:gd name="T51" fmla="*/ 181 h 347"/>
                  <a:gd name="T52" fmla="*/ 194 w 347"/>
                  <a:gd name="T53" fmla="*/ 329 h 347"/>
                  <a:gd name="T54" fmla="*/ 215 w 347"/>
                  <a:gd name="T55" fmla="*/ 181 h 347"/>
                  <a:gd name="T56" fmla="*/ 268 w 347"/>
                  <a:gd name="T57" fmla="*/ 181 h 347"/>
                  <a:gd name="T58" fmla="*/ 194 w 347"/>
                  <a:gd name="T59" fmla="*/ 329 h 347"/>
                  <a:gd name="T60" fmla="*/ 215 w 347"/>
                  <a:gd name="T61" fmla="*/ 166 h 347"/>
                  <a:gd name="T62" fmla="*/ 194 w 347"/>
                  <a:gd name="T63" fmla="*/ 19 h 347"/>
                  <a:gd name="T64" fmla="*/ 268 w 347"/>
                  <a:gd name="T65" fmla="*/ 166 h 347"/>
                  <a:gd name="T66" fmla="*/ 215 w 347"/>
                  <a:gd name="T67" fmla="*/ 166 h 347"/>
                  <a:gd name="T68" fmla="*/ 117 w 347"/>
                  <a:gd name="T69" fmla="*/ 26 h 347"/>
                  <a:gd name="T70" fmla="*/ 64 w 347"/>
                  <a:gd name="T71" fmla="*/ 166 h 347"/>
                  <a:gd name="T72" fmla="*/ 15 w 347"/>
                  <a:gd name="T73" fmla="*/ 166 h 347"/>
                  <a:gd name="T74" fmla="*/ 117 w 347"/>
                  <a:gd name="T75" fmla="*/ 26 h 347"/>
                  <a:gd name="T76" fmla="*/ 15 w 347"/>
                  <a:gd name="T77" fmla="*/ 181 h 347"/>
                  <a:gd name="T78" fmla="*/ 64 w 347"/>
                  <a:gd name="T79" fmla="*/ 181 h 347"/>
                  <a:gd name="T80" fmla="*/ 117 w 347"/>
                  <a:gd name="T81" fmla="*/ 322 h 347"/>
                  <a:gd name="T82" fmla="*/ 15 w 347"/>
                  <a:gd name="T83" fmla="*/ 181 h 347"/>
                  <a:gd name="T84" fmla="*/ 231 w 347"/>
                  <a:gd name="T85" fmla="*/ 322 h 347"/>
                  <a:gd name="T86" fmla="*/ 283 w 347"/>
                  <a:gd name="T87" fmla="*/ 181 h 347"/>
                  <a:gd name="T88" fmla="*/ 332 w 347"/>
                  <a:gd name="T89" fmla="*/ 181 h 347"/>
                  <a:gd name="T90" fmla="*/ 231 w 347"/>
                  <a:gd name="T91" fmla="*/ 322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7" h="347">
                    <a:moveTo>
                      <a:pt x="174" y="0"/>
                    </a:moveTo>
                    <a:cubicBezTo>
                      <a:pt x="78" y="0"/>
                      <a:pt x="0" y="78"/>
                      <a:pt x="0" y="174"/>
                    </a:cubicBezTo>
                    <a:cubicBezTo>
                      <a:pt x="0" y="269"/>
                      <a:pt x="78" y="347"/>
                      <a:pt x="174" y="347"/>
                    </a:cubicBezTo>
                    <a:cubicBezTo>
                      <a:pt x="269" y="347"/>
                      <a:pt x="347" y="269"/>
                      <a:pt x="347" y="174"/>
                    </a:cubicBezTo>
                    <a:cubicBezTo>
                      <a:pt x="347" y="78"/>
                      <a:pt x="269" y="0"/>
                      <a:pt x="174" y="0"/>
                    </a:cubicBezTo>
                    <a:close/>
                    <a:moveTo>
                      <a:pt x="332" y="166"/>
                    </a:moveTo>
                    <a:cubicBezTo>
                      <a:pt x="283" y="166"/>
                      <a:pt x="283" y="166"/>
                      <a:pt x="283" y="166"/>
                    </a:cubicBezTo>
                    <a:cubicBezTo>
                      <a:pt x="281" y="107"/>
                      <a:pt x="261" y="55"/>
                      <a:pt x="231" y="26"/>
                    </a:cubicBezTo>
                    <a:cubicBezTo>
                      <a:pt x="288" y="48"/>
                      <a:pt x="329" y="102"/>
                      <a:pt x="332" y="166"/>
                    </a:cubicBezTo>
                    <a:close/>
                    <a:moveTo>
                      <a:pt x="174" y="332"/>
                    </a:moveTo>
                    <a:cubicBezTo>
                      <a:pt x="165" y="330"/>
                      <a:pt x="148" y="277"/>
                      <a:pt x="147" y="181"/>
                    </a:cubicBezTo>
                    <a:cubicBezTo>
                      <a:pt x="200" y="181"/>
                      <a:pt x="200" y="181"/>
                      <a:pt x="200" y="181"/>
                    </a:cubicBezTo>
                    <a:cubicBezTo>
                      <a:pt x="199" y="277"/>
                      <a:pt x="183" y="330"/>
                      <a:pt x="174" y="332"/>
                    </a:cubicBezTo>
                    <a:close/>
                    <a:moveTo>
                      <a:pt x="147" y="166"/>
                    </a:moveTo>
                    <a:cubicBezTo>
                      <a:pt x="148" y="70"/>
                      <a:pt x="165" y="17"/>
                      <a:pt x="174" y="15"/>
                    </a:cubicBezTo>
                    <a:cubicBezTo>
                      <a:pt x="174" y="15"/>
                      <a:pt x="174" y="15"/>
                      <a:pt x="174" y="15"/>
                    </a:cubicBezTo>
                    <a:cubicBezTo>
                      <a:pt x="183" y="17"/>
                      <a:pt x="199" y="70"/>
                      <a:pt x="200" y="166"/>
                    </a:cubicBezTo>
                    <a:lnTo>
                      <a:pt x="147" y="166"/>
                    </a:lnTo>
                    <a:close/>
                    <a:moveTo>
                      <a:pt x="153" y="19"/>
                    </a:moveTo>
                    <a:cubicBezTo>
                      <a:pt x="138" y="51"/>
                      <a:pt x="133" y="118"/>
                      <a:pt x="133" y="166"/>
                    </a:cubicBezTo>
                    <a:cubicBezTo>
                      <a:pt x="79" y="166"/>
                      <a:pt x="79" y="166"/>
                      <a:pt x="79" y="166"/>
                    </a:cubicBezTo>
                    <a:cubicBezTo>
                      <a:pt x="81" y="94"/>
                      <a:pt x="112" y="34"/>
                      <a:pt x="153" y="19"/>
                    </a:cubicBezTo>
                    <a:close/>
                    <a:moveTo>
                      <a:pt x="133" y="181"/>
                    </a:moveTo>
                    <a:cubicBezTo>
                      <a:pt x="133" y="229"/>
                      <a:pt x="138" y="296"/>
                      <a:pt x="153" y="329"/>
                    </a:cubicBezTo>
                    <a:cubicBezTo>
                      <a:pt x="112" y="313"/>
                      <a:pt x="81" y="254"/>
                      <a:pt x="79" y="181"/>
                    </a:cubicBezTo>
                    <a:lnTo>
                      <a:pt x="133" y="181"/>
                    </a:lnTo>
                    <a:close/>
                    <a:moveTo>
                      <a:pt x="194" y="329"/>
                    </a:moveTo>
                    <a:cubicBezTo>
                      <a:pt x="209" y="296"/>
                      <a:pt x="214" y="229"/>
                      <a:pt x="215" y="181"/>
                    </a:cubicBezTo>
                    <a:cubicBezTo>
                      <a:pt x="268" y="181"/>
                      <a:pt x="268" y="181"/>
                      <a:pt x="268" y="181"/>
                    </a:cubicBezTo>
                    <a:cubicBezTo>
                      <a:pt x="266" y="254"/>
                      <a:pt x="235" y="313"/>
                      <a:pt x="194" y="329"/>
                    </a:cubicBezTo>
                    <a:close/>
                    <a:moveTo>
                      <a:pt x="215" y="166"/>
                    </a:moveTo>
                    <a:cubicBezTo>
                      <a:pt x="214" y="118"/>
                      <a:pt x="209" y="51"/>
                      <a:pt x="194" y="19"/>
                    </a:cubicBezTo>
                    <a:cubicBezTo>
                      <a:pt x="235" y="34"/>
                      <a:pt x="266" y="94"/>
                      <a:pt x="268" y="166"/>
                    </a:cubicBezTo>
                    <a:lnTo>
                      <a:pt x="215" y="166"/>
                    </a:lnTo>
                    <a:close/>
                    <a:moveTo>
                      <a:pt x="117" y="26"/>
                    </a:moveTo>
                    <a:cubicBezTo>
                      <a:pt x="87" y="55"/>
                      <a:pt x="66" y="107"/>
                      <a:pt x="64" y="166"/>
                    </a:cubicBezTo>
                    <a:cubicBezTo>
                      <a:pt x="15" y="166"/>
                      <a:pt x="15" y="166"/>
                      <a:pt x="15" y="166"/>
                    </a:cubicBezTo>
                    <a:cubicBezTo>
                      <a:pt x="18" y="102"/>
                      <a:pt x="59" y="48"/>
                      <a:pt x="117" y="26"/>
                    </a:cubicBezTo>
                    <a:close/>
                    <a:moveTo>
                      <a:pt x="15" y="181"/>
                    </a:moveTo>
                    <a:cubicBezTo>
                      <a:pt x="64" y="181"/>
                      <a:pt x="64" y="181"/>
                      <a:pt x="64" y="181"/>
                    </a:cubicBezTo>
                    <a:cubicBezTo>
                      <a:pt x="66" y="241"/>
                      <a:pt x="87" y="292"/>
                      <a:pt x="117" y="322"/>
                    </a:cubicBezTo>
                    <a:cubicBezTo>
                      <a:pt x="59" y="300"/>
                      <a:pt x="18" y="245"/>
                      <a:pt x="15" y="181"/>
                    </a:cubicBezTo>
                    <a:close/>
                    <a:moveTo>
                      <a:pt x="231" y="322"/>
                    </a:moveTo>
                    <a:cubicBezTo>
                      <a:pt x="261" y="292"/>
                      <a:pt x="281" y="241"/>
                      <a:pt x="283" y="181"/>
                    </a:cubicBezTo>
                    <a:cubicBezTo>
                      <a:pt x="332" y="181"/>
                      <a:pt x="332" y="181"/>
                      <a:pt x="332" y="181"/>
                    </a:cubicBezTo>
                    <a:cubicBezTo>
                      <a:pt x="329" y="245"/>
                      <a:pt x="288" y="300"/>
                      <a:pt x="231" y="322"/>
                    </a:cubicBezTo>
                    <a:close/>
                  </a:path>
                </a:pathLst>
              </a:custGeom>
              <a:solidFill>
                <a:schemeClr val="bg1"/>
              </a:solidFill>
              <a:ln>
                <a:noFill/>
              </a:ln>
            </p:spPr>
            <p:txBody>
              <a:bodyPr vert="horz" wrap="square" lIns="68571" tIns="34286" rIns="68571" bIns="34286" numCol="1" anchor="t" anchorCtr="0" compatLnSpc="1"/>
              <a:lstStyle/>
              <a:p>
                <a:endParaRPr lang="en-US"/>
              </a:p>
            </p:txBody>
          </p:sp>
          <p:sp>
            <p:nvSpPr>
              <p:cNvPr id="32" name="圆角矩形 31"/>
              <p:cNvSpPr/>
              <p:nvPr/>
            </p:nvSpPr>
            <p:spPr>
              <a:xfrm>
                <a:off x="9278713" y="5445224"/>
                <a:ext cx="720080" cy="492809"/>
              </a:xfrm>
              <a:prstGeom prst="roundRect">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37" name="TextBox 36"/>
            <p:cNvSpPr txBox="1"/>
            <p:nvPr/>
          </p:nvSpPr>
          <p:spPr>
            <a:xfrm>
              <a:off x="9761204" y="4680827"/>
              <a:ext cx="1415772" cy="338554"/>
            </a:xfrm>
            <a:prstGeom prst="rect">
              <a:avLst/>
            </a:prstGeom>
            <a:noFill/>
          </p:spPr>
          <p:txBody>
            <a:bodyPr wrap="none" rtlCol="0">
              <a:spAutoFit/>
            </a:bodyPr>
            <a:lstStyle/>
            <a:p>
              <a:r>
                <a:rPr lang="zh-CN" altLang="en-US" sz="1600" smtClean="0">
                  <a:solidFill>
                    <a:schemeClr val="bg1"/>
                  </a:solidFill>
                  <a:latin typeface="华文细黑" panose="02010600040101010101" pitchFamily="2" charset="-122"/>
                  <a:ea typeface="华文细黑" panose="02010600040101010101" pitchFamily="2" charset="-122"/>
                </a:rPr>
                <a:t>点击添加标题</a:t>
              </a:r>
              <a:endParaRPr lang="zh-CN" altLang="en-US" sz="1600">
                <a:solidFill>
                  <a:schemeClr val="bg1"/>
                </a:solidFill>
                <a:latin typeface="华文细黑" panose="02010600040101010101" pitchFamily="2" charset="-122"/>
                <a:ea typeface="华文细黑" panose="02010600040101010101" pitchFamily="2" charset="-122"/>
              </a:endParaRPr>
            </a:p>
          </p:txBody>
        </p:sp>
      </p:grpSp>
      <p:grpSp>
        <p:nvGrpSpPr>
          <p:cNvPr id="15" name="组合 14"/>
          <p:cNvGrpSpPr/>
          <p:nvPr/>
        </p:nvGrpSpPr>
        <p:grpSpPr>
          <a:xfrm>
            <a:off x="6959302" y="4802236"/>
            <a:ext cx="1945667" cy="354956"/>
            <a:chOff x="6959302" y="5320926"/>
            <a:chExt cx="1945667" cy="354956"/>
          </a:xfrm>
        </p:grpSpPr>
        <p:grpSp>
          <p:nvGrpSpPr>
            <p:cNvPr id="4" name="组合 3"/>
            <p:cNvGrpSpPr/>
            <p:nvPr/>
          </p:nvGrpSpPr>
          <p:grpSpPr>
            <a:xfrm>
              <a:off x="6959302" y="5335303"/>
              <a:ext cx="497646" cy="340579"/>
              <a:chOff x="7103318" y="5085184"/>
              <a:chExt cx="720080" cy="492809"/>
            </a:xfrm>
          </p:grpSpPr>
          <p:sp>
            <p:nvSpPr>
              <p:cNvPr id="25" name="Freeform 79"/>
              <p:cNvSpPr>
                <a:spLocks noEditPoints="1"/>
              </p:cNvSpPr>
              <p:nvPr/>
            </p:nvSpPr>
            <p:spPr bwMode="auto">
              <a:xfrm>
                <a:off x="7219554" y="5129969"/>
                <a:ext cx="487608" cy="448024"/>
              </a:xfrm>
              <a:custGeom>
                <a:avLst/>
                <a:gdLst>
                  <a:gd name="T0" fmla="*/ 406 w 413"/>
                  <a:gd name="T1" fmla="*/ 0 h 380"/>
                  <a:gd name="T2" fmla="*/ 7 w 413"/>
                  <a:gd name="T3" fmla="*/ 0 h 380"/>
                  <a:gd name="T4" fmla="*/ 0 w 413"/>
                  <a:gd name="T5" fmla="*/ 7 h 380"/>
                  <a:gd name="T6" fmla="*/ 0 w 413"/>
                  <a:gd name="T7" fmla="*/ 273 h 380"/>
                  <a:gd name="T8" fmla="*/ 7 w 413"/>
                  <a:gd name="T9" fmla="*/ 281 h 380"/>
                  <a:gd name="T10" fmla="*/ 133 w 413"/>
                  <a:gd name="T11" fmla="*/ 281 h 380"/>
                  <a:gd name="T12" fmla="*/ 133 w 413"/>
                  <a:gd name="T13" fmla="*/ 332 h 380"/>
                  <a:gd name="T14" fmla="*/ 73 w 413"/>
                  <a:gd name="T15" fmla="*/ 332 h 380"/>
                  <a:gd name="T16" fmla="*/ 65 w 413"/>
                  <a:gd name="T17" fmla="*/ 340 h 380"/>
                  <a:gd name="T18" fmla="*/ 65 w 413"/>
                  <a:gd name="T19" fmla="*/ 373 h 380"/>
                  <a:gd name="T20" fmla="*/ 73 w 413"/>
                  <a:gd name="T21" fmla="*/ 380 h 380"/>
                  <a:gd name="T22" fmla="*/ 339 w 413"/>
                  <a:gd name="T23" fmla="*/ 380 h 380"/>
                  <a:gd name="T24" fmla="*/ 346 w 413"/>
                  <a:gd name="T25" fmla="*/ 373 h 380"/>
                  <a:gd name="T26" fmla="*/ 346 w 413"/>
                  <a:gd name="T27" fmla="*/ 340 h 380"/>
                  <a:gd name="T28" fmla="*/ 339 w 413"/>
                  <a:gd name="T29" fmla="*/ 332 h 380"/>
                  <a:gd name="T30" fmla="*/ 280 w 413"/>
                  <a:gd name="T31" fmla="*/ 332 h 380"/>
                  <a:gd name="T32" fmla="*/ 280 w 413"/>
                  <a:gd name="T33" fmla="*/ 281 h 380"/>
                  <a:gd name="T34" fmla="*/ 406 w 413"/>
                  <a:gd name="T35" fmla="*/ 281 h 380"/>
                  <a:gd name="T36" fmla="*/ 413 w 413"/>
                  <a:gd name="T37" fmla="*/ 273 h 380"/>
                  <a:gd name="T38" fmla="*/ 413 w 413"/>
                  <a:gd name="T39" fmla="*/ 7 h 380"/>
                  <a:gd name="T40" fmla="*/ 406 w 413"/>
                  <a:gd name="T41" fmla="*/ 0 h 380"/>
                  <a:gd name="T42" fmla="*/ 331 w 413"/>
                  <a:gd name="T43" fmla="*/ 366 h 380"/>
                  <a:gd name="T44" fmla="*/ 80 w 413"/>
                  <a:gd name="T45" fmla="*/ 366 h 380"/>
                  <a:gd name="T46" fmla="*/ 80 w 413"/>
                  <a:gd name="T47" fmla="*/ 347 h 380"/>
                  <a:gd name="T48" fmla="*/ 331 w 413"/>
                  <a:gd name="T49" fmla="*/ 347 h 380"/>
                  <a:gd name="T50" fmla="*/ 331 w 413"/>
                  <a:gd name="T51" fmla="*/ 366 h 380"/>
                  <a:gd name="T52" fmla="*/ 266 w 413"/>
                  <a:gd name="T53" fmla="*/ 332 h 380"/>
                  <a:gd name="T54" fmla="*/ 148 w 413"/>
                  <a:gd name="T55" fmla="*/ 332 h 380"/>
                  <a:gd name="T56" fmla="*/ 148 w 413"/>
                  <a:gd name="T57" fmla="*/ 281 h 380"/>
                  <a:gd name="T58" fmla="*/ 266 w 413"/>
                  <a:gd name="T59" fmla="*/ 281 h 380"/>
                  <a:gd name="T60" fmla="*/ 266 w 413"/>
                  <a:gd name="T61" fmla="*/ 332 h 380"/>
                  <a:gd name="T62" fmla="*/ 399 w 413"/>
                  <a:gd name="T63" fmla="*/ 266 h 380"/>
                  <a:gd name="T64" fmla="*/ 15 w 413"/>
                  <a:gd name="T65" fmla="*/ 266 h 380"/>
                  <a:gd name="T66" fmla="*/ 15 w 413"/>
                  <a:gd name="T67" fmla="*/ 15 h 380"/>
                  <a:gd name="T68" fmla="*/ 399 w 413"/>
                  <a:gd name="T69" fmla="*/ 15 h 380"/>
                  <a:gd name="T70" fmla="*/ 399 w 413"/>
                  <a:gd name="T71" fmla="*/ 266 h 380"/>
                  <a:gd name="T72" fmla="*/ 40 w 413"/>
                  <a:gd name="T73" fmla="*/ 247 h 380"/>
                  <a:gd name="T74" fmla="*/ 373 w 413"/>
                  <a:gd name="T75" fmla="*/ 247 h 380"/>
                  <a:gd name="T76" fmla="*/ 381 w 413"/>
                  <a:gd name="T77" fmla="*/ 240 h 380"/>
                  <a:gd name="T78" fmla="*/ 381 w 413"/>
                  <a:gd name="T79" fmla="*/ 41 h 380"/>
                  <a:gd name="T80" fmla="*/ 373 w 413"/>
                  <a:gd name="T81" fmla="*/ 33 h 380"/>
                  <a:gd name="T82" fmla="*/ 40 w 413"/>
                  <a:gd name="T83" fmla="*/ 33 h 380"/>
                  <a:gd name="T84" fmla="*/ 33 w 413"/>
                  <a:gd name="T85" fmla="*/ 41 h 380"/>
                  <a:gd name="T86" fmla="*/ 33 w 413"/>
                  <a:gd name="T87" fmla="*/ 240 h 380"/>
                  <a:gd name="T88" fmla="*/ 40 w 413"/>
                  <a:gd name="T89" fmla="*/ 247 h 380"/>
                  <a:gd name="T90" fmla="*/ 47 w 413"/>
                  <a:gd name="T91" fmla="*/ 48 h 380"/>
                  <a:gd name="T92" fmla="*/ 366 w 413"/>
                  <a:gd name="T93" fmla="*/ 48 h 380"/>
                  <a:gd name="T94" fmla="*/ 366 w 413"/>
                  <a:gd name="T95" fmla="*/ 233 h 380"/>
                  <a:gd name="T96" fmla="*/ 47 w 413"/>
                  <a:gd name="T97" fmla="*/ 233 h 380"/>
                  <a:gd name="T98" fmla="*/ 47 w 413"/>
                  <a:gd name="T99" fmla="*/ 48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13" h="380">
                    <a:moveTo>
                      <a:pt x="406" y="0"/>
                    </a:moveTo>
                    <a:cubicBezTo>
                      <a:pt x="7" y="0"/>
                      <a:pt x="7" y="0"/>
                      <a:pt x="7" y="0"/>
                    </a:cubicBezTo>
                    <a:cubicBezTo>
                      <a:pt x="3" y="0"/>
                      <a:pt x="0" y="3"/>
                      <a:pt x="0" y="7"/>
                    </a:cubicBezTo>
                    <a:cubicBezTo>
                      <a:pt x="0" y="273"/>
                      <a:pt x="0" y="273"/>
                      <a:pt x="0" y="273"/>
                    </a:cubicBezTo>
                    <a:cubicBezTo>
                      <a:pt x="0" y="277"/>
                      <a:pt x="3" y="281"/>
                      <a:pt x="7" y="281"/>
                    </a:cubicBezTo>
                    <a:cubicBezTo>
                      <a:pt x="133" y="281"/>
                      <a:pt x="133" y="281"/>
                      <a:pt x="133" y="281"/>
                    </a:cubicBezTo>
                    <a:cubicBezTo>
                      <a:pt x="133" y="332"/>
                      <a:pt x="133" y="332"/>
                      <a:pt x="133" y="332"/>
                    </a:cubicBezTo>
                    <a:cubicBezTo>
                      <a:pt x="73" y="332"/>
                      <a:pt x="73" y="332"/>
                      <a:pt x="73" y="332"/>
                    </a:cubicBezTo>
                    <a:cubicBezTo>
                      <a:pt x="69" y="332"/>
                      <a:pt x="65" y="336"/>
                      <a:pt x="65" y="340"/>
                    </a:cubicBezTo>
                    <a:cubicBezTo>
                      <a:pt x="65" y="373"/>
                      <a:pt x="65" y="373"/>
                      <a:pt x="65" y="373"/>
                    </a:cubicBezTo>
                    <a:cubicBezTo>
                      <a:pt x="65" y="377"/>
                      <a:pt x="69" y="380"/>
                      <a:pt x="73" y="380"/>
                    </a:cubicBezTo>
                    <a:cubicBezTo>
                      <a:pt x="339" y="380"/>
                      <a:pt x="339" y="380"/>
                      <a:pt x="339" y="380"/>
                    </a:cubicBezTo>
                    <a:cubicBezTo>
                      <a:pt x="343" y="380"/>
                      <a:pt x="346" y="377"/>
                      <a:pt x="346" y="373"/>
                    </a:cubicBezTo>
                    <a:cubicBezTo>
                      <a:pt x="346" y="340"/>
                      <a:pt x="346" y="340"/>
                      <a:pt x="346" y="340"/>
                    </a:cubicBezTo>
                    <a:cubicBezTo>
                      <a:pt x="346" y="336"/>
                      <a:pt x="343" y="332"/>
                      <a:pt x="339" y="332"/>
                    </a:cubicBezTo>
                    <a:cubicBezTo>
                      <a:pt x="280" y="332"/>
                      <a:pt x="280" y="332"/>
                      <a:pt x="280" y="332"/>
                    </a:cubicBezTo>
                    <a:cubicBezTo>
                      <a:pt x="280" y="281"/>
                      <a:pt x="280" y="281"/>
                      <a:pt x="280" y="281"/>
                    </a:cubicBezTo>
                    <a:cubicBezTo>
                      <a:pt x="406" y="281"/>
                      <a:pt x="406" y="281"/>
                      <a:pt x="406" y="281"/>
                    </a:cubicBezTo>
                    <a:cubicBezTo>
                      <a:pt x="410" y="281"/>
                      <a:pt x="413" y="277"/>
                      <a:pt x="413" y="273"/>
                    </a:cubicBezTo>
                    <a:cubicBezTo>
                      <a:pt x="413" y="7"/>
                      <a:pt x="413" y="7"/>
                      <a:pt x="413" y="7"/>
                    </a:cubicBezTo>
                    <a:cubicBezTo>
                      <a:pt x="413" y="3"/>
                      <a:pt x="410" y="0"/>
                      <a:pt x="406" y="0"/>
                    </a:cubicBezTo>
                    <a:close/>
                    <a:moveTo>
                      <a:pt x="331" y="366"/>
                    </a:moveTo>
                    <a:cubicBezTo>
                      <a:pt x="80" y="366"/>
                      <a:pt x="80" y="366"/>
                      <a:pt x="80" y="366"/>
                    </a:cubicBezTo>
                    <a:cubicBezTo>
                      <a:pt x="80" y="347"/>
                      <a:pt x="80" y="347"/>
                      <a:pt x="80" y="347"/>
                    </a:cubicBezTo>
                    <a:cubicBezTo>
                      <a:pt x="331" y="347"/>
                      <a:pt x="331" y="347"/>
                      <a:pt x="331" y="347"/>
                    </a:cubicBezTo>
                    <a:lnTo>
                      <a:pt x="331" y="366"/>
                    </a:lnTo>
                    <a:close/>
                    <a:moveTo>
                      <a:pt x="266" y="332"/>
                    </a:moveTo>
                    <a:cubicBezTo>
                      <a:pt x="148" y="332"/>
                      <a:pt x="148" y="332"/>
                      <a:pt x="148" y="332"/>
                    </a:cubicBezTo>
                    <a:cubicBezTo>
                      <a:pt x="148" y="281"/>
                      <a:pt x="148" y="281"/>
                      <a:pt x="148" y="281"/>
                    </a:cubicBezTo>
                    <a:cubicBezTo>
                      <a:pt x="266" y="281"/>
                      <a:pt x="266" y="281"/>
                      <a:pt x="266" y="281"/>
                    </a:cubicBezTo>
                    <a:lnTo>
                      <a:pt x="266" y="332"/>
                    </a:lnTo>
                    <a:close/>
                    <a:moveTo>
                      <a:pt x="399" y="266"/>
                    </a:moveTo>
                    <a:cubicBezTo>
                      <a:pt x="15" y="266"/>
                      <a:pt x="15" y="266"/>
                      <a:pt x="15" y="266"/>
                    </a:cubicBezTo>
                    <a:cubicBezTo>
                      <a:pt x="15" y="15"/>
                      <a:pt x="15" y="15"/>
                      <a:pt x="15" y="15"/>
                    </a:cubicBezTo>
                    <a:cubicBezTo>
                      <a:pt x="399" y="15"/>
                      <a:pt x="399" y="15"/>
                      <a:pt x="399" y="15"/>
                    </a:cubicBezTo>
                    <a:lnTo>
                      <a:pt x="399" y="266"/>
                    </a:lnTo>
                    <a:close/>
                    <a:moveTo>
                      <a:pt x="40" y="247"/>
                    </a:moveTo>
                    <a:cubicBezTo>
                      <a:pt x="373" y="247"/>
                      <a:pt x="373" y="247"/>
                      <a:pt x="373" y="247"/>
                    </a:cubicBezTo>
                    <a:cubicBezTo>
                      <a:pt x="377" y="247"/>
                      <a:pt x="381" y="244"/>
                      <a:pt x="381" y="240"/>
                    </a:cubicBezTo>
                    <a:cubicBezTo>
                      <a:pt x="381" y="41"/>
                      <a:pt x="381" y="41"/>
                      <a:pt x="381" y="41"/>
                    </a:cubicBezTo>
                    <a:cubicBezTo>
                      <a:pt x="381" y="37"/>
                      <a:pt x="377" y="33"/>
                      <a:pt x="373" y="33"/>
                    </a:cubicBezTo>
                    <a:cubicBezTo>
                      <a:pt x="40" y="33"/>
                      <a:pt x="40" y="33"/>
                      <a:pt x="40" y="33"/>
                    </a:cubicBezTo>
                    <a:cubicBezTo>
                      <a:pt x="36" y="33"/>
                      <a:pt x="33" y="37"/>
                      <a:pt x="33" y="41"/>
                    </a:cubicBezTo>
                    <a:cubicBezTo>
                      <a:pt x="33" y="240"/>
                      <a:pt x="33" y="240"/>
                      <a:pt x="33" y="240"/>
                    </a:cubicBezTo>
                    <a:cubicBezTo>
                      <a:pt x="33" y="244"/>
                      <a:pt x="36" y="247"/>
                      <a:pt x="40" y="247"/>
                    </a:cubicBezTo>
                    <a:close/>
                    <a:moveTo>
                      <a:pt x="47" y="48"/>
                    </a:moveTo>
                    <a:cubicBezTo>
                      <a:pt x="366" y="48"/>
                      <a:pt x="366" y="48"/>
                      <a:pt x="366" y="48"/>
                    </a:cubicBezTo>
                    <a:cubicBezTo>
                      <a:pt x="366" y="233"/>
                      <a:pt x="366" y="233"/>
                      <a:pt x="366" y="233"/>
                    </a:cubicBezTo>
                    <a:cubicBezTo>
                      <a:pt x="47" y="233"/>
                      <a:pt x="47" y="233"/>
                      <a:pt x="47" y="233"/>
                    </a:cubicBezTo>
                    <a:lnTo>
                      <a:pt x="47" y="48"/>
                    </a:lnTo>
                    <a:close/>
                  </a:path>
                </a:pathLst>
              </a:custGeom>
              <a:solidFill>
                <a:schemeClr val="bg1"/>
              </a:solidFill>
              <a:ln>
                <a:noFill/>
              </a:ln>
            </p:spPr>
            <p:txBody>
              <a:bodyPr vert="horz" wrap="square" lIns="68571" tIns="34286" rIns="68571" bIns="34286" numCol="1" anchor="t" anchorCtr="0" compatLnSpc="1"/>
              <a:lstStyle/>
              <a:p>
                <a:endParaRPr lang="en-US"/>
              </a:p>
            </p:txBody>
          </p:sp>
          <p:sp>
            <p:nvSpPr>
              <p:cNvPr id="3" name="圆角矩形 2"/>
              <p:cNvSpPr/>
              <p:nvPr/>
            </p:nvSpPr>
            <p:spPr>
              <a:xfrm>
                <a:off x="7103318" y="5085184"/>
                <a:ext cx="720080" cy="492809"/>
              </a:xfrm>
              <a:prstGeom prst="roundRect">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38" name="TextBox 37"/>
            <p:cNvSpPr txBox="1"/>
            <p:nvPr/>
          </p:nvSpPr>
          <p:spPr>
            <a:xfrm>
              <a:off x="7489197" y="5320926"/>
              <a:ext cx="1415772" cy="338554"/>
            </a:xfrm>
            <a:prstGeom prst="rect">
              <a:avLst/>
            </a:prstGeom>
            <a:noFill/>
          </p:spPr>
          <p:txBody>
            <a:bodyPr wrap="none" rtlCol="0">
              <a:spAutoFit/>
            </a:bodyPr>
            <a:lstStyle/>
            <a:p>
              <a:r>
                <a:rPr lang="zh-CN" altLang="en-US" sz="1600" smtClean="0">
                  <a:solidFill>
                    <a:schemeClr val="bg1"/>
                  </a:solidFill>
                  <a:latin typeface="华文细黑" panose="02010600040101010101" pitchFamily="2" charset="-122"/>
                  <a:ea typeface="华文细黑" panose="02010600040101010101" pitchFamily="2" charset="-122"/>
                </a:rPr>
                <a:t>点击添加标题</a:t>
              </a:r>
              <a:endParaRPr lang="zh-CN" altLang="en-US" sz="1600">
                <a:solidFill>
                  <a:schemeClr val="bg1"/>
                </a:solidFill>
                <a:latin typeface="华文细黑" panose="02010600040101010101" pitchFamily="2" charset="-122"/>
                <a:ea typeface="华文细黑" panose="02010600040101010101" pitchFamily="2" charset="-122"/>
              </a:endParaRPr>
            </a:p>
          </p:txBody>
        </p:sp>
      </p:grpSp>
      <p:grpSp>
        <p:nvGrpSpPr>
          <p:cNvPr id="11" name="组合 10"/>
          <p:cNvGrpSpPr/>
          <p:nvPr/>
        </p:nvGrpSpPr>
        <p:grpSpPr>
          <a:xfrm>
            <a:off x="9263558" y="4802236"/>
            <a:ext cx="1913418" cy="354956"/>
            <a:chOff x="9263558" y="5320926"/>
            <a:chExt cx="1913418" cy="354956"/>
          </a:xfrm>
        </p:grpSpPr>
        <p:grpSp>
          <p:nvGrpSpPr>
            <p:cNvPr id="8" name="组合 7"/>
            <p:cNvGrpSpPr/>
            <p:nvPr/>
          </p:nvGrpSpPr>
          <p:grpSpPr>
            <a:xfrm>
              <a:off x="9263558" y="5335303"/>
              <a:ext cx="497646" cy="340579"/>
              <a:chOff x="8611702" y="4649964"/>
              <a:chExt cx="720080" cy="492809"/>
            </a:xfrm>
          </p:grpSpPr>
          <p:sp>
            <p:nvSpPr>
              <p:cNvPr id="23" name="Freeform 72"/>
              <p:cNvSpPr>
                <a:spLocks noEditPoints="1"/>
              </p:cNvSpPr>
              <p:nvPr/>
            </p:nvSpPr>
            <p:spPr bwMode="auto">
              <a:xfrm>
                <a:off x="8729187" y="4653376"/>
                <a:ext cx="485111" cy="485984"/>
              </a:xfrm>
              <a:custGeom>
                <a:avLst/>
                <a:gdLst>
                  <a:gd name="T0" fmla="*/ 337 w 411"/>
                  <a:gd name="T1" fmla="*/ 198 h 412"/>
                  <a:gd name="T2" fmla="*/ 284 w 411"/>
                  <a:gd name="T3" fmla="*/ 220 h 412"/>
                  <a:gd name="T4" fmla="*/ 249 w 411"/>
                  <a:gd name="T5" fmla="*/ 185 h 412"/>
                  <a:gd name="T6" fmla="*/ 283 w 411"/>
                  <a:gd name="T7" fmla="*/ 107 h 412"/>
                  <a:gd name="T8" fmla="*/ 176 w 411"/>
                  <a:gd name="T9" fmla="*/ 0 h 412"/>
                  <a:gd name="T10" fmla="*/ 68 w 411"/>
                  <a:gd name="T11" fmla="*/ 107 h 412"/>
                  <a:gd name="T12" fmla="*/ 116 w 411"/>
                  <a:gd name="T13" fmla="*/ 196 h 412"/>
                  <a:gd name="T14" fmla="*/ 96 w 411"/>
                  <a:gd name="T15" fmla="*/ 266 h 412"/>
                  <a:gd name="T16" fmla="*/ 74 w 411"/>
                  <a:gd name="T17" fmla="*/ 263 h 412"/>
                  <a:gd name="T18" fmla="*/ 0 w 411"/>
                  <a:gd name="T19" fmla="*/ 337 h 412"/>
                  <a:gd name="T20" fmla="*/ 74 w 411"/>
                  <a:gd name="T21" fmla="*/ 412 h 412"/>
                  <a:gd name="T22" fmla="*/ 149 w 411"/>
                  <a:gd name="T23" fmla="*/ 337 h 412"/>
                  <a:gd name="T24" fmla="*/ 110 w 411"/>
                  <a:gd name="T25" fmla="*/ 272 h 412"/>
                  <a:gd name="T26" fmla="*/ 130 w 411"/>
                  <a:gd name="T27" fmla="*/ 204 h 412"/>
                  <a:gd name="T28" fmla="*/ 176 w 411"/>
                  <a:gd name="T29" fmla="*/ 214 h 412"/>
                  <a:gd name="T30" fmla="*/ 238 w 411"/>
                  <a:gd name="T31" fmla="*/ 195 h 412"/>
                  <a:gd name="T32" fmla="*/ 275 w 411"/>
                  <a:gd name="T33" fmla="*/ 232 h 412"/>
                  <a:gd name="T34" fmla="*/ 262 w 411"/>
                  <a:gd name="T35" fmla="*/ 273 h 412"/>
                  <a:gd name="T36" fmla="*/ 337 w 411"/>
                  <a:gd name="T37" fmla="*/ 347 h 412"/>
                  <a:gd name="T38" fmla="*/ 411 w 411"/>
                  <a:gd name="T39" fmla="*/ 273 h 412"/>
                  <a:gd name="T40" fmla="*/ 337 w 411"/>
                  <a:gd name="T41" fmla="*/ 198 h 412"/>
                  <a:gd name="T42" fmla="*/ 134 w 411"/>
                  <a:gd name="T43" fmla="*/ 337 h 412"/>
                  <a:gd name="T44" fmla="*/ 74 w 411"/>
                  <a:gd name="T45" fmla="*/ 397 h 412"/>
                  <a:gd name="T46" fmla="*/ 14 w 411"/>
                  <a:gd name="T47" fmla="*/ 337 h 412"/>
                  <a:gd name="T48" fmla="*/ 74 w 411"/>
                  <a:gd name="T49" fmla="*/ 278 h 412"/>
                  <a:gd name="T50" fmla="*/ 134 w 411"/>
                  <a:gd name="T51" fmla="*/ 337 h 412"/>
                  <a:gd name="T52" fmla="*/ 83 w 411"/>
                  <a:gd name="T53" fmla="*/ 107 h 412"/>
                  <a:gd name="T54" fmla="*/ 176 w 411"/>
                  <a:gd name="T55" fmla="*/ 14 h 412"/>
                  <a:gd name="T56" fmla="*/ 268 w 411"/>
                  <a:gd name="T57" fmla="*/ 107 h 412"/>
                  <a:gd name="T58" fmla="*/ 176 w 411"/>
                  <a:gd name="T59" fmla="*/ 200 h 412"/>
                  <a:gd name="T60" fmla="*/ 83 w 411"/>
                  <a:gd name="T61" fmla="*/ 107 h 412"/>
                  <a:gd name="T62" fmla="*/ 337 w 411"/>
                  <a:gd name="T63" fmla="*/ 332 h 412"/>
                  <a:gd name="T64" fmla="*/ 277 w 411"/>
                  <a:gd name="T65" fmla="*/ 273 h 412"/>
                  <a:gd name="T66" fmla="*/ 337 w 411"/>
                  <a:gd name="T67" fmla="*/ 213 h 412"/>
                  <a:gd name="T68" fmla="*/ 397 w 411"/>
                  <a:gd name="T69" fmla="*/ 273 h 412"/>
                  <a:gd name="T70" fmla="*/ 337 w 411"/>
                  <a:gd name="T71" fmla="*/ 332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11" h="412">
                    <a:moveTo>
                      <a:pt x="337" y="198"/>
                    </a:moveTo>
                    <a:cubicBezTo>
                      <a:pt x="316" y="198"/>
                      <a:pt x="298" y="206"/>
                      <a:pt x="284" y="220"/>
                    </a:cubicBezTo>
                    <a:cubicBezTo>
                      <a:pt x="249" y="185"/>
                      <a:pt x="249" y="185"/>
                      <a:pt x="249" y="185"/>
                    </a:cubicBezTo>
                    <a:cubicBezTo>
                      <a:pt x="270" y="166"/>
                      <a:pt x="283" y="138"/>
                      <a:pt x="283" y="107"/>
                    </a:cubicBezTo>
                    <a:cubicBezTo>
                      <a:pt x="283" y="48"/>
                      <a:pt x="235" y="0"/>
                      <a:pt x="176" y="0"/>
                    </a:cubicBezTo>
                    <a:cubicBezTo>
                      <a:pt x="117" y="0"/>
                      <a:pt x="68" y="48"/>
                      <a:pt x="68" y="107"/>
                    </a:cubicBezTo>
                    <a:cubicBezTo>
                      <a:pt x="68" y="144"/>
                      <a:pt x="88" y="177"/>
                      <a:pt x="116" y="196"/>
                    </a:cubicBezTo>
                    <a:cubicBezTo>
                      <a:pt x="96" y="266"/>
                      <a:pt x="96" y="266"/>
                      <a:pt x="96" y="266"/>
                    </a:cubicBezTo>
                    <a:cubicBezTo>
                      <a:pt x="89" y="264"/>
                      <a:pt x="82" y="263"/>
                      <a:pt x="74" y="263"/>
                    </a:cubicBezTo>
                    <a:cubicBezTo>
                      <a:pt x="33" y="263"/>
                      <a:pt x="0" y="296"/>
                      <a:pt x="0" y="337"/>
                    </a:cubicBezTo>
                    <a:cubicBezTo>
                      <a:pt x="0" y="378"/>
                      <a:pt x="33" y="412"/>
                      <a:pt x="74" y="412"/>
                    </a:cubicBezTo>
                    <a:cubicBezTo>
                      <a:pt x="115" y="412"/>
                      <a:pt x="149" y="378"/>
                      <a:pt x="149" y="337"/>
                    </a:cubicBezTo>
                    <a:cubicBezTo>
                      <a:pt x="149" y="309"/>
                      <a:pt x="133" y="284"/>
                      <a:pt x="110" y="272"/>
                    </a:cubicBezTo>
                    <a:cubicBezTo>
                      <a:pt x="130" y="204"/>
                      <a:pt x="130" y="204"/>
                      <a:pt x="130" y="204"/>
                    </a:cubicBezTo>
                    <a:cubicBezTo>
                      <a:pt x="144" y="210"/>
                      <a:pt x="159" y="214"/>
                      <a:pt x="176" y="214"/>
                    </a:cubicBezTo>
                    <a:cubicBezTo>
                      <a:pt x="199" y="214"/>
                      <a:pt x="220" y="207"/>
                      <a:pt x="238" y="195"/>
                    </a:cubicBezTo>
                    <a:cubicBezTo>
                      <a:pt x="275" y="232"/>
                      <a:pt x="275" y="232"/>
                      <a:pt x="275" y="232"/>
                    </a:cubicBezTo>
                    <a:cubicBezTo>
                      <a:pt x="267" y="243"/>
                      <a:pt x="262" y="257"/>
                      <a:pt x="262" y="273"/>
                    </a:cubicBezTo>
                    <a:cubicBezTo>
                      <a:pt x="262" y="314"/>
                      <a:pt x="296" y="347"/>
                      <a:pt x="337" y="347"/>
                    </a:cubicBezTo>
                    <a:cubicBezTo>
                      <a:pt x="378" y="347"/>
                      <a:pt x="411" y="314"/>
                      <a:pt x="411" y="273"/>
                    </a:cubicBezTo>
                    <a:cubicBezTo>
                      <a:pt x="411" y="231"/>
                      <a:pt x="378" y="198"/>
                      <a:pt x="337" y="198"/>
                    </a:cubicBezTo>
                    <a:close/>
                    <a:moveTo>
                      <a:pt x="134" y="337"/>
                    </a:moveTo>
                    <a:cubicBezTo>
                      <a:pt x="134" y="370"/>
                      <a:pt x="107" y="397"/>
                      <a:pt x="74" y="397"/>
                    </a:cubicBezTo>
                    <a:cubicBezTo>
                      <a:pt x="41" y="397"/>
                      <a:pt x="14" y="370"/>
                      <a:pt x="14" y="337"/>
                    </a:cubicBezTo>
                    <a:cubicBezTo>
                      <a:pt x="14" y="304"/>
                      <a:pt x="41" y="278"/>
                      <a:pt x="74" y="278"/>
                    </a:cubicBezTo>
                    <a:cubicBezTo>
                      <a:pt x="107" y="278"/>
                      <a:pt x="134" y="304"/>
                      <a:pt x="134" y="337"/>
                    </a:cubicBezTo>
                    <a:close/>
                    <a:moveTo>
                      <a:pt x="83" y="107"/>
                    </a:moveTo>
                    <a:cubicBezTo>
                      <a:pt x="83" y="56"/>
                      <a:pt x="125" y="14"/>
                      <a:pt x="176" y="14"/>
                    </a:cubicBezTo>
                    <a:cubicBezTo>
                      <a:pt x="227" y="14"/>
                      <a:pt x="268" y="56"/>
                      <a:pt x="268" y="107"/>
                    </a:cubicBezTo>
                    <a:cubicBezTo>
                      <a:pt x="268" y="158"/>
                      <a:pt x="227" y="200"/>
                      <a:pt x="176" y="200"/>
                    </a:cubicBezTo>
                    <a:cubicBezTo>
                      <a:pt x="125" y="200"/>
                      <a:pt x="83" y="158"/>
                      <a:pt x="83" y="107"/>
                    </a:cubicBezTo>
                    <a:close/>
                    <a:moveTo>
                      <a:pt x="337" y="332"/>
                    </a:moveTo>
                    <a:cubicBezTo>
                      <a:pt x="304" y="332"/>
                      <a:pt x="277" y="306"/>
                      <a:pt x="277" y="273"/>
                    </a:cubicBezTo>
                    <a:cubicBezTo>
                      <a:pt x="277" y="240"/>
                      <a:pt x="304" y="213"/>
                      <a:pt x="337" y="213"/>
                    </a:cubicBezTo>
                    <a:cubicBezTo>
                      <a:pt x="370" y="213"/>
                      <a:pt x="397" y="240"/>
                      <a:pt x="397" y="273"/>
                    </a:cubicBezTo>
                    <a:cubicBezTo>
                      <a:pt x="397" y="306"/>
                      <a:pt x="370" y="332"/>
                      <a:pt x="337" y="332"/>
                    </a:cubicBezTo>
                    <a:close/>
                  </a:path>
                </a:pathLst>
              </a:custGeom>
              <a:solidFill>
                <a:schemeClr val="bg1"/>
              </a:solidFill>
              <a:ln>
                <a:noFill/>
              </a:ln>
            </p:spPr>
            <p:txBody>
              <a:bodyPr vert="horz" wrap="square" lIns="68571" tIns="34286" rIns="68571" bIns="34286" numCol="1" anchor="t" anchorCtr="0" compatLnSpc="1"/>
              <a:lstStyle/>
              <a:p>
                <a:endParaRPr lang="en-US"/>
              </a:p>
            </p:txBody>
          </p:sp>
          <p:sp>
            <p:nvSpPr>
              <p:cNvPr id="31" name="圆角矩形 30"/>
              <p:cNvSpPr/>
              <p:nvPr/>
            </p:nvSpPr>
            <p:spPr>
              <a:xfrm>
                <a:off x="8611702" y="4649964"/>
                <a:ext cx="720080" cy="492809"/>
              </a:xfrm>
              <a:prstGeom prst="roundRect">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39" name="TextBox 38"/>
            <p:cNvSpPr txBox="1"/>
            <p:nvPr/>
          </p:nvSpPr>
          <p:spPr>
            <a:xfrm>
              <a:off x="9761204" y="5320926"/>
              <a:ext cx="1415772" cy="338554"/>
            </a:xfrm>
            <a:prstGeom prst="rect">
              <a:avLst/>
            </a:prstGeom>
            <a:noFill/>
          </p:spPr>
          <p:txBody>
            <a:bodyPr wrap="none" rtlCol="0">
              <a:spAutoFit/>
            </a:bodyPr>
            <a:lstStyle/>
            <a:p>
              <a:r>
                <a:rPr lang="zh-CN" altLang="en-US" sz="1600" smtClean="0">
                  <a:solidFill>
                    <a:schemeClr val="bg1"/>
                  </a:solidFill>
                  <a:latin typeface="华文细黑" panose="02010600040101010101" pitchFamily="2" charset="-122"/>
                  <a:ea typeface="华文细黑" panose="02010600040101010101" pitchFamily="2" charset="-122"/>
                </a:rPr>
                <a:t>点击添加标题</a:t>
              </a:r>
              <a:endParaRPr lang="zh-CN" altLang="en-US" sz="1600">
                <a:solidFill>
                  <a:schemeClr val="bg1"/>
                </a:solidFill>
                <a:latin typeface="华文细黑" panose="02010600040101010101" pitchFamily="2" charset="-122"/>
                <a:ea typeface="华文细黑" panose="02010600040101010101" pitchFamily="2" charset="-122"/>
              </a:endParaRPr>
            </a:p>
          </p:txBody>
        </p:sp>
      </p:grpSp>
      <p:sp>
        <p:nvSpPr>
          <p:cNvPr id="30" name="圆角矩形 29"/>
          <p:cNvSpPr/>
          <p:nvPr/>
        </p:nvSpPr>
        <p:spPr>
          <a:xfrm>
            <a:off x="8894702" y="260648"/>
            <a:ext cx="2673112" cy="600163"/>
          </a:xfrm>
          <a:prstGeom prst="roundRect">
            <a:avLst/>
          </a:prstGeom>
          <a:solidFill>
            <a:srgbClr val="FFFFFF"/>
          </a:solidFill>
          <a:ln>
            <a:noFill/>
          </a:ln>
          <a:effectLst>
            <a:reflection blurRad="6350" stA="25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3" name="TextBox 32"/>
          <p:cNvSpPr txBox="1"/>
          <p:nvPr/>
        </p:nvSpPr>
        <p:spPr>
          <a:xfrm>
            <a:off x="9061707" y="260648"/>
            <a:ext cx="2339102" cy="523220"/>
          </a:xfrm>
          <a:prstGeom prst="rect">
            <a:avLst/>
          </a:prstGeom>
          <a:noFill/>
        </p:spPr>
        <p:txBody>
          <a:bodyPr wrap="none" rtlCol="0" anchor="ctr">
            <a:spAutoFit/>
          </a:bodyPr>
          <a:lstStyle>
            <a:defPPr>
              <a:defRPr lang="zh-CN"/>
            </a:defPPr>
            <a:lvl1pPr algn="ctr">
              <a:defRPr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anose="02010600040101010101" pitchFamily="2" charset="-122"/>
                <a:cs typeface="华文黑体" pitchFamily="2" charset="-122"/>
              </a:defRPr>
            </a:lvl1pPr>
          </a:lstStyle>
          <a:p>
            <a:r>
              <a:rPr lang="zh-CN" altLang="en-US" sz="2800"/>
              <a:t>点击添加标题</a:t>
            </a:r>
            <a:endParaRPr lang="zh-CN" altLang="en-US" sz="2800"/>
          </a:p>
        </p:txBody>
      </p:sp>
    </p:spTree>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0"/>
                                        </p:tgtEl>
                                        <p:attrNameLst>
                                          <p:attrName>style.visibility</p:attrName>
                                        </p:attrNameLst>
                                      </p:cBhvr>
                                      <p:to>
                                        <p:strVal val="visible"/>
                                      </p:to>
                                    </p:set>
                                    <p:animEffect transition="in" filter="fade">
                                      <p:cBhvr>
                                        <p:cTn id="7" dur="300"/>
                                        <p:tgtEl>
                                          <p:spTgt spid="3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3"/>
                                        </p:tgtEl>
                                        <p:attrNameLst>
                                          <p:attrName>style.visibility</p:attrName>
                                        </p:attrNameLst>
                                      </p:cBhvr>
                                      <p:to>
                                        <p:strVal val="visible"/>
                                      </p:to>
                                    </p:set>
                                    <p:animEffect transition="in" filter="fade">
                                      <p:cBhvr>
                                        <p:cTn id="10" dur="300"/>
                                        <p:tgtEl>
                                          <p:spTgt spid="33"/>
                                        </p:tgtEl>
                                      </p:cBhvr>
                                    </p:animEffect>
                                  </p:childTnLst>
                                </p:cTn>
                              </p:par>
                            </p:childTnLst>
                          </p:cTn>
                        </p:par>
                        <p:par>
                          <p:cTn id="11" fill="hold">
                            <p:stCondLst>
                              <p:cond delay="500"/>
                            </p:stCondLst>
                            <p:childTnLst>
                              <p:par>
                                <p:cTn id="12" presetID="2" presetClass="entr" presetSubtype="8" decel="100000" fill="hold" nodeType="afterEffect">
                                  <p:stCondLst>
                                    <p:cond delay="0"/>
                                  </p:stCondLst>
                                  <p:childTnLst>
                                    <p:set>
                                      <p:cBhvr>
                                        <p:cTn id="13" dur="1" fill="hold">
                                          <p:stCondLst>
                                            <p:cond delay="0"/>
                                          </p:stCondLst>
                                        </p:cTn>
                                        <p:tgtEl>
                                          <p:spTgt spid="1026"/>
                                        </p:tgtEl>
                                        <p:attrNameLst>
                                          <p:attrName>style.visibility</p:attrName>
                                        </p:attrNameLst>
                                      </p:cBhvr>
                                      <p:to>
                                        <p:strVal val="visible"/>
                                      </p:to>
                                    </p:set>
                                    <p:anim calcmode="lin" valueType="num">
                                      <p:cBhvr additive="base">
                                        <p:cTn id="14" dur="1000" fill="hold"/>
                                        <p:tgtEl>
                                          <p:spTgt spid="1026"/>
                                        </p:tgtEl>
                                        <p:attrNameLst>
                                          <p:attrName>ppt_x</p:attrName>
                                        </p:attrNameLst>
                                      </p:cBhvr>
                                      <p:tavLst>
                                        <p:tav tm="0">
                                          <p:val>
                                            <p:strVal val="0-#ppt_w/2"/>
                                          </p:val>
                                        </p:tav>
                                        <p:tav tm="100000">
                                          <p:val>
                                            <p:strVal val="#ppt_x"/>
                                          </p:val>
                                        </p:tav>
                                      </p:tavLst>
                                    </p:anim>
                                    <p:anim calcmode="lin" valueType="num">
                                      <p:cBhvr additive="base">
                                        <p:cTn id="15" dur="1000" fill="hold"/>
                                        <p:tgtEl>
                                          <p:spTgt spid="1026"/>
                                        </p:tgtEl>
                                        <p:attrNameLst>
                                          <p:attrName>ppt_y</p:attrName>
                                        </p:attrNameLst>
                                      </p:cBhvr>
                                      <p:tavLst>
                                        <p:tav tm="0">
                                          <p:val>
                                            <p:strVal val="#ppt_y"/>
                                          </p:val>
                                        </p:tav>
                                        <p:tav tm="100000">
                                          <p:val>
                                            <p:strVal val="#ppt_y"/>
                                          </p:val>
                                        </p:tav>
                                      </p:tavLst>
                                    </p:anim>
                                  </p:childTnLst>
                                </p:cTn>
                              </p:par>
                              <p:par>
                                <p:cTn id="16" presetID="10" presetClass="entr" presetSubtype="0" fill="hold" grpId="0" nodeType="withEffect">
                                  <p:stCondLst>
                                    <p:cond delay="300"/>
                                  </p:stCondLst>
                                  <p:childTnLst>
                                    <p:set>
                                      <p:cBhvr>
                                        <p:cTn id="17" dur="1" fill="hold">
                                          <p:stCondLst>
                                            <p:cond delay="0"/>
                                          </p:stCondLst>
                                        </p:cTn>
                                        <p:tgtEl>
                                          <p:spTgt spid="21"/>
                                        </p:tgtEl>
                                        <p:attrNameLst>
                                          <p:attrName>style.visibility</p:attrName>
                                        </p:attrNameLst>
                                      </p:cBhvr>
                                      <p:to>
                                        <p:strVal val="visible"/>
                                      </p:to>
                                    </p:set>
                                    <p:animEffect transition="in" filter="fade">
                                      <p:cBhvr>
                                        <p:cTn id="18" dur="500"/>
                                        <p:tgtEl>
                                          <p:spTgt spid="21"/>
                                        </p:tgtEl>
                                      </p:cBhvr>
                                    </p:animEffect>
                                  </p:childTnLst>
                                </p:cTn>
                              </p:par>
                              <p:par>
                                <p:cTn id="19" presetID="23" presetClass="entr" presetSubtype="36" fill="hold" nodeType="withEffect">
                                  <p:stCondLst>
                                    <p:cond delay="600"/>
                                  </p:stCondLst>
                                  <p:childTnLst>
                                    <p:set>
                                      <p:cBhvr>
                                        <p:cTn id="20" dur="1" fill="hold">
                                          <p:stCondLst>
                                            <p:cond delay="0"/>
                                          </p:stCondLst>
                                        </p:cTn>
                                        <p:tgtEl>
                                          <p:spTgt spid="16"/>
                                        </p:tgtEl>
                                        <p:attrNameLst>
                                          <p:attrName>style.visibility</p:attrName>
                                        </p:attrNameLst>
                                      </p:cBhvr>
                                      <p:to>
                                        <p:strVal val="visible"/>
                                      </p:to>
                                    </p:set>
                                    <p:anim calcmode="lin" valueType="num">
                                      <p:cBhvr>
                                        <p:cTn id="21" dur="500" fill="hold"/>
                                        <p:tgtEl>
                                          <p:spTgt spid="16"/>
                                        </p:tgtEl>
                                        <p:attrNameLst>
                                          <p:attrName>ppt_w</p:attrName>
                                        </p:attrNameLst>
                                      </p:cBhvr>
                                      <p:tavLst>
                                        <p:tav tm="0">
                                          <p:val>
                                            <p:strVal val="(6*min(max(#ppt_w*#ppt_h,.3),1)-7.4)/-.7*#ppt_w"/>
                                          </p:val>
                                        </p:tav>
                                        <p:tav tm="100000">
                                          <p:val>
                                            <p:strVal val="#ppt_w"/>
                                          </p:val>
                                        </p:tav>
                                      </p:tavLst>
                                    </p:anim>
                                    <p:anim calcmode="lin" valueType="num">
                                      <p:cBhvr>
                                        <p:cTn id="22" dur="500" fill="hold"/>
                                        <p:tgtEl>
                                          <p:spTgt spid="16"/>
                                        </p:tgtEl>
                                        <p:attrNameLst>
                                          <p:attrName>ppt_h</p:attrName>
                                        </p:attrNameLst>
                                      </p:cBhvr>
                                      <p:tavLst>
                                        <p:tav tm="0">
                                          <p:val>
                                            <p:strVal val="(6*min(max(#ppt_w*#ppt_h,.3),1)-7.4)/-.7*#ppt_h"/>
                                          </p:val>
                                        </p:tav>
                                        <p:tav tm="100000">
                                          <p:val>
                                            <p:strVal val="#ppt_h"/>
                                          </p:val>
                                        </p:tav>
                                      </p:tavLst>
                                    </p:anim>
                                    <p:anim calcmode="lin" valueType="num">
                                      <p:cBhvr>
                                        <p:cTn id="23" dur="500" fill="hold"/>
                                        <p:tgtEl>
                                          <p:spTgt spid="16"/>
                                        </p:tgtEl>
                                        <p:attrNameLst>
                                          <p:attrName>ppt_x</p:attrName>
                                        </p:attrNameLst>
                                      </p:cBhvr>
                                      <p:tavLst>
                                        <p:tav tm="0">
                                          <p:val>
                                            <p:fltVal val="0.5"/>
                                          </p:val>
                                        </p:tav>
                                        <p:tav tm="100000">
                                          <p:val>
                                            <p:strVal val="#ppt_x"/>
                                          </p:val>
                                        </p:tav>
                                      </p:tavLst>
                                    </p:anim>
                                    <p:anim calcmode="lin" valueType="num">
                                      <p:cBhvr>
                                        <p:cTn id="24" dur="500" fill="hold"/>
                                        <p:tgtEl>
                                          <p:spTgt spid="16"/>
                                        </p:tgtEl>
                                        <p:attrNameLst>
                                          <p:attrName>ppt_y</p:attrName>
                                        </p:attrNameLst>
                                      </p:cBhvr>
                                      <p:tavLst>
                                        <p:tav tm="0">
                                          <p:val>
                                            <p:strVal val="1+(6*min(max(#ppt_w*#ppt_h,.3),1)-7.4)/-.7*#ppt_h/2"/>
                                          </p:val>
                                        </p:tav>
                                        <p:tav tm="100000">
                                          <p:val>
                                            <p:strVal val="#ppt_y"/>
                                          </p:val>
                                        </p:tav>
                                      </p:tavLst>
                                    </p:anim>
                                  </p:childTnLst>
                                </p:cTn>
                              </p:par>
                              <p:par>
                                <p:cTn id="25" presetID="23" presetClass="entr" presetSubtype="36" fill="hold" nodeType="withEffect">
                                  <p:stCondLst>
                                    <p:cond delay="1000"/>
                                  </p:stCondLst>
                                  <p:childTnLst>
                                    <p:set>
                                      <p:cBhvr>
                                        <p:cTn id="26" dur="1" fill="hold">
                                          <p:stCondLst>
                                            <p:cond delay="0"/>
                                          </p:stCondLst>
                                        </p:cTn>
                                        <p:tgtEl>
                                          <p:spTgt spid="13"/>
                                        </p:tgtEl>
                                        <p:attrNameLst>
                                          <p:attrName>style.visibility</p:attrName>
                                        </p:attrNameLst>
                                      </p:cBhvr>
                                      <p:to>
                                        <p:strVal val="visible"/>
                                      </p:to>
                                    </p:set>
                                    <p:anim calcmode="lin" valueType="num">
                                      <p:cBhvr>
                                        <p:cTn id="27" dur="500" fill="hold"/>
                                        <p:tgtEl>
                                          <p:spTgt spid="13"/>
                                        </p:tgtEl>
                                        <p:attrNameLst>
                                          <p:attrName>ppt_w</p:attrName>
                                        </p:attrNameLst>
                                      </p:cBhvr>
                                      <p:tavLst>
                                        <p:tav tm="0">
                                          <p:val>
                                            <p:strVal val="(6*min(max(#ppt_w*#ppt_h,.3),1)-7.4)/-.7*#ppt_w"/>
                                          </p:val>
                                        </p:tav>
                                        <p:tav tm="100000">
                                          <p:val>
                                            <p:strVal val="#ppt_w"/>
                                          </p:val>
                                        </p:tav>
                                      </p:tavLst>
                                    </p:anim>
                                    <p:anim calcmode="lin" valueType="num">
                                      <p:cBhvr>
                                        <p:cTn id="28" dur="500" fill="hold"/>
                                        <p:tgtEl>
                                          <p:spTgt spid="13"/>
                                        </p:tgtEl>
                                        <p:attrNameLst>
                                          <p:attrName>ppt_h</p:attrName>
                                        </p:attrNameLst>
                                      </p:cBhvr>
                                      <p:tavLst>
                                        <p:tav tm="0">
                                          <p:val>
                                            <p:strVal val="(6*min(max(#ppt_w*#ppt_h,.3),1)-7.4)/-.7*#ppt_h"/>
                                          </p:val>
                                        </p:tav>
                                        <p:tav tm="100000">
                                          <p:val>
                                            <p:strVal val="#ppt_h"/>
                                          </p:val>
                                        </p:tav>
                                      </p:tavLst>
                                    </p:anim>
                                    <p:anim calcmode="lin" valueType="num">
                                      <p:cBhvr>
                                        <p:cTn id="29" dur="500" fill="hold"/>
                                        <p:tgtEl>
                                          <p:spTgt spid="13"/>
                                        </p:tgtEl>
                                        <p:attrNameLst>
                                          <p:attrName>ppt_x</p:attrName>
                                        </p:attrNameLst>
                                      </p:cBhvr>
                                      <p:tavLst>
                                        <p:tav tm="0">
                                          <p:val>
                                            <p:fltVal val="0.5"/>
                                          </p:val>
                                        </p:tav>
                                        <p:tav tm="100000">
                                          <p:val>
                                            <p:strVal val="#ppt_x"/>
                                          </p:val>
                                        </p:tav>
                                      </p:tavLst>
                                    </p:anim>
                                    <p:anim calcmode="lin" valueType="num">
                                      <p:cBhvr>
                                        <p:cTn id="30" dur="500" fill="hold"/>
                                        <p:tgtEl>
                                          <p:spTgt spid="13"/>
                                        </p:tgtEl>
                                        <p:attrNameLst>
                                          <p:attrName>ppt_y</p:attrName>
                                        </p:attrNameLst>
                                      </p:cBhvr>
                                      <p:tavLst>
                                        <p:tav tm="0">
                                          <p:val>
                                            <p:strVal val="1+(6*min(max(#ppt_w*#ppt_h,.3),1)-7.4)/-.7*#ppt_h/2"/>
                                          </p:val>
                                        </p:tav>
                                        <p:tav tm="100000">
                                          <p:val>
                                            <p:strVal val="#ppt_y"/>
                                          </p:val>
                                        </p:tav>
                                      </p:tavLst>
                                    </p:anim>
                                  </p:childTnLst>
                                </p:cTn>
                              </p:par>
                              <p:par>
                                <p:cTn id="31" presetID="23" presetClass="entr" presetSubtype="36" fill="hold" nodeType="withEffect">
                                  <p:stCondLst>
                                    <p:cond delay="1400"/>
                                  </p:stCondLst>
                                  <p:childTnLst>
                                    <p:set>
                                      <p:cBhvr>
                                        <p:cTn id="32" dur="1" fill="hold">
                                          <p:stCondLst>
                                            <p:cond delay="0"/>
                                          </p:stCondLst>
                                        </p:cTn>
                                        <p:tgtEl>
                                          <p:spTgt spid="15"/>
                                        </p:tgtEl>
                                        <p:attrNameLst>
                                          <p:attrName>style.visibility</p:attrName>
                                        </p:attrNameLst>
                                      </p:cBhvr>
                                      <p:to>
                                        <p:strVal val="visible"/>
                                      </p:to>
                                    </p:set>
                                    <p:anim calcmode="lin" valueType="num">
                                      <p:cBhvr>
                                        <p:cTn id="33" dur="500" fill="hold"/>
                                        <p:tgtEl>
                                          <p:spTgt spid="15"/>
                                        </p:tgtEl>
                                        <p:attrNameLst>
                                          <p:attrName>ppt_w</p:attrName>
                                        </p:attrNameLst>
                                      </p:cBhvr>
                                      <p:tavLst>
                                        <p:tav tm="0">
                                          <p:val>
                                            <p:strVal val="(6*min(max(#ppt_w*#ppt_h,.3),1)-7.4)/-.7*#ppt_w"/>
                                          </p:val>
                                        </p:tav>
                                        <p:tav tm="100000">
                                          <p:val>
                                            <p:strVal val="#ppt_w"/>
                                          </p:val>
                                        </p:tav>
                                      </p:tavLst>
                                    </p:anim>
                                    <p:anim calcmode="lin" valueType="num">
                                      <p:cBhvr>
                                        <p:cTn id="34" dur="500" fill="hold"/>
                                        <p:tgtEl>
                                          <p:spTgt spid="15"/>
                                        </p:tgtEl>
                                        <p:attrNameLst>
                                          <p:attrName>ppt_h</p:attrName>
                                        </p:attrNameLst>
                                      </p:cBhvr>
                                      <p:tavLst>
                                        <p:tav tm="0">
                                          <p:val>
                                            <p:strVal val="(6*min(max(#ppt_w*#ppt_h,.3),1)-7.4)/-.7*#ppt_h"/>
                                          </p:val>
                                        </p:tav>
                                        <p:tav tm="100000">
                                          <p:val>
                                            <p:strVal val="#ppt_h"/>
                                          </p:val>
                                        </p:tav>
                                      </p:tavLst>
                                    </p:anim>
                                    <p:anim calcmode="lin" valueType="num">
                                      <p:cBhvr>
                                        <p:cTn id="35" dur="500" fill="hold"/>
                                        <p:tgtEl>
                                          <p:spTgt spid="15"/>
                                        </p:tgtEl>
                                        <p:attrNameLst>
                                          <p:attrName>ppt_x</p:attrName>
                                        </p:attrNameLst>
                                      </p:cBhvr>
                                      <p:tavLst>
                                        <p:tav tm="0">
                                          <p:val>
                                            <p:fltVal val="0.5"/>
                                          </p:val>
                                        </p:tav>
                                        <p:tav tm="100000">
                                          <p:val>
                                            <p:strVal val="#ppt_x"/>
                                          </p:val>
                                        </p:tav>
                                      </p:tavLst>
                                    </p:anim>
                                    <p:anim calcmode="lin" valueType="num">
                                      <p:cBhvr>
                                        <p:cTn id="36" dur="500" fill="hold"/>
                                        <p:tgtEl>
                                          <p:spTgt spid="15"/>
                                        </p:tgtEl>
                                        <p:attrNameLst>
                                          <p:attrName>ppt_y</p:attrName>
                                        </p:attrNameLst>
                                      </p:cBhvr>
                                      <p:tavLst>
                                        <p:tav tm="0">
                                          <p:val>
                                            <p:strVal val="1+(6*min(max(#ppt_w*#ppt_h,.3),1)-7.4)/-.7*#ppt_h/2"/>
                                          </p:val>
                                        </p:tav>
                                        <p:tav tm="100000">
                                          <p:val>
                                            <p:strVal val="#ppt_y"/>
                                          </p:val>
                                        </p:tav>
                                      </p:tavLst>
                                    </p:anim>
                                  </p:childTnLst>
                                </p:cTn>
                              </p:par>
                              <p:par>
                                <p:cTn id="37" presetID="23" presetClass="entr" presetSubtype="36" fill="hold" nodeType="withEffect">
                                  <p:stCondLst>
                                    <p:cond delay="1800"/>
                                  </p:stCondLst>
                                  <p:childTnLst>
                                    <p:set>
                                      <p:cBhvr>
                                        <p:cTn id="38" dur="1" fill="hold">
                                          <p:stCondLst>
                                            <p:cond delay="0"/>
                                          </p:stCondLst>
                                        </p:cTn>
                                        <p:tgtEl>
                                          <p:spTgt spid="11"/>
                                        </p:tgtEl>
                                        <p:attrNameLst>
                                          <p:attrName>style.visibility</p:attrName>
                                        </p:attrNameLst>
                                      </p:cBhvr>
                                      <p:to>
                                        <p:strVal val="visible"/>
                                      </p:to>
                                    </p:set>
                                    <p:anim calcmode="lin" valueType="num">
                                      <p:cBhvr>
                                        <p:cTn id="39" dur="500" fill="hold"/>
                                        <p:tgtEl>
                                          <p:spTgt spid="11"/>
                                        </p:tgtEl>
                                        <p:attrNameLst>
                                          <p:attrName>ppt_w</p:attrName>
                                        </p:attrNameLst>
                                      </p:cBhvr>
                                      <p:tavLst>
                                        <p:tav tm="0">
                                          <p:val>
                                            <p:strVal val="(6*min(max(#ppt_w*#ppt_h,.3),1)-7.4)/-.7*#ppt_w"/>
                                          </p:val>
                                        </p:tav>
                                        <p:tav tm="100000">
                                          <p:val>
                                            <p:strVal val="#ppt_w"/>
                                          </p:val>
                                        </p:tav>
                                      </p:tavLst>
                                    </p:anim>
                                    <p:anim calcmode="lin" valueType="num">
                                      <p:cBhvr>
                                        <p:cTn id="40" dur="500" fill="hold"/>
                                        <p:tgtEl>
                                          <p:spTgt spid="11"/>
                                        </p:tgtEl>
                                        <p:attrNameLst>
                                          <p:attrName>ppt_h</p:attrName>
                                        </p:attrNameLst>
                                      </p:cBhvr>
                                      <p:tavLst>
                                        <p:tav tm="0">
                                          <p:val>
                                            <p:strVal val="(6*min(max(#ppt_w*#ppt_h,.3),1)-7.4)/-.7*#ppt_h"/>
                                          </p:val>
                                        </p:tav>
                                        <p:tav tm="100000">
                                          <p:val>
                                            <p:strVal val="#ppt_h"/>
                                          </p:val>
                                        </p:tav>
                                      </p:tavLst>
                                    </p:anim>
                                    <p:anim calcmode="lin" valueType="num">
                                      <p:cBhvr>
                                        <p:cTn id="41" dur="500" fill="hold"/>
                                        <p:tgtEl>
                                          <p:spTgt spid="11"/>
                                        </p:tgtEl>
                                        <p:attrNameLst>
                                          <p:attrName>ppt_x</p:attrName>
                                        </p:attrNameLst>
                                      </p:cBhvr>
                                      <p:tavLst>
                                        <p:tav tm="0">
                                          <p:val>
                                            <p:fltVal val="0.5"/>
                                          </p:val>
                                        </p:tav>
                                        <p:tav tm="100000">
                                          <p:val>
                                            <p:strVal val="#ppt_x"/>
                                          </p:val>
                                        </p:tav>
                                      </p:tavLst>
                                    </p:anim>
                                    <p:anim calcmode="lin" valueType="num">
                                      <p:cBhvr>
                                        <p:cTn id="42" dur="500" fill="hold"/>
                                        <p:tgtEl>
                                          <p:spTgt spid="11"/>
                                        </p:tgtEl>
                                        <p:attrNameLst>
                                          <p:attrName>ppt_y</p:attrName>
                                        </p:attrNameLst>
                                      </p:cBhvr>
                                      <p:tavLst>
                                        <p:tav tm="0">
                                          <p:val>
                                            <p:strVal val="1+(6*min(max(#ppt_w*#ppt_h,.3),1)-7.4)/-.7*#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p:bldP spid="30" grpId="0" animBg="1"/>
      <p:bldP spid="33"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矩形 33" hidden="1"/>
          <p:cNvSpPr/>
          <p:nvPr/>
        </p:nvSpPr>
        <p:spPr>
          <a:xfrm>
            <a:off x="2584817" y="2133288"/>
            <a:ext cx="936104" cy="6551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smtClean="0">
                <a:solidFill>
                  <a:srgbClr val="B0F533"/>
                </a:solidFill>
                <a:latin typeface="Gill Sans MT Pro Light" pitchFamily="34" charset="0"/>
              </a:rPr>
              <a:t>1</a:t>
            </a:r>
            <a:endParaRPr lang="zh-CN" altLang="en-US" sz="3600">
              <a:solidFill>
                <a:srgbClr val="B0F533"/>
              </a:solidFill>
              <a:latin typeface="Gill Sans MT Pro Light" pitchFamily="34" charset="0"/>
            </a:endParaRPr>
          </a:p>
        </p:txBody>
      </p:sp>
      <p:sp>
        <p:nvSpPr>
          <p:cNvPr id="35" name="矩形 34" hidden="1"/>
          <p:cNvSpPr/>
          <p:nvPr/>
        </p:nvSpPr>
        <p:spPr>
          <a:xfrm>
            <a:off x="3621305" y="2133288"/>
            <a:ext cx="5984291" cy="655104"/>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smtClean="0">
                <a:latin typeface="华文黑体" pitchFamily="2" charset="-122"/>
                <a:ea typeface="华文黑体" pitchFamily="2" charset="-122"/>
                <a:cs typeface="华文黑体" pitchFamily="2" charset="-122"/>
              </a:rPr>
              <a:t>                     点击添加标题</a:t>
            </a:r>
            <a:endParaRPr lang="zh-CN" altLang="en-US" sz="2800">
              <a:latin typeface="华文黑体" pitchFamily="2" charset="-122"/>
              <a:ea typeface="华文黑体" pitchFamily="2" charset="-122"/>
              <a:cs typeface="华文黑体" pitchFamily="2" charset="-122"/>
            </a:endParaRPr>
          </a:p>
        </p:txBody>
      </p:sp>
      <p:cxnSp>
        <p:nvCxnSpPr>
          <p:cNvPr id="6" name="直接连接符 5"/>
          <p:cNvCxnSpPr/>
          <p:nvPr/>
        </p:nvCxnSpPr>
        <p:spPr>
          <a:xfrm>
            <a:off x="1936744" y="3537012"/>
            <a:ext cx="8316924" cy="0"/>
          </a:xfrm>
          <a:prstGeom prst="line">
            <a:avLst/>
          </a:prstGeom>
          <a:ln w="76200">
            <a:solidFill>
              <a:schemeClr val="bg1"/>
            </a:solidFill>
          </a:ln>
        </p:spPr>
        <p:style>
          <a:lnRef idx="1">
            <a:schemeClr val="accent1"/>
          </a:lnRef>
          <a:fillRef idx="0">
            <a:schemeClr val="accent1"/>
          </a:fillRef>
          <a:effectRef idx="0">
            <a:schemeClr val="accent1"/>
          </a:effectRef>
          <a:fontRef idx="minor">
            <a:schemeClr val="tx1"/>
          </a:fontRef>
        </p:style>
      </p:cxnSp>
      <p:grpSp>
        <p:nvGrpSpPr>
          <p:cNvPr id="82" name="组合 81"/>
          <p:cNvGrpSpPr/>
          <p:nvPr/>
        </p:nvGrpSpPr>
        <p:grpSpPr>
          <a:xfrm>
            <a:off x="2998862" y="2348880"/>
            <a:ext cx="609440" cy="1296144"/>
            <a:chOff x="2998862" y="2348880"/>
            <a:chExt cx="609440" cy="1296144"/>
          </a:xfrm>
        </p:grpSpPr>
        <p:sp>
          <p:nvSpPr>
            <p:cNvPr id="20" name="椭圆 19"/>
            <p:cNvSpPr/>
            <p:nvPr/>
          </p:nvSpPr>
          <p:spPr>
            <a:xfrm>
              <a:off x="2998862" y="3429000"/>
              <a:ext cx="216024" cy="216024"/>
            </a:xfrm>
            <a:prstGeom prst="ellipse">
              <a:avLst/>
            </a:prstGeom>
            <a:solidFill>
              <a:schemeClr val="bg1"/>
            </a:solidFill>
            <a:ln w="76200">
              <a:solidFill>
                <a:srgbClr val="47A7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0" name="任意多边形 29"/>
            <p:cNvSpPr/>
            <p:nvPr/>
          </p:nvSpPr>
          <p:spPr>
            <a:xfrm>
              <a:off x="3103899" y="2348880"/>
              <a:ext cx="504403" cy="1043940"/>
            </a:xfrm>
            <a:custGeom>
              <a:avLst/>
              <a:gdLst>
                <a:gd name="connsiteX0" fmla="*/ 36741 w 535207"/>
                <a:gd name="connsiteY0" fmla="*/ 1158240 h 1158240"/>
                <a:gd name="connsiteX1" fmla="*/ 44361 w 535207"/>
                <a:gd name="connsiteY1" fmla="*/ 525780 h 1158240"/>
                <a:gd name="connsiteX2" fmla="*/ 478701 w 535207"/>
                <a:gd name="connsiteY2" fmla="*/ 449580 h 1158240"/>
                <a:gd name="connsiteX3" fmla="*/ 516801 w 535207"/>
                <a:gd name="connsiteY3" fmla="*/ 0 h 1158240"/>
                <a:gd name="connsiteX0-1" fmla="*/ 15927 w 511653"/>
                <a:gd name="connsiteY0-2" fmla="*/ 1158240 h 1158240"/>
                <a:gd name="connsiteX1-3" fmla="*/ 74347 w 511653"/>
                <a:gd name="connsiteY1-4" fmla="*/ 525780 h 1158240"/>
                <a:gd name="connsiteX2-5" fmla="*/ 457887 w 511653"/>
                <a:gd name="connsiteY2-6" fmla="*/ 449580 h 1158240"/>
                <a:gd name="connsiteX3-7" fmla="*/ 495987 w 511653"/>
                <a:gd name="connsiteY3-8" fmla="*/ 0 h 1158240"/>
                <a:gd name="connsiteX0-9" fmla="*/ 15927 w 511653"/>
                <a:gd name="connsiteY0-10" fmla="*/ 1158240 h 1158240"/>
                <a:gd name="connsiteX1-11" fmla="*/ 74347 w 511653"/>
                <a:gd name="connsiteY1-12" fmla="*/ 525780 h 1158240"/>
                <a:gd name="connsiteX2-13" fmla="*/ 457887 w 511653"/>
                <a:gd name="connsiteY2-14" fmla="*/ 449580 h 1158240"/>
                <a:gd name="connsiteX3-15" fmla="*/ 495987 w 511653"/>
                <a:gd name="connsiteY3-16" fmla="*/ 0 h 1158240"/>
                <a:gd name="connsiteX0-17" fmla="*/ 796 w 496522"/>
                <a:gd name="connsiteY0-18" fmla="*/ 1158240 h 1158240"/>
                <a:gd name="connsiteX1-19" fmla="*/ 5876 w 496522"/>
                <a:gd name="connsiteY1-20" fmla="*/ 661670 h 1158240"/>
                <a:gd name="connsiteX2-21" fmla="*/ 59216 w 496522"/>
                <a:gd name="connsiteY2-22" fmla="*/ 525780 h 1158240"/>
                <a:gd name="connsiteX3-23" fmla="*/ 442756 w 496522"/>
                <a:gd name="connsiteY3-24" fmla="*/ 449580 h 1158240"/>
                <a:gd name="connsiteX4" fmla="*/ 480856 w 496522"/>
                <a:gd name="connsiteY4" fmla="*/ 0 h 1158240"/>
                <a:gd name="connsiteX0-25" fmla="*/ 796 w 496522"/>
                <a:gd name="connsiteY0-26" fmla="*/ 1158240 h 1158240"/>
                <a:gd name="connsiteX1-27" fmla="*/ 5876 w 496522"/>
                <a:gd name="connsiteY1-28" fmla="*/ 661670 h 1158240"/>
                <a:gd name="connsiteX2-29" fmla="*/ 59216 w 496522"/>
                <a:gd name="connsiteY2-30" fmla="*/ 525780 h 1158240"/>
                <a:gd name="connsiteX3-31" fmla="*/ 442756 w 496522"/>
                <a:gd name="connsiteY3-32" fmla="*/ 449580 h 1158240"/>
                <a:gd name="connsiteX4-33" fmla="*/ 480856 w 496522"/>
                <a:gd name="connsiteY4-34" fmla="*/ 0 h 1158240"/>
                <a:gd name="connsiteX0-35" fmla="*/ 4327 w 497573"/>
                <a:gd name="connsiteY0-36" fmla="*/ 1158240 h 1158240"/>
                <a:gd name="connsiteX1-37" fmla="*/ 9407 w 497573"/>
                <a:gd name="connsiteY1-38" fmla="*/ 661670 h 1158240"/>
                <a:gd name="connsiteX2-39" fmla="*/ 113547 w 497573"/>
                <a:gd name="connsiteY2-40" fmla="*/ 525780 h 1158240"/>
                <a:gd name="connsiteX3-41" fmla="*/ 446287 w 497573"/>
                <a:gd name="connsiteY3-42" fmla="*/ 449580 h 1158240"/>
                <a:gd name="connsiteX4-43" fmla="*/ 484387 w 497573"/>
                <a:gd name="connsiteY4-44" fmla="*/ 0 h 1158240"/>
                <a:gd name="connsiteX0-45" fmla="*/ 4327 w 497573"/>
                <a:gd name="connsiteY0-46" fmla="*/ 1158240 h 1158240"/>
                <a:gd name="connsiteX1-47" fmla="*/ 9407 w 497573"/>
                <a:gd name="connsiteY1-48" fmla="*/ 661670 h 1158240"/>
                <a:gd name="connsiteX2-49" fmla="*/ 113547 w 497573"/>
                <a:gd name="connsiteY2-50" fmla="*/ 525780 h 1158240"/>
                <a:gd name="connsiteX3-51" fmla="*/ 446287 w 497573"/>
                <a:gd name="connsiteY3-52" fmla="*/ 449580 h 1158240"/>
                <a:gd name="connsiteX4-53" fmla="*/ 484387 w 497573"/>
                <a:gd name="connsiteY4-54" fmla="*/ 0 h 1158240"/>
                <a:gd name="connsiteX0-55" fmla="*/ 4327 w 497573"/>
                <a:gd name="connsiteY0-56" fmla="*/ 1158240 h 1158240"/>
                <a:gd name="connsiteX1-57" fmla="*/ 9407 w 497573"/>
                <a:gd name="connsiteY1-58" fmla="*/ 661670 h 1158240"/>
                <a:gd name="connsiteX2-59" fmla="*/ 113547 w 497573"/>
                <a:gd name="connsiteY2-60" fmla="*/ 525780 h 1158240"/>
                <a:gd name="connsiteX3-61" fmla="*/ 446287 w 497573"/>
                <a:gd name="connsiteY3-62" fmla="*/ 449580 h 1158240"/>
                <a:gd name="connsiteX4-63" fmla="*/ 484387 w 497573"/>
                <a:gd name="connsiteY4-64" fmla="*/ 0 h 1158240"/>
                <a:gd name="connsiteX0-65" fmla="*/ 4327 w 497573"/>
                <a:gd name="connsiteY0-66" fmla="*/ 1158240 h 1158240"/>
                <a:gd name="connsiteX1-67" fmla="*/ 9407 w 497573"/>
                <a:gd name="connsiteY1-68" fmla="*/ 661670 h 1158240"/>
                <a:gd name="connsiteX2-69" fmla="*/ 113547 w 497573"/>
                <a:gd name="connsiteY2-70" fmla="*/ 525780 h 1158240"/>
                <a:gd name="connsiteX3-71" fmla="*/ 446287 w 497573"/>
                <a:gd name="connsiteY3-72" fmla="*/ 449580 h 1158240"/>
                <a:gd name="connsiteX4-73" fmla="*/ 484387 w 497573"/>
                <a:gd name="connsiteY4-74" fmla="*/ 0 h 1158240"/>
                <a:gd name="connsiteX0-75" fmla="*/ 4327 w 497573"/>
                <a:gd name="connsiteY0-76" fmla="*/ 1158240 h 1158240"/>
                <a:gd name="connsiteX1-77" fmla="*/ 9407 w 497573"/>
                <a:gd name="connsiteY1-78" fmla="*/ 661670 h 1158240"/>
                <a:gd name="connsiteX2-79" fmla="*/ 113547 w 497573"/>
                <a:gd name="connsiteY2-80" fmla="*/ 525780 h 1158240"/>
                <a:gd name="connsiteX3-81" fmla="*/ 446287 w 497573"/>
                <a:gd name="connsiteY3-82" fmla="*/ 449580 h 1158240"/>
                <a:gd name="connsiteX4-83" fmla="*/ 484387 w 497573"/>
                <a:gd name="connsiteY4-84" fmla="*/ 0 h 1158240"/>
                <a:gd name="connsiteX0-85" fmla="*/ 4327 w 497573"/>
                <a:gd name="connsiteY0-86" fmla="*/ 1158240 h 1158240"/>
                <a:gd name="connsiteX1-87" fmla="*/ 9407 w 497573"/>
                <a:gd name="connsiteY1-88" fmla="*/ 661670 h 1158240"/>
                <a:gd name="connsiteX2-89" fmla="*/ 113547 w 497573"/>
                <a:gd name="connsiteY2-90" fmla="*/ 525780 h 1158240"/>
                <a:gd name="connsiteX3-91" fmla="*/ 446287 w 497573"/>
                <a:gd name="connsiteY3-92" fmla="*/ 449580 h 1158240"/>
                <a:gd name="connsiteX4-93" fmla="*/ 484387 w 497573"/>
                <a:gd name="connsiteY4-94" fmla="*/ 0 h 1158240"/>
                <a:gd name="connsiteX0-95" fmla="*/ 1638 w 494884"/>
                <a:gd name="connsiteY0-96" fmla="*/ 1158240 h 1158240"/>
                <a:gd name="connsiteX1-97" fmla="*/ 6718 w 494884"/>
                <a:gd name="connsiteY1-98" fmla="*/ 661670 h 1158240"/>
                <a:gd name="connsiteX2-99" fmla="*/ 110858 w 494884"/>
                <a:gd name="connsiteY2-100" fmla="*/ 525780 h 1158240"/>
                <a:gd name="connsiteX3-101" fmla="*/ 443598 w 494884"/>
                <a:gd name="connsiteY3-102" fmla="*/ 449580 h 1158240"/>
                <a:gd name="connsiteX4-103" fmla="*/ 481698 w 494884"/>
                <a:gd name="connsiteY4-104" fmla="*/ 0 h 1158240"/>
                <a:gd name="connsiteX0-105" fmla="*/ 17011 w 510257"/>
                <a:gd name="connsiteY0-106" fmla="*/ 1158240 h 1158240"/>
                <a:gd name="connsiteX1-107" fmla="*/ 3041 w 510257"/>
                <a:gd name="connsiteY1-108" fmla="*/ 675957 h 1158240"/>
                <a:gd name="connsiteX2-109" fmla="*/ 126231 w 510257"/>
                <a:gd name="connsiteY2-110" fmla="*/ 525780 h 1158240"/>
                <a:gd name="connsiteX3-111" fmla="*/ 458971 w 510257"/>
                <a:gd name="connsiteY3-112" fmla="*/ 449580 h 1158240"/>
                <a:gd name="connsiteX4-113" fmla="*/ 497071 w 510257"/>
                <a:gd name="connsiteY4-114" fmla="*/ 0 h 1158240"/>
                <a:gd name="connsiteX0-115" fmla="*/ 15386 w 508632"/>
                <a:gd name="connsiteY0-116" fmla="*/ 1158240 h 1158240"/>
                <a:gd name="connsiteX1-117" fmla="*/ 1416 w 508632"/>
                <a:gd name="connsiteY1-118" fmla="*/ 675957 h 1158240"/>
                <a:gd name="connsiteX2-119" fmla="*/ 124606 w 508632"/>
                <a:gd name="connsiteY2-120" fmla="*/ 525780 h 1158240"/>
                <a:gd name="connsiteX3-121" fmla="*/ 457346 w 508632"/>
                <a:gd name="connsiteY3-122" fmla="*/ 449580 h 1158240"/>
                <a:gd name="connsiteX4-123" fmla="*/ 495446 w 508632"/>
                <a:gd name="connsiteY4-124" fmla="*/ 0 h 1158240"/>
                <a:gd name="connsiteX0-125" fmla="*/ 15386 w 508632"/>
                <a:gd name="connsiteY0-126" fmla="*/ 1158240 h 1158240"/>
                <a:gd name="connsiteX1-127" fmla="*/ 1416 w 508632"/>
                <a:gd name="connsiteY1-128" fmla="*/ 675957 h 1158240"/>
                <a:gd name="connsiteX2-129" fmla="*/ 124606 w 508632"/>
                <a:gd name="connsiteY2-130" fmla="*/ 525780 h 1158240"/>
                <a:gd name="connsiteX3-131" fmla="*/ 457346 w 508632"/>
                <a:gd name="connsiteY3-132" fmla="*/ 449580 h 1158240"/>
                <a:gd name="connsiteX4-133" fmla="*/ 495446 w 508632"/>
                <a:gd name="connsiteY4-134" fmla="*/ 0 h 1158240"/>
                <a:gd name="connsiteX0-135" fmla="*/ 15386 w 508632"/>
                <a:gd name="connsiteY0-136" fmla="*/ 1158240 h 1158240"/>
                <a:gd name="connsiteX1-137" fmla="*/ 1416 w 508632"/>
                <a:gd name="connsiteY1-138" fmla="*/ 675957 h 1158240"/>
                <a:gd name="connsiteX2-139" fmla="*/ 124606 w 508632"/>
                <a:gd name="connsiteY2-140" fmla="*/ 525780 h 1158240"/>
                <a:gd name="connsiteX3-141" fmla="*/ 457346 w 508632"/>
                <a:gd name="connsiteY3-142" fmla="*/ 449580 h 1158240"/>
                <a:gd name="connsiteX4-143" fmla="*/ 495446 w 508632"/>
                <a:gd name="connsiteY4-144" fmla="*/ 0 h 1158240"/>
                <a:gd name="connsiteX0-145" fmla="*/ 15664 w 513673"/>
                <a:gd name="connsiteY0-146" fmla="*/ 1158240 h 1158240"/>
                <a:gd name="connsiteX1-147" fmla="*/ 6457 w 513673"/>
                <a:gd name="connsiteY1-148" fmla="*/ 675957 h 1158240"/>
                <a:gd name="connsiteX2-149" fmla="*/ 129647 w 513673"/>
                <a:gd name="connsiteY2-150" fmla="*/ 525780 h 1158240"/>
                <a:gd name="connsiteX3-151" fmla="*/ 462387 w 513673"/>
                <a:gd name="connsiteY3-152" fmla="*/ 449580 h 1158240"/>
                <a:gd name="connsiteX4-153" fmla="*/ 500487 w 513673"/>
                <a:gd name="connsiteY4-154" fmla="*/ 0 h 1158240"/>
                <a:gd name="connsiteX0-155" fmla="*/ 17239 w 515248"/>
                <a:gd name="connsiteY0-156" fmla="*/ 1158240 h 1158240"/>
                <a:gd name="connsiteX1-157" fmla="*/ 8032 w 515248"/>
                <a:gd name="connsiteY1-158" fmla="*/ 675957 h 1158240"/>
                <a:gd name="connsiteX2-159" fmla="*/ 131222 w 515248"/>
                <a:gd name="connsiteY2-160" fmla="*/ 525780 h 1158240"/>
                <a:gd name="connsiteX3-161" fmla="*/ 463962 w 515248"/>
                <a:gd name="connsiteY3-162" fmla="*/ 449580 h 1158240"/>
                <a:gd name="connsiteX4-163" fmla="*/ 502062 w 515248"/>
                <a:gd name="connsiteY4-164" fmla="*/ 0 h 1158240"/>
                <a:gd name="connsiteX0-165" fmla="*/ 17239 w 515248"/>
                <a:gd name="connsiteY0-166" fmla="*/ 1158240 h 1158240"/>
                <a:gd name="connsiteX1-167" fmla="*/ 8032 w 515248"/>
                <a:gd name="connsiteY1-168" fmla="*/ 675957 h 1158240"/>
                <a:gd name="connsiteX2-169" fmla="*/ 131222 w 515248"/>
                <a:gd name="connsiteY2-170" fmla="*/ 525780 h 1158240"/>
                <a:gd name="connsiteX3-171" fmla="*/ 463962 w 515248"/>
                <a:gd name="connsiteY3-172" fmla="*/ 449580 h 1158240"/>
                <a:gd name="connsiteX4-173" fmla="*/ 502062 w 515248"/>
                <a:gd name="connsiteY4-174" fmla="*/ 0 h 1158240"/>
                <a:gd name="connsiteX0-175" fmla="*/ 10978 w 508987"/>
                <a:gd name="connsiteY0-176" fmla="*/ 1158240 h 1158240"/>
                <a:gd name="connsiteX1-177" fmla="*/ 1771 w 508987"/>
                <a:gd name="connsiteY1-178" fmla="*/ 675957 h 1158240"/>
                <a:gd name="connsiteX2-179" fmla="*/ 124961 w 508987"/>
                <a:gd name="connsiteY2-180" fmla="*/ 525780 h 1158240"/>
                <a:gd name="connsiteX3-181" fmla="*/ 457701 w 508987"/>
                <a:gd name="connsiteY3-182" fmla="*/ 449580 h 1158240"/>
                <a:gd name="connsiteX4-183" fmla="*/ 495801 w 508987"/>
                <a:gd name="connsiteY4-184" fmla="*/ 0 h 1158240"/>
                <a:gd name="connsiteX0-185" fmla="*/ 3620 w 501629"/>
                <a:gd name="connsiteY0-186" fmla="*/ 1158240 h 1158240"/>
                <a:gd name="connsiteX1-187" fmla="*/ 8700 w 501629"/>
                <a:gd name="connsiteY1-188" fmla="*/ 675957 h 1158240"/>
                <a:gd name="connsiteX2-189" fmla="*/ 117603 w 501629"/>
                <a:gd name="connsiteY2-190" fmla="*/ 525780 h 1158240"/>
                <a:gd name="connsiteX3-191" fmla="*/ 450343 w 501629"/>
                <a:gd name="connsiteY3-192" fmla="*/ 449580 h 1158240"/>
                <a:gd name="connsiteX4-193" fmla="*/ 488443 w 501629"/>
                <a:gd name="connsiteY4-194" fmla="*/ 0 h 1158240"/>
                <a:gd name="connsiteX0-195" fmla="*/ 7415 w 505424"/>
                <a:gd name="connsiteY0-196" fmla="*/ 1158240 h 1158240"/>
                <a:gd name="connsiteX1-197" fmla="*/ 2970 w 505424"/>
                <a:gd name="connsiteY1-198" fmla="*/ 680719 h 1158240"/>
                <a:gd name="connsiteX2-199" fmla="*/ 121398 w 505424"/>
                <a:gd name="connsiteY2-200" fmla="*/ 525780 h 1158240"/>
                <a:gd name="connsiteX3-201" fmla="*/ 454138 w 505424"/>
                <a:gd name="connsiteY3-202" fmla="*/ 449580 h 1158240"/>
                <a:gd name="connsiteX4-203" fmla="*/ 492238 w 505424"/>
                <a:gd name="connsiteY4-204" fmla="*/ 0 h 1158240"/>
                <a:gd name="connsiteX0-205" fmla="*/ 7415 w 505424"/>
                <a:gd name="connsiteY0-206" fmla="*/ 1158240 h 1158240"/>
                <a:gd name="connsiteX1-207" fmla="*/ 2970 w 505424"/>
                <a:gd name="connsiteY1-208" fmla="*/ 680719 h 1158240"/>
                <a:gd name="connsiteX2-209" fmla="*/ 121398 w 505424"/>
                <a:gd name="connsiteY2-210" fmla="*/ 525780 h 1158240"/>
                <a:gd name="connsiteX3-211" fmla="*/ 454138 w 505424"/>
                <a:gd name="connsiteY3-212" fmla="*/ 449580 h 1158240"/>
                <a:gd name="connsiteX4-213" fmla="*/ 492238 w 505424"/>
                <a:gd name="connsiteY4-214" fmla="*/ 0 h 1158240"/>
                <a:gd name="connsiteX0-215" fmla="*/ 7415 w 518817"/>
                <a:gd name="connsiteY0-216" fmla="*/ 1158240 h 1158240"/>
                <a:gd name="connsiteX1-217" fmla="*/ 2970 w 518817"/>
                <a:gd name="connsiteY1-218" fmla="*/ 680719 h 1158240"/>
                <a:gd name="connsiteX2-219" fmla="*/ 121398 w 518817"/>
                <a:gd name="connsiteY2-220" fmla="*/ 525780 h 1158240"/>
                <a:gd name="connsiteX3-221" fmla="*/ 482713 w 518817"/>
                <a:gd name="connsiteY3-222" fmla="*/ 487680 h 1158240"/>
                <a:gd name="connsiteX4-223" fmla="*/ 492238 w 518817"/>
                <a:gd name="connsiteY4-224" fmla="*/ 0 h 1158240"/>
                <a:gd name="connsiteX0-225" fmla="*/ 7415 w 518817"/>
                <a:gd name="connsiteY0-226" fmla="*/ 1158240 h 1158240"/>
                <a:gd name="connsiteX1-227" fmla="*/ 2970 w 518817"/>
                <a:gd name="connsiteY1-228" fmla="*/ 680719 h 1158240"/>
                <a:gd name="connsiteX2-229" fmla="*/ 121398 w 518817"/>
                <a:gd name="connsiteY2-230" fmla="*/ 525780 h 1158240"/>
                <a:gd name="connsiteX3-231" fmla="*/ 482713 w 518817"/>
                <a:gd name="connsiteY3-232" fmla="*/ 473392 h 1158240"/>
                <a:gd name="connsiteX4-233" fmla="*/ 492238 w 518817"/>
                <a:gd name="connsiteY4-234" fmla="*/ 0 h 1158240"/>
                <a:gd name="connsiteX0-235" fmla="*/ 7415 w 513005"/>
                <a:gd name="connsiteY0-236" fmla="*/ 1158240 h 1158240"/>
                <a:gd name="connsiteX1-237" fmla="*/ 2970 w 513005"/>
                <a:gd name="connsiteY1-238" fmla="*/ 680719 h 1158240"/>
                <a:gd name="connsiteX2-239" fmla="*/ 121398 w 513005"/>
                <a:gd name="connsiteY2-240" fmla="*/ 525780 h 1158240"/>
                <a:gd name="connsiteX3-241" fmla="*/ 482713 w 513005"/>
                <a:gd name="connsiteY3-242" fmla="*/ 473392 h 1158240"/>
                <a:gd name="connsiteX4-243" fmla="*/ 492238 w 513005"/>
                <a:gd name="connsiteY4-244" fmla="*/ 0 h 1158240"/>
                <a:gd name="connsiteX0-245" fmla="*/ 7415 w 506000"/>
                <a:gd name="connsiteY0-246" fmla="*/ 1158240 h 1158240"/>
                <a:gd name="connsiteX1-247" fmla="*/ 2970 w 506000"/>
                <a:gd name="connsiteY1-248" fmla="*/ 680719 h 1158240"/>
                <a:gd name="connsiteX2-249" fmla="*/ 121398 w 506000"/>
                <a:gd name="connsiteY2-250" fmla="*/ 525780 h 1158240"/>
                <a:gd name="connsiteX3-251" fmla="*/ 482713 w 506000"/>
                <a:gd name="connsiteY3-252" fmla="*/ 473392 h 1158240"/>
                <a:gd name="connsiteX4-253" fmla="*/ 492238 w 506000"/>
                <a:gd name="connsiteY4-254" fmla="*/ 0 h 1158240"/>
                <a:gd name="connsiteX0-255" fmla="*/ 7415 w 517650"/>
                <a:gd name="connsiteY0-256" fmla="*/ 1158240 h 1158240"/>
                <a:gd name="connsiteX1-257" fmla="*/ 2970 w 517650"/>
                <a:gd name="connsiteY1-258" fmla="*/ 680719 h 1158240"/>
                <a:gd name="connsiteX2-259" fmla="*/ 121398 w 517650"/>
                <a:gd name="connsiteY2-260" fmla="*/ 525780 h 1158240"/>
                <a:gd name="connsiteX3-261" fmla="*/ 482713 w 517650"/>
                <a:gd name="connsiteY3-262" fmla="*/ 473392 h 1158240"/>
                <a:gd name="connsiteX4-263" fmla="*/ 504621 w 517650"/>
                <a:gd name="connsiteY4-264" fmla="*/ 350520 h 1158240"/>
                <a:gd name="connsiteX5" fmla="*/ 492238 w 517650"/>
                <a:gd name="connsiteY5" fmla="*/ 0 h 1158240"/>
                <a:gd name="connsiteX0-265" fmla="*/ 7415 w 506303"/>
                <a:gd name="connsiteY0-266" fmla="*/ 1158240 h 1158240"/>
                <a:gd name="connsiteX1-267" fmla="*/ 2970 w 506303"/>
                <a:gd name="connsiteY1-268" fmla="*/ 680719 h 1158240"/>
                <a:gd name="connsiteX2-269" fmla="*/ 121398 w 506303"/>
                <a:gd name="connsiteY2-270" fmla="*/ 525780 h 1158240"/>
                <a:gd name="connsiteX3-271" fmla="*/ 458901 w 506303"/>
                <a:gd name="connsiteY3-272" fmla="*/ 482917 h 1158240"/>
                <a:gd name="connsiteX4-273" fmla="*/ 504621 w 506303"/>
                <a:gd name="connsiteY4-274" fmla="*/ 350520 h 1158240"/>
                <a:gd name="connsiteX5-275" fmla="*/ 492238 w 506303"/>
                <a:gd name="connsiteY5-276" fmla="*/ 0 h 1158240"/>
                <a:gd name="connsiteX0-277" fmla="*/ 7415 w 504766"/>
                <a:gd name="connsiteY0-278" fmla="*/ 1158240 h 1158240"/>
                <a:gd name="connsiteX1-279" fmla="*/ 2970 w 504766"/>
                <a:gd name="connsiteY1-280" fmla="*/ 680719 h 1158240"/>
                <a:gd name="connsiteX2-281" fmla="*/ 121398 w 504766"/>
                <a:gd name="connsiteY2-282" fmla="*/ 525780 h 1158240"/>
                <a:gd name="connsiteX3-283" fmla="*/ 444613 w 504766"/>
                <a:gd name="connsiteY3-284" fmla="*/ 482917 h 1158240"/>
                <a:gd name="connsiteX4-285" fmla="*/ 504621 w 504766"/>
                <a:gd name="connsiteY4-286" fmla="*/ 350520 h 1158240"/>
                <a:gd name="connsiteX5-287" fmla="*/ 492238 w 504766"/>
                <a:gd name="connsiteY5-288" fmla="*/ 0 h 1158240"/>
                <a:gd name="connsiteX0-289" fmla="*/ 7415 w 507328"/>
                <a:gd name="connsiteY0-290" fmla="*/ 1163003 h 1163003"/>
                <a:gd name="connsiteX1-291" fmla="*/ 2970 w 507328"/>
                <a:gd name="connsiteY1-292" fmla="*/ 685482 h 1163003"/>
                <a:gd name="connsiteX2-293" fmla="*/ 121398 w 507328"/>
                <a:gd name="connsiteY2-294" fmla="*/ 530543 h 1163003"/>
                <a:gd name="connsiteX3-295" fmla="*/ 444613 w 507328"/>
                <a:gd name="connsiteY3-296" fmla="*/ 487680 h 1163003"/>
                <a:gd name="connsiteX4-297" fmla="*/ 504621 w 507328"/>
                <a:gd name="connsiteY4-298" fmla="*/ 355283 h 1163003"/>
                <a:gd name="connsiteX5-299" fmla="*/ 506525 w 507328"/>
                <a:gd name="connsiteY5-300" fmla="*/ 0 h 1163003"/>
                <a:gd name="connsiteX0-301" fmla="*/ 7415 w 507328"/>
                <a:gd name="connsiteY0-302" fmla="*/ 1163003 h 1163003"/>
                <a:gd name="connsiteX1-303" fmla="*/ 2970 w 507328"/>
                <a:gd name="connsiteY1-304" fmla="*/ 685482 h 1163003"/>
                <a:gd name="connsiteX2-305" fmla="*/ 121398 w 507328"/>
                <a:gd name="connsiteY2-306" fmla="*/ 530543 h 1163003"/>
                <a:gd name="connsiteX3-307" fmla="*/ 444613 w 507328"/>
                <a:gd name="connsiteY3-308" fmla="*/ 487680 h 1163003"/>
                <a:gd name="connsiteX4-309" fmla="*/ 504621 w 507328"/>
                <a:gd name="connsiteY4-310" fmla="*/ 355283 h 1163003"/>
                <a:gd name="connsiteX5-311" fmla="*/ 506525 w 507328"/>
                <a:gd name="connsiteY5-312" fmla="*/ 0 h 1163003"/>
                <a:gd name="connsiteX0-313" fmla="*/ 7415 w 507328"/>
                <a:gd name="connsiteY0-314" fmla="*/ 1163003 h 1163003"/>
                <a:gd name="connsiteX1-315" fmla="*/ 2970 w 507328"/>
                <a:gd name="connsiteY1-316" fmla="*/ 685482 h 1163003"/>
                <a:gd name="connsiteX2-317" fmla="*/ 121398 w 507328"/>
                <a:gd name="connsiteY2-318" fmla="*/ 530543 h 1163003"/>
                <a:gd name="connsiteX3-319" fmla="*/ 444613 w 507328"/>
                <a:gd name="connsiteY3-320" fmla="*/ 487680 h 1163003"/>
                <a:gd name="connsiteX4-321" fmla="*/ 504621 w 507328"/>
                <a:gd name="connsiteY4-322" fmla="*/ 355283 h 1163003"/>
                <a:gd name="connsiteX5-323" fmla="*/ 506525 w 507328"/>
                <a:gd name="connsiteY5-324" fmla="*/ 0 h 1163003"/>
                <a:gd name="connsiteX0-325" fmla="*/ 7415 w 507328"/>
                <a:gd name="connsiteY0-326" fmla="*/ 1163003 h 1163003"/>
                <a:gd name="connsiteX1-327" fmla="*/ 2970 w 507328"/>
                <a:gd name="connsiteY1-328" fmla="*/ 685482 h 1163003"/>
                <a:gd name="connsiteX2-329" fmla="*/ 121398 w 507328"/>
                <a:gd name="connsiteY2-330" fmla="*/ 530543 h 1163003"/>
                <a:gd name="connsiteX3-331" fmla="*/ 444613 w 507328"/>
                <a:gd name="connsiteY3-332" fmla="*/ 516255 h 1163003"/>
                <a:gd name="connsiteX4-333" fmla="*/ 504621 w 507328"/>
                <a:gd name="connsiteY4-334" fmla="*/ 355283 h 1163003"/>
                <a:gd name="connsiteX5-335" fmla="*/ 506525 w 507328"/>
                <a:gd name="connsiteY5-336" fmla="*/ 0 h 1163003"/>
                <a:gd name="connsiteX0-337" fmla="*/ 7415 w 507328"/>
                <a:gd name="connsiteY0-338" fmla="*/ 1163003 h 1163003"/>
                <a:gd name="connsiteX1-339" fmla="*/ 2970 w 507328"/>
                <a:gd name="connsiteY1-340" fmla="*/ 685482 h 1163003"/>
                <a:gd name="connsiteX2-341" fmla="*/ 121398 w 507328"/>
                <a:gd name="connsiteY2-342" fmla="*/ 530543 h 1163003"/>
                <a:gd name="connsiteX3-343" fmla="*/ 444613 w 507328"/>
                <a:gd name="connsiteY3-344" fmla="*/ 516255 h 1163003"/>
                <a:gd name="connsiteX4-345" fmla="*/ 504621 w 507328"/>
                <a:gd name="connsiteY4-346" fmla="*/ 355283 h 1163003"/>
                <a:gd name="connsiteX5-347" fmla="*/ 506525 w 507328"/>
                <a:gd name="connsiteY5-348" fmla="*/ 0 h 1163003"/>
                <a:gd name="connsiteX0-349" fmla="*/ 7415 w 507328"/>
                <a:gd name="connsiteY0-350" fmla="*/ 1163003 h 1163003"/>
                <a:gd name="connsiteX1-351" fmla="*/ 2970 w 507328"/>
                <a:gd name="connsiteY1-352" fmla="*/ 685482 h 1163003"/>
                <a:gd name="connsiteX2-353" fmla="*/ 121398 w 507328"/>
                <a:gd name="connsiteY2-354" fmla="*/ 530543 h 1163003"/>
                <a:gd name="connsiteX3-355" fmla="*/ 411275 w 507328"/>
                <a:gd name="connsiteY3-356" fmla="*/ 511492 h 1163003"/>
                <a:gd name="connsiteX4-357" fmla="*/ 504621 w 507328"/>
                <a:gd name="connsiteY4-358" fmla="*/ 355283 h 1163003"/>
                <a:gd name="connsiteX5-359" fmla="*/ 506525 w 507328"/>
                <a:gd name="connsiteY5-360" fmla="*/ 0 h 1163003"/>
                <a:gd name="connsiteX0-361" fmla="*/ 7415 w 507328"/>
                <a:gd name="connsiteY0-362" fmla="*/ 1163003 h 1163003"/>
                <a:gd name="connsiteX1-363" fmla="*/ 2970 w 507328"/>
                <a:gd name="connsiteY1-364" fmla="*/ 666432 h 1163003"/>
                <a:gd name="connsiteX2-365" fmla="*/ 121398 w 507328"/>
                <a:gd name="connsiteY2-366" fmla="*/ 530543 h 1163003"/>
                <a:gd name="connsiteX3-367" fmla="*/ 411275 w 507328"/>
                <a:gd name="connsiteY3-368" fmla="*/ 511492 h 1163003"/>
                <a:gd name="connsiteX4-369" fmla="*/ 504621 w 507328"/>
                <a:gd name="connsiteY4-370" fmla="*/ 355283 h 1163003"/>
                <a:gd name="connsiteX5-371" fmla="*/ 506525 w 507328"/>
                <a:gd name="connsiteY5-372" fmla="*/ 0 h 1163003"/>
                <a:gd name="connsiteX0-373" fmla="*/ 4679 w 504592"/>
                <a:gd name="connsiteY0-374" fmla="*/ 1163003 h 1163003"/>
                <a:gd name="connsiteX1-375" fmla="*/ 234 w 504592"/>
                <a:gd name="connsiteY1-376" fmla="*/ 666432 h 1163003"/>
                <a:gd name="connsiteX2-377" fmla="*/ 118662 w 504592"/>
                <a:gd name="connsiteY2-378" fmla="*/ 530543 h 1163003"/>
                <a:gd name="connsiteX3-379" fmla="*/ 408539 w 504592"/>
                <a:gd name="connsiteY3-380" fmla="*/ 511492 h 1163003"/>
                <a:gd name="connsiteX4-381" fmla="*/ 501885 w 504592"/>
                <a:gd name="connsiteY4-382" fmla="*/ 355283 h 1163003"/>
                <a:gd name="connsiteX5-383" fmla="*/ 503789 w 504592"/>
                <a:gd name="connsiteY5-384" fmla="*/ 0 h 1163003"/>
                <a:gd name="connsiteX0-385" fmla="*/ 4679 w 504592"/>
                <a:gd name="connsiteY0-386" fmla="*/ 1163003 h 1163003"/>
                <a:gd name="connsiteX1-387" fmla="*/ 234 w 504592"/>
                <a:gd name="connsiteY1-388" fmla="*/ 666432 h 1163003"/>
                <a:gd name="connsiteX2-389" fmla="*/ 118662 w 504592"/>
                <a:gd name="connsiteY2-390" fmla="*/ 530543 h 1163003"/>
                <a:gd name="connsiteX3-391" fmla="*/ 408539 w 504592"/>
                <a:gd name="connsiteY3-392" fmla="*/ 511492 h 1163003"/>
                <a:gd name="connsiteX4-393" fmla="*/ 501885 w 504592"/>
                <a:gd name="connsiteY4-394" fmla="*/ 355283 h 1163003"/>
                <a:gd name="connsiteX5-395" fmla="*/ 503789 w 504592"/>
                <a:gd name="connsiteY5-396" fmla="*/ 0 h 1163003"/>
                <a:gd name="connsiteX0-397" fmla="*/ 4679 w 504592"/>
                <a:gd name="connsiteY0-398" fmla="*/ 1163003 h 1163003"/>
                <a:gd name="connsiteX1-399" fmla="*/ 234 w 504592"/>
                <a:gd name="connsiteY1-400" fmla="*/ 666432 h 1163003"/>
                <a:gd name="connsiteX2-401" fmla="*/ 118662 w 504592"/>
                <a:gd name="connsiteY2-402" fmla="*/ 530543 h 1163003"/>
                <a:gd name="connsiteX3-403" fmla="*/ 408539 w 504592"/>
                <a:gd name="connsiteY3-404" fmla="*/ 511492 h 1163003"/>
                <a:gd name="connsiteX4-405" fmla="*/ 501885 w 504592"/>
                <a:gd name="connsiteY4-406" fmla="*/ 355283 h 1163003"/>
                <a:gd name="connsiteX5-407" fmla="*/ 503789 w 504592"/>
                <a:gd name="connsiteY5-408" fmla="*/ 0 h 1163003"/>
                <a:gd name="connsiteX0-409" fmla="*/ 4679 w 504592"/>
                <a:gd name="connsiteY0-410" fmla="*/ 1163003 h 1163003"/>
                <a:gd name="connsiteX1-411" fmla="*/ 234 w 504592"/>
                <a:gd name="connsiteY1-412" fmla="*/ 666432 h 1163003"/>
                <a:gd name="connsiteX2-413" fmla="*/ 118662 w 504592"/>
                <a:gd name="connsiteY2-414" fmla="*/ 530543 h 1163003"/>
                <a:gd name="connsiteX3-415" fmla="*/ 408539 w 504592"/>
                <a:gd name="connsiteY3-416" fmla="*/ 535305 h 1163003"/>
                <a:gd name="connsiteX4-417" fmla="*/ 501885 w 504592"/>
                <a:gd name="connsiteY4-418" fmla="*/ 355283 h 1163003"/>
                <a:gd name="connsiteX5-419" fmla="*/ 503789 w 504592"/>
                <a:gd name="connsiteY5-420" fmla="*/ 0 h 1163003"/>
                <a:gd name="connsiteX0-421" fmla="*/ 4679 w 504592"/>
                <a:gd name="connsiteY0-422" fmla="*/ 1163003 h 1163003"/>
                <a:gd name="connsiteX1-423" fmla="*/ 234 w 504592"/>
                <a:gd name="connsiteY1-424" fmla="*/ 666432 h 1163003"/>
                <a:gd name="connsiteX2-425" fmla="*/ 118662 w 504592"/>
                <a:gd name="connsiteY2-426" fmla="*/ 530543 h 1163003"/>
                <a:gd name="connsiteX3-427" fmla="*/ 403777 w 504592"/>
                <a:gd name="connsiteY3-428" fmla="*/ 525780 h 1163003"/>
                <a:gd name="connsiteX4-429" fmla="*/ 501885 w 504592"/>
                <a:gd name="connsiteY4-430" fmla="*/ 355283 h 1163003"/>
                <a:gd name="connsiteX5-431" fmla="*/ 503789 w 504592"/>
                <a:gd name="connsiteY5-432" fmla="*/ 0 h 1163003"/>
                <a:gd name="connsiteX0-433" fmla="*/ 4679 w 504592"/>
                <a:gd name="connsiteY0-434" fmla="*/ 1163003 h 1163003"/>
                <a:gd name="connsiteX1-435" fmla="*/ 234 w 504592"/>
                <a:gd name="connsiteY1-436" fmla="*/ 666432 h 1163003"/>
                <a:gd name="connsiteX2-437" fmla="*/ 118662 w 504592"/>
                <a:gd name="connsiteY2-438" fmla="*/ 530543 h 1163003"/>
                <a:gd name="connsiteX3-439" fmla="*/ 403777 w 504592"/>
                <a:gd name="connsiteY3-440" fmla="*/ 525780 h 1163003"/>
                <a:gd name="connsiteX4-441" fmla="*/ 501885 w 504592"/>
                <a:gd name="connsiteY4-442" fmla="*/ 355283 h 1163003"/>
                <a:gd name="connsiteX5-443" fmla="*/ 503789 w 504592"/>
                <a:gd name="connsiteY5-444" fmla="*/ 0 h 1163003"/>
                <a:gd name="connsiteX0-445" fmla="*/ 7177 w 507090"/>
                <a:gd name="connsiteY0-446" fmla="*/ 1163003 h 1163003"/>
                <a:gd name="connsiteX1-447" fmla="*/ 2732 w 507090"/>
                <a:gd name="connsiteY1-448" fmla="*/ 666432 h 1163003"/>
                <a:gd name="connsiteX2-449" fmla="*/ 121160 w 507090"/>
                <a:gd name="connsiteY2-450" fmla="*/ 530543 h 1163003"/>
                <a:gd name="connsiteX3-451" fmla="*/ 406275 w 507090"/>
                <a:gd name="connsiteY3-452" fmla="*/ 525780 h 1163003"/>
                <a:gd name="connsiteX4-453" fmla="*/ 504383 w 507090"/>
                <a:gd name="connsiteY4-454" fmla="*/ 355283 h 1163003"/>
                <a:gd name="connsiteX5-455" fmla="*/ 506287 w 507090"/>
                <a:gd name="connsiteY5-456" fmla="*/ 0 h 1163003"/>
                <a:gd name="connsiteX0-457" fmla="*/ 7177 w 507090"/>
                <a:gd name="connsiteY0-458" fmla="*/ 1163003 h 1163003"/>
                <a:gd name="connsiteX1-459" fmla="*/ 2732 w 507090"/>
                <a:gd name="connsiteY1-460" fmla="*/ 666432 h 1163003"/>
                <a:gd name="connsiteX2-461" fmla="*/ 121160 w 507090"/>
                <a:gd name="connsiteY2-462" fmla="*/ 530543 h 1163003"/>
                <a:gd name="connsiteX3-463" fmla="*/ 406275 w 507090"/>
                <a:gd name="connsiteY3-464" fmla="*/ 525780 h 1163003"/>
                <a:gd name="connsiteX4-465" fmla="*/ 504383 w 507090"/>
                <a:gd name="connsiteY4-466" fmla="*/ 355283 h 1163003"/>
                <a:gd name="connsiteX5-467" fmla="*/ 506287 w 507090"/>
                <a:gd name="connsiteY5-468" fmla="*/ 0 h 1163003"/>
                <a:gd name="connsiteX0-469" fmla="*/ 7177 w 507090"/>
                <a:gd name="connsiteY0-470" fmla="*/ 1163003 h 1163003"/>
                <a:gd name="connsiteX1-471" fmla="*/ 2732 w 507090"/>
                <a:gd name="connsiteY1-472" fmla="*/ 666432 h 1163003"/>
                <a:gd name="connsiteX2-473" fmla="*/ 121160 w 507090"/>
                <a:gd name="connsiteY2-474" fmla="*/ 530543 h 1163003"/>
                <a:gd name="connsiteX3-475" fmla="*/ 406275 w 507090"/>
                <a:gd name="connsiteY3-476" fmla="*/ 525780 h 1163003"/>
                <a:gd name="connsiteX4-477" fmla="*/ 504383 w 507090"/>
                <a:gd name="connsiteY4-478" fmla="*/ 355283 h 1163003"/>
                <a:gd name="connsiteX5-479" fmla="*/ 506287 w 507090"/>
                <a:gd name="connsiteY5-480" fmla="*/ 0 h 1163003"/>
                <a:gd name="connsiteX0-481" fmla="*/ 7177 w 507090"/>
                <a:gd name="connsiteY0-482" fmla="*/ 1163003 h 1163003"/>
                <a:gd name="connsiteX1-483" fmla="*/ 2732 w 507090"/>
                <a:gd name="connsiteY1-484" fmla="*/ 666432 h 1163003"/>
                <a:gd name="connsiteX2-485" fmla="*/ 121160 w 507090"/>
                <a:gd name="connsiteY2-486" fmla="*/ 530543 h 1163003"/>
                <a:gd name="connsiteX3-487" fmla="*/ 406275 w 507090"/>
                <a:gd name="connsiteY3-488" fmla="*/ 525780 h 1163003"/>
                <a:gd name="connsiteX4-489" fmla="*/ 504383 w 507090"/>
                <a:gd name="connsiteY4-490" fmla="*/ 355283 h 1163003"/>
                <a:gd name="connsiteX5-491" fmla="*/ 506287 w 507090"/>
                <a:gd name="connsiteY5-492" fmla="*/ 0 h 1163003"/>
                <a:gd name="connsiteX0-493" fmla="*/ 10856 w 515532"/>
                <a:gd name="connsiteY0-494" fmla="*/ 1048703 h 1048703"/>
                <a:gd name="connsiteX1-495" fmla="*/ 11174 w 515532"/>
                <a:gd name="connsiteY1-496" fmla="*/ 666432 h 1048703"/>
                <a:gd name="connsiteX2-497" fmla="*/ 129602 w 515532"/>
                <a:gd name="connsiteY2-498" fmla="*/ 530543 h 1048703"/>
                <a:gd name="connsiteX3-499" fmla="*/ 414717 w 515532"/>
                <a:gd name="connsiteY3-500" fmla="*/ 525780 h 1048703"/>
                <a:gd name="connsiteX4-501" fmla="*/ 512825 w 515532"/>
                <a:gd name="connsiteY4-502" fmla="*/ 355283 h 1048703"/>
                <a:gd name="connsiteX5-503" fmla="*/ 514729 w 515532"/>
                <a:gd name="connsiteY5-504" fmla="*/ 0 h 1048703"/>
                <a:gd name="connsiteX0-505" fmla="*/ 3023 w 507699"/>
                <a:gd name="connsiteY0-506" fmla="*/ 1048703 h 1048703"/>
                <a:gd name="connsiteX1-507" fmla="*/ 3341 w 507699"/>
                <a:gd name="connsiteY1-508" fmla="*/ 666432 h 1048703"/>
                <a:gd name="connsiteX2-509" fmla="*/ 121769 w 507699"/>
                <a:gd name="connsiteY2-510" fmla="*/ 530543 h 1048703"/>
                <a:gd name="connsiteX3-511" fmla="*/ 406884 w 507699"/>
                <a:gd name="connsiteY3-512" fmla="*/ 525780 h 1048703"/>
                <a:gd name="connsiteX4-513" fmla="*/ 504992 w 507699"/>
                <a:gd name="connsiteY4-514" fmla="*/ 355283 h 1048703"/>
                <a:gd name="connsiteX5-515" fmla="*/ 506896 w 507699"/>
                <a:gd name="connsiteY5-516" fmla="*/ 0 h 1048703"/>
                <a:gd name="connsiteX0-517" fmla="*/ 10856 w 515532"/>
                <a:gd name="connsiteY0-518" fmla="*/ 1048703 h 1048703"/>
                <a:gd name="connsiteX1-519" fmla="*/ 11174 w 515532"/>
                <a:gd name="connsiteY1-520" fmla="*/ 666432 h 1048703"/>
                <a:gd name="connsiteX2-521" fmla="*/ 129602 w 515532"/>
                <a:gd name="connsiteY2-522" fmla="*/ 530543 h 1048703"/>
                <a:gd name="connsiteX3-523" fmla="*/ 414717 w 515532"/>
                <a:gd name="connsiteY3-524" fmla="*/ 525780 h 1048703"/>
                <a:gd name="connsiteX4-525" fmla="*/ 512825 w 515532"/>
                <a:gd name="connsiteY4-526" fmla="*/ 355283 h 1048703"/>
                <a:gd name="connsiteX5-527" fmla="*/ 514729 w 515532"/>
                <a:gd name="connsiteY5-528" fmla="*/ 0 h 1048703"/>
                <a:gd name="connsiteX0-529" fmla="*/ 5191 w 509867"/>
                <a:gd name="connsiteY0-530" fmla="*/ 1048703 h 1048703"/>
                <a:gd name="connsiteX1-531" fmla="*/ 5509 w 509867"/>
                <a:gd name="connsiteY1-532" fmla="*/ 666432 h 1048703"/>
                <a:gd name="connsiteX2-533" fmla="*/ 123937 w 509867"/>
                <a:gd name="connsiteY2-534" fmla="*/ 530543 h 1048703"/>
                <a:gd name="connsiteX3-535" fmla="*/ 409052 w 509867"/>
                <a:gd name="connsiteY3-536" fmla="*/ 525780 h 1048703"/>
                <a:gd name="connsiteX4-537" fmla="*/ 507160 w 509867"/>
                <a:gd name="connsiteY4-538" fmla="*/ 355283 h 1048703"/>
                <a:gd name="connsiteX5-539" fmla="*/ 509064 w 509867"/>
                <a:gd name="connsiteY5-540" fmla="*/ 0 h 1048703"/>
                <a:gd name="connsiteX0-541" fmla="*/ 15252 w 512784"/>
                <a:gd name="connsiteY0-542" fmla="*/ 1043940 h 1043940"/>
                <a:gd name="connsiteX1-543" fmla="*/ 8426 w 512784"/>
                <a:gd name="connsiteY1-544" fmla="*/ 666432 h 1043940"/>
                <a:gd name="connsiteX2-545" fmla="*/ 126854 w 512784"/>
                <a:gd name="connsiteY2-546" fmla="*/ 530543 h 1043940"/>
                <a:gd name="connsiteX3-547" fmla="*/ 411969 w 512784"/>
                <a:gd name="connsiteY3-548" fmla="*/ 525780 h 1043940"/>
                <a:gd name="connsiteX4-549" fmla="*/ 510077 w 512784"/>
                <a:gd name="connsiteY4-550" fmla="*/ 355283 h 1043940"/>
                <a:gd name="connsiteX5-551" fmla="*/ 511981 w 512784"/>
                <a:gd name="connsiteY5-552" fmla="*/ 0 h 1043940"/>
                <a:gd name="connsiteX0-553" fmla="*/ 6948 w 504480"/>
                <a:gd name="connsiteY0-554" fmla="*/ 1043940 h 1043940"/>
                <a:gd name="connsiteX1-555" fmla="*/ 122 w 504480"/>
                <a:gd name="connsiteY1-556" fmla="*/ 666432 h 1043940"/>
                <a:gd name="connsiteX2-557" fmla="*/ 118550 w 504480"/>
                <a:gd name="connsiteY2-558" fmla="*/ 530543 h 1043940"/>
                <a:gd name="connsiteX3-559" fmla="*/ 403665 w 504480"/>
                <a:gd name="connsiteY3-560" fmla="*/ 525780 h 1043940"/>
                <a:gd name="connsiteX4-561" fmla="*/ 501773 w 504480"/>
                <a:gd name="connsiteY4-562" fmla="*/ 355283 h 1043940"/>
                <a:gd name="connsiteX5-563" fmla="*/ 503677 w 504480"/>
                <a:gd name="connsiteY5-564" fmla="*/ 0 h 1043940"/>
                <a:gd name="connsiteX0-565" fmla="*/ 6830 w 504362"/>
                <a:gd name="connsiteY0-566" fmla="*/ 1043940 h 1043940"/>
                <a:gd name="connsiteX1-567" fmla="*/ 4 w 504362"/>
                <a:gd name="connsiteY1-568" fmla="*/ 666432 h 1043940"/>
                <a:gd name="connsiteX2-569" fmla="*/ 118432 w 504362"/>
                <a:gd name="connsiteY2-570" fmla="*/ 530543 h 1043940"/>
                <a:gd name="connsiteX3-571" fmla="*/ 403547 w 504362"/>
                <a:gd name="connsiteY3-572" fmla="*/ 525780 h 1043940"/>
                <a:gd name="connsiteX4-573" fmla="*/ 501655 w 504362"/>
                <a:gd name="connsiteY4-574" fmla="*/ 355283 h 1043940"/>
                <a:gd name="connsiteX5-575" fmla="*/ 503559 w 504362"/>
                <a:gd name="connsiteY5-576" fmla="*/ 0 h 1043940"/>
                <a:gd name="connsiteX0-577" fmla="*/ 6871 w 504403"/>
                <a:gd name="connsiteY0-578" fmla="*/ 1043940 h 1043940"/>
                <a:gd name="connsiteX1-579" fmla="*/ 45 w 504403"/>
                <a:gd name="connsiteY1-580" fmla="*/ 666432 h 1043940"/>
                <a:gd name="connsiteX2-581" fmla="*/ 118473 w 504403"/>
                <a:gd name="connsiteY2-582" fmla="*/ 530543 h 1043940"/>
                <a:gd name="connsiteX3-583" fmla="*/ 403588 w 504403"/>
                <a:gd name="connsiteY3-584" fmla="*/ 525780 h 1043940"/>
                <a:gd name="connsiteX4-585" fmla="*/ 501696 w 504403"/>
                <a:gd name="connsiteY4-586" fmla="*/ 355283 h 1043940"/>
                <a:gd name="connsiteX5-587" fmla="*/ 503600 w 504403"/>
                <a:gd name="connsiteY5-588" fmla="*/ 0 h 1043940"/>
              </a:gdLst>
              <a:ahLst/>
              <a:cxnLst>
                <a:cxn ang="0">
                  <a:pos x="connsiteX0-1" y="connsiteY0-2"/>
                </a:cxn>
                <a:cxn ang="0">
                  <a:pos x="connsiteX1-3" y="connsiteY1-4"/>
                </a:cxn>
                <a:cxn ang="0">
                  <a:pos x="connsiteX2-5" y="connsiteY2-6"/>
                </a:cxn>
                <a:cxn ang="0">
                  <a:pos x="connsiteX3-7" y="connsiteY3-8"/>
                </a:cxn>
                <a:cxn ang="0">
                  <a:pos x="connsiteX4-33" y="connsiteY4-34"/>
                </a:cxn>
                <a:cxn ang="0">
                  <a:pos x="connsiteX5-275" y="connsiteY5-276"/>
                </a:cxn>
              </a:cxnLst>
              <a:rect l="l" t="t" r="r" b="b"/>
              <a:pathLst>
                <a:path w="504403" h="1043940">
                  <a:moveTo>
                    <a:pt x="6871" y="1043940"/>
                  </a:moveTo>
                  <a:cubicBezTo>
                    <a:pt x="-1807" y="623041"/>
                    <a:pt x="318" y="751999"/>
                    <a:pt x="45" y="666432"/>
                  </a:cubicBezTo>
                  <a:cubicBezTo>
                    <a:pt x="-416" y="521719"/>
                    <a:pt x="46453" y="534935"/>
                    <a:pt x="118473" y="530543"/>
                  </a:cubicBezTo>
                  <a:cubicBezTo>
                    <a:pt x="190493" y="526151"/>
                    <a:pt x="315905" y="526415"/>
                    <a:pt x="403588" y="525780"/>
                  </a:cubicBezTo>
                  <a:cubicBezTo>
                    <a:pt x="491271" y="525145"/>
                    <a:pt x="504870" y="496095"/>
                    <a:pt x="501696" y="355283"/>
                  </a:cubicBezTo>
                  <a:cubicBezTo>
                    <a:pt x="503284" y="276384"/>
                    <a:pt x="505664" y="58420"/>
                    <a:pt x="503600" y="0"/>
                  </a:cubicBezTo>
                </a:path>
              </a:pathLst>
            </a:cu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grpSp>
      <p:grpSp>
        <p:nvGrpSpPr>
          <p:cNvPr id="83" name="组合 82"/>
          <p:cNvGrpSpPr/>
          <p:nvPr/>
        </p:nvGrpSpPr>
        <p:grpSpPr>
          <a:xfrm>
            <a:off x="3718942" y="3429000"/>
            <a:ext cx="609010" cy="1290630"/>
            <a:chOff x="3718942" y="3429000"/>
            <a:chExt cx="609010" cy="1290630"/>
          </a:xfrm>
        </p:grpSpPr>
        <p:sp>
          <p:nvSpPr>
            <p:cNvPr id="36" name="椭圆 35"/>
            <p:cNvSpPr/>
            <p:nvPr/>
          </p:nvSpPr>
          <p:spPr>
            <a:xfrm>
              <a:off x="3718942" y="3429000"/>
              <a:ext cx="216024" cy="216024"/>
            </a:xfrm>
            <a:prstGeom prst="ellipse">
              <a:avLst/>
            </a:prstGeom>
            <a:solidFill>
              <a:schemeClr val="bg1"/>
            </a:solidFill>
            <a:ln w="76200">
              <a:solidFill>
                <a:srgbClr val="47A7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1" name="任意多边形 50"/>
            <p:cNvSpPr/>
            <p:nvPr/>
          </p:nvSpPr>
          <p:spPr>
            <a:xfrm flipV="1">
              <a:off x="3823549" y="3675690"/>
              <a:ext cx="504403" cy="1043940"/>
            </a:xfrm>
            <a:custGeom>
              <a:avLst/>
              <a:gdLst>
                <a:gd name="connsiteX0" fmla="*/ 36741 w 535207"/>
                <a:gd name="connsiteY0" fmla="*/ 1158240 h 1158240"/>
                <a:gd name="connsiteX1" fmla="*/ 44361 w 535207"/>
                <a:gd name="connsiteY1" fmla="*/ 525780 h 1158240"/>
                <a:gd name="connsiteX2" fmla="*/ 478701 w 535207"/>
                <a:gd name="connsiteY2" fmla="*/ 449580 h 1158240"/>
                <a:gd name="connsiteX3" fmla="*/ 516801 w 535207"/>
                <a:gd name="connsiteY3" fmla="*/ 0 h 1158240"/>
                <a:gd name="connsiteX0-1" fmla="*/ 15927 w 511653"/>
                <a:gd name="connsiteY0-2" fmla="*/ 1158240 h 1158240"/>
                <a:gd name="connsiteX1-3" fmla="*/ 74347 w 511653"/>
                <a:gd name="connsiteY1-4" fmla="*/ 525780 h 1158240"/>
                <a:gd name="connsiteX2-5" fmla="*/ 457887 w 511653"/>
                <a:gd name="connsiteY2-6" fmla="*/ 449580 h 1158240"/>
                <a:gd name="connsiteX3-7" fmla="*/ 495987 w 511653"/>
                <a:gd name="connsiteY3-8" fmla="*/ 0 h 1158240"/>
                <a:gd name="connsiteX0-9" fmla="*/ 15927 w 511653"/>
                <a:gd name="connsiteY0-10" fmla="*/ 1158240 h 1158240"/>
                <a:gd name="connsiteX1-11" fmla="*/ 74347 w 511653"/>
                <a:gd name="connsiteY1-12" fmla="*/ 525780 h 1158240"/>
                <a:gd name="connsiteX2-13" fmla="*/ 457887 w 511653"/>
                <a:gd name="connsiteY2-14" fmla="*/ 449580 h 1158240"/>
                <a:gd name="connsiteX3-15" fmla="*/ 495987 w 511653"/>
                <a:gd name="connsiteY3-16" fmla="*/ 0 h 1158240"/>
                <a:gd name="connsiteX0-17" fmla="*/ 796 w 496522"/>
                <a:gd name="connsiteY0-18" fmla="*/ 1158240 h 1158240"/>
                <a:gd name="connsiteX1-19" fmla="*/ 5876 w 496522"/>
                <a:gd name="connsiteY1-20" fmla="*/ 661670 h 1158240"/>
                <a:gd name="connsiteX2-21" fmla="*/ 59216 w 496522"/>
                <a:gd name="connsiteY2-22" fmla="*/ 525780 h 1158240"/>
                <a:gd name="connsiteX3-23" fmla="*/ 442756 w 496522"/>
                <a:gd name="connsiteY3-24" fmla="*/ 449580 h 1158240"/>
                <a:gd name="connsiteX4" fmla="*/ 480856 w 496522"/>
                <a:gd name="connsiteY4" fmla="*/ 0 h 1158240"/>
                <a:gd name="connsiteX0-25" fmla="*/ 796 w 496522"/>
                <a:gd name="connsiteY0-26" fmla="*/ 1158240 h 1158240"/>
                <a:gd name="connsiteX1-27" fmla="*/ 5876 w 496522"/>
                <a:gd name="connsiteY1-28" fmla="*/ 661670 h 1158240"/>
                <a:gd name="connsiteX2-29" fmla="*/ 59216 w 496522"/>
                <a:gd name="connsiteY2-30" fmla="*/ 525780 h 1158240"/>
                <a:gd name="connsiteX3-31" fmla="*/ 442756 w 496522"/>
                <a:gd name="connsiteY3-32" fmla="*/ 449580 h 1158240"/>
                <a:gd name="connsiteX4-33" fmla="*/ 480856 w 496522"/>
                <a:gd name="connsiteY4-34" fmla="*/ 0 h 1158240"/>
                <a:gd name="connsiteX0-35" fmla="*/ 4327 w 497573"/>
                <a:gd name="connsiteY0-36" fmla="*/ 1158240 h 1158240"/>
                <a:gd name="connsiteX1-37" fmla="*/ 9407 w 497573"/>
                <a:gd name="connsiteY1-38" fmla="*/ 661670 h 1158240"/>
                <a:gd name="connsiteX2-39" fmla="*/ 113547 w 497573"/>
                <a:gd name="connsiteY2-40" fmla="*/ 525780 h 1158240"/>
                <a:gd name="connsiteX3-41" fmla="*/ 446287 w 497573"/>
                <a:gd name="connsiteY3-42" fmla="*/ 449580 h 1158240"/>
                <a:gd name="connsiteX4-43" fmla="*/ 484387 w 497573"/>
                <a:gd name="connsiteY4-44" fmla="*/ 0 h 1158240"/>
                <a:gd name="connsiteX0-45" fmla="*/ 4327 w 497573"/>
                <a:gd name="connsiteY0-46" fmla="*/ 1158240 h 1158240"/>
                <a:gd name="connsiteX1-47" fmla="*/ 9407 w 497573"/>
                <a:gd name="connsiteY1-48" fmla="*/ 661670 h 1158240"/>
                <a:gd name="connsiteX2-49" fmla="*/ 113547 w 497573"/>
                <a:gd name="connsiteY2-50" fmla="*/ 525780 h 1158240"/>
                <a:gd name="connsiteX3-51" fmla="*/ 446287 w 497573"/>
                <a:gd name="connsiteY3-52" fmla="*/ 449580 h 1158240"/>
                <a:gd name="connsiteX4-53" fmla="*/ 484387 w 497573"/>
                <a:gd name="connsiteY4-54" fmla="*/ 0 h 1158240"/>
                <a:gd name="connsiteX0-55" fmla="*/ 4327 w 497573"/>
                <a:gd name="connsiteY0-56" fmla="*/ 1158240 h 1158240"/>
                <a:gd name="connsiteX1-57" fmla="*/ 9407 w 497573"/>
                <a:gd name="connsiteY1-58" fmla="*/ 661670 h 1158240"/>
                <a:gd name="connsiteX2-59" fmla="*/ 113547 w 497573"/>
                <a:gd name="connsiteY2-60" fmla="*/ 525780 h 1158240"/>
                <a:gd name="connsiteX3-61" fmla="*/ 446287 w 497573"/>
                <a:gd name="connsiteY3-62" fmla="*/ 449580 h 1158240"/>
                <a:gd name="connsiteX4-63" fmla="*/ 484387 w 497573"/>
                <a:gd name="connsiteY4-64" fmla="*/ 0 h 1158240"/>
                <a:gd name="connsiteX0-65" fmla="*/ 4327 w 497573"/>
                <a:gd name="connsiteY0-66" fmla="*/ 1158240 h 1158240"/>
                <a:gd name="connsiteX1-67" fmla="*/ 9407 w 497573"/>
                <a:gd name="connsiteY1-68" fmla="*/ 661670 h 1158240"/>
                <a:gd name="connsiteX2-69" fmla="*/ 113547 w 497573"/>
                <a:gd name="connsiteY2-70" fmla="*/ 525780 h 1158240"/>
                <a:gd name="connsiteX3-71" fmla="*/ 446287 w 497573"/>
                <a:gd name="connsiteY3-72" fmla="*/ 449580 h 1158240"/>
                <a:gd name="connsiteX4-73" fmla="*/ 484387 w 497573"/>
                <a:gd name="connsiteY4-74" fmla="*/ 0 h 1158240"/>
                <a:gd name="connsiteX0-75" fmla="*/ 4327 w 497573"/>
                <a:gd name="connsiteY0-76" fmla="*/ 1158240 h 1158240"/>
                <a:gd name="connsiteX1-77" fmla="*/ 9407 w 497573"/>
                <a:gd name="connsiteY1-78" fmla="*/ 661670 h 1158240"/>
                <a:gd name="connsiteX2-79" fmla="*/ 113547 w 497573"/>
                <a:gd name="connsiteY2-80" fmla="*/ 525780 h 1158240"/>
                <a:gd name="connsiteX3-81" fmla="*/ 446287 w 497573"/>
                <a:gd name="connsiteY3-82" fmla="*/ 449580 h 1158240"/>
                <a:gd name="connsiteX4-83" fmla="*/ 484387 w 497573"/>
                <a:gd name="connsiteY4-84" fmla="*/ 0 h 1158240"/>
                <a:gd name="connsiteX0-85" fmla="*/ 4327 w 497573"/>
                <a:gd name="connsiteY0-86" fmla="*/ 1158240 h 1158240"/>
                <a:gd name="connsiteX1-87" fmla="*/ 9407 w 497573"/>
                <a:gd name="connsiteY1-88" fmla="*/ 661670 h 1158240"/>
                <a:gd name="connsiteX2-89" fmla="*/ 113547 w 497573"/>
                <a:gd name="connsiteY2-90" fmla="*/ 525780 h 1158240"/>
                <a:gd name="connsiteX3-91" fmla="*/ 446287 w 497573"/>
                <a:gd name="connsiteY3-92" fmla="*/ 449580 h 1158240"/>
                <a:gd name="connsiteX4-93" fmla="*/ 484387 w 497573"/>
                <a:gd name="connsiteY4-94" fmla="*/ 0 h 1158240"/>
                <a:gd name="connsiteX0-95" fmla="*/ 1638 w 494884"/>
                <a:gd name="connsiteY0-96" fmla="*/ 1158240 h 1158240"/>
                <a:gd name="connsiteX1-97" fmla="*/ 6718 w 494884"/>
                <a:gd name="connsiteY1-98" fmla="*/ 661670 h 1158240"/>
                <a:gd name="connsiteX2-99" fmla="*/ 110858 w 494884"/>
                <a:gd name="connsiteY2-100" fmla="*/ 525780 h 1158240"/>
                <a:gd name="connsiteX3-101" fmla="*/ 443598 w 494884"/>
                <a:gd name="connsiteY3-102" fmla="*/ 449580 h 1158240"/>
                <a:gd name="connsiteX4-103" fmla="*/ 481698 w 494884"/>
                <a:gd name="connsiteY4-104" fmla="*/ 0 h 1158240"/>
                <a:gd name="connsiteX0-105" fmla="*/ 17011 w 510257"/>
                <a:gd name="connsiteY0-106" fmla="*/ 1158240 h 1158240"/>
                <a:gd name="connsiteX1-107" fmla="*/ 3041 w 510257"/>
                <a:gd name="connsiteY1-108" fmla="*/ 675957 h 1158240"/>
                <a:gd name="connsiteX2-109" fmla="*/ 126231 w 510257"/>
                <a:gd name="connsiteY2-110" fmla="*/ 525780 h 1158240"/>
                <a:gd name="connsiteX3-111" fmla="*/ 458971 w 510257"/>
                <a:gd name="connsiteY3-112" fmla="*/ 449580 h 1158240"/>
                <a:gd name="connsiteX4-113" fmla="*/ 497071 w 510257"/>
                <a:gd name="connsiteY4-114" fmla="*/ 0 h 1158240"/>
                <a:gd name="connsiteX0-115" fmla="*/ 15386 w 508632"/>
                <a:gd name="connsiteY0-116" fmla="*/ 1158240 h 1158240"/>
                <a:gd name="connsiteX1-117" fmla="*/ 1416 w 508632"/>
                <a:gd name="connsiteY1-118" fmla="*/ 675957 h 1158240"/>
                <a:gd name="connsiteX2-119" fmla="*/ 124606 w 508632"/>
                <a:gd name="connsiteY2-120" fmla="*/ 525780 h 1158240"/>
                <a:gd name="connsiteX3-121" fmla="*/ 457346 w 508632"/>
                <a:gd name="connsiteY3-122" fmla="*/ 449580 h 1158240"/>
                <a:gd name="connsiteX4-123" fmla="*/ 495446 w 508632"/>
                <a:gd name="connsiteY4-124" fmla="*/ 0 h 1158240"/>
                <a:gd name="connsiteX0-125" fmla="*/ 15386 w 508632"/>
                <a:gd name="connsiteY0-126" fmla="*/ 1158240 h 1158240"/>
                <a:gd name="connsiteX1-127" fmla="*/ 1416 w 508632"/>
                <a:gd name="connsiteY1-128" fmla="*/ 675957 h 1158240"/>
                <a:gd name="connsiteX2-129" fmla="*/ 124606 w 508632"/>
                <a:gd name="connsiteY2-130" fmla="*/ 525780 h 1158240"/>
                <a:gd name="connsiteX3-131" fmla="*/ 457346 w 508632"/>
                <a:gd name="connsiteY3-132" fmla="*/ 449580 h 1158240"/>
                <a:gd name="connsiteX4-133" fmla="*/ 495446 w 508632"/>
                <a:gd name="connsiteY4-134" fmla="*/ 0 h 1158240"/>
                <a:gd name="connsiteX0-135" fmla="*/ 15386 w 508632"/>
                <a:gd name="connsiteY0-136" fmla="*/ 1158240 h 1158240"/>
                <a:gd name="connsiteX1-137" fmla="*/ 1416 w 508632"/>
                <a:gd name="connsiteY1-138" fmla="*/ 675957 h 1158240"/>
                <a:gd name="connsiteX2-139" fmla="*/ 124606 w 508632"/>
                <a:gd name="connsiteY2-140" fmla="*/ 525780 h 1158240"/>
                <a:gd name="connsiteX3-141" fmla="*/ 457346 w 508632"/>
                <a:gd name="connsiteY3-142" fmla="*/ 449580 h 1158240"/>
                <a:gd name="connsiteX4-143" fmla="*/ 495446 w 508632"/>
                <a:gd name="connsiteY4-144" fmla="*/ 0 h 1158240"/>
                <a:gd name="connsiteX0-145" fmla="*/ 15664 w 513673"/>
                <a:gd name="connsiteY0-146" fmla="*/ 1158240 h 1158240"/>
                <a:gd name="connsiteX1-147" fmla="*/ 6457 w 513673"/>
                <a:gd name="connsiteY1-148" fmla="*/ 675957 h 1158240"/>
                <a:gd name="connsiteX2-149" fmla="*/ 129647 w 513673"/>
                <a:gd name="connsiteY2-150" fmla="*/ 525780 h 1158240"/>
                <a:gd name="connsiteX3-151" fmla="*/ 462387 w 513673"/>
                <a:gd name="connsiteY3-152" fmla="*/ 449580 h 1158240"/>
                <a:gd name="connsiteX4-153" fmla="*/ 500487 w 513673"/>
                <a:gd name="connsiteY4-154" fmla="*/ 0 h 1158240"/>
                <a:gd name="connsiteX0-155" fmla="*/ 17239 w 515248"/>
                <a:gd name="connsiteY0-156" fmla="*/ 1158240 h 1158240"/>
                <a:gd name="connsiteX1-157" fmla="*/ 8032 w 515248"/>
                <a:gd name="connsiteY1-158" fmla="*/ 675957 h 1158240"/>
                <a:gd name="connsiteX2-159" fmla="*/ 131222 w 515248"/>
                <a:gd name="connsiteY2-160" fmla="*/ 525780 h 1158240"/>
                <a:gd name="connsiteX3-161" fmla="*/ 463962 w 515248"/>
                <a:gd name="connsiteY3-162" fmla="*/ 449580 h 1158240"/>
                <a:gd name="connsiteX4-163" fmla="*/ 502062 w 515248"/>
                <a:gd name="connsiteY4-164" fmla="*/ 0 h 1158240"/>
                <a:gd name="connsiteX0-165" fmla="*/ 17239 w 515248"/>
                <a:gd name="connsiteY0-166" fmla="*/ 1158240 h 1158240"/>
                <a:gd name="connsiteX1-167" fmla="*/ 8032 w 515248"/>
                <a:gd name="connsiteY1-168" fmla="*/ 675957 h 1158240"/>
                <a:gd name="connsiteX2-169" fmla="*/ 131222 w 515248"/>
                <a:gd name="connsiteY2-170" fmla="*/ 525780 h 1158240"/>
                <a:gd name="connsiteX3-171" fmla="*/ 463962 w 515248"/>
                <a:gd name="connsiteY3-172" fmla="*/ 449580 h 1158240"/>
                <a:gd name="connsiteX4-173" fmla="*/ 502062 w 515248"/>
                <a:gd name="connsiteY4-174" fmla="*/ 0 h 1158240"/>
                <a:gd name="connsiteX0-175" fmla="*/ 10978 w 508987"/>
                <a:gd name="connsiteY0-176" fmla="*/ 1158240 h 1158240"/>
                <a:gd name="connsiteX1-177" fmla="*/ 1771 w 508987"/>
                <a:gd name="connsiteY1-178" fmla="*/ 675957 h 1158240"/>
                <a:gd name="connsiteX2-179" fmla="*/ 124961 w 508987"/>
                <a:gd name="connsiteY2-180" fmla="*/ 525780 h 1158240"/>
                <a:gd name="connsiteX3-181" fmla="*/ 457701 w 508987"/>
                <a:gd name="connsiteY3-182" fmla="*/ 449580 h 1158240"/>
                <a:gd name="connsiteX4-183" fmla="*/ 495801 w 508987"/>
                <a:gd name="connsiteY4-184" fmla="*/ 0 h 1158240"/>
                <a:gd name="connsiteX0-185" fmla="*/ 3620 w 501629"/>
                <a:gd name="connsiteY0-186" fmla="*/ 1158240 h 1158240"/>
                <a:gd name="connsiteX1-187" fmla="*/ 8700 w 501629"/>
                <a:gd name="connsiteY1-188" fmla="*/ 675957 h 1158240"/>
                <a:gd name="connsiteX2-189" fmla="*/ 117603 w 501629"/>
                <a:gd name="connsiteY2-190" fmla="*/ 525780 h 1158240"/>
                <a:gd name="connsiteX3-191" fmla="*/ 450343 w 501629"/>
                <a:gd name="connsiteY3-192" fmla="*/ 449580 h 1158240"/>
                <a:gd name="connsiteX4-193" fmla="*/ 488443 w 501629"/>
                <a:gd name="connsiteY4-194" fmla="*/ 0 h 1158240"/>
                <a:gd name="connsiteX0-195" fmla="*/ 7415 w 505424"/>
                <a:gd name="connsiteY0-196" fmla="*/ 1158240 h 1158240"/>
                <a:gd name="connsiteX1-197" fmla="*/ 2970 w 505424"/>
                <a:gd name="connsiteY1-198" fmla="*/ 680719 h 1158240"/>
                <a:gd name="connsiteX2-199" fmla="*/ 121398 w 505424"/>
                <a:gd name="connsiteY2-200" fmla="*/ 525780 h 1158240"/>
                <a:gd name="connsiteX3-201" fmla="*/ 454138 w 505424"/>
                <a:gd name="connsiteY3-202" fmla="*/ 449580 h 1158240"/>
                <a:gd name="connsiteX4-203" fmla="*/ 492238 w 505424"/>
                <a:gd name="connsiteY4-204" fmla="*/ 0 h 1158240"/>
                <a:gd name="connsiteX0-205" fmla="*/ 7415 w 505424"/>
                <a:gd name="connsiteY0-206" fmla="*/ 1158240 h 1158240"/>
                <a:gd name="connsiteX1-207" fmla="*/ 2970 w 505424"/>
                <a:gd name="connsiteY1-208" fmla="*/ 680719 h 1158240"/>
                <a:gd name="connsiteX2-209" fmla="*/ 121398 w 505424"/>
                <a:gd name="connsiteY2-210" fmla="*/ 525780 h 1158240"/>
                <a:gd name="connsiteX3-211" fmla="*/ 454138 w 505424"/>
                <a:gd name="connsiteY3-212" fmla="*/ 449580 h 1158240"/>
                <a:gd name="connsiteX4-213" fmla="*/ 492238 w 505424"/>
                <a:gd name="connsiteY4-214" fmla="*/ 0 h 1158240"/>
                <a:gd name="connsiteX0-215" fmla="*/ 7415 w 518817"/>
                <a:gd name="connsiteY0-216" fmla="*/ 1158240 h 1158240"/>
                <a:gd name="connsiteX1-217" fmla="*/ 2970 w 518817"/>
                <a:gd name="connsiteY1-218" fmla="*/ 680719 h 1158240"/>
                <a:gd name="connsiteX2-219" fmla="*/ 121398 w 518817"/>
                <a:gd name="connsiteY2-220" fmla="*/ 525780 h 1158240"/>
                <a:gd name="connsiteX3-221" fmla="*/ 482713 w 518817"/>
                <a:gd name="connsiteY3-222" fmla="*/ 487680 h 1158240"/>
                <a:gd name="connsiteX4-223" fmla="*/ 492238 w 518817"/>
                <a:gd name="connsiteY4-224" fmla="*/ 0 h 1158240"/>
                <a:gd name="connsiteX0-225" fmla="*/ 7415 w 518817"/>
                <a:gd name="connsiteY0-226" fmla="*/ 1158240 h 1158240"/>
                <a:gd name="connsiteX1-227" fmla="*/ 2970 w 518817"/>
                <a:gd name="connsiteY1-228" fmla="*/ 680719 h 1158240"/>
                <a:gd name="connsiteX2-229" fmla="*/ 121398 w 518817"/>
                <a:gd name="connsiteY2-230" fmla="*/ 525780 h 1158240"/>
                <a:gd name="connsiteX3-231" fmla="*/ 482713 w 518817"/>
                <a:gd name="connsiteY3-232" fmla="*/ 473392 h 1158240"/>
                <a:gd name="connsiteX4-233" fmla="*/ 492238 w 518817"/>
                <a:gd name="connsiteY4-234" fmla="*/ 0 h 1158240"/>
                <a:gd name="connsiteX0-235" fmla="*/ 7415 w 513005"/>
                <a:gd name="connsiteY0-236" fmla="*/ 1158240 h 1158240"/>
                <a:gd name="connsiteX1-237" fmla="*/ 2970 w 513005"/>
                <a:gd name="connsiteY1-238" fmla="*/ 680719 h 1158240"/>
                <a:gd name="connsiteX2-239" fmla="*/ 121398 w 513005"/>
                <a:gd name="connsiteY2-240" fmla="*/ 525780 h 1158240"/>
                <a:gd name="connsiteX3-241" fmla="*/ 482713 w 513005"/>
                <a:gd name="connsiteY3-242" fmla="*/ 473392 h 1158240"/>
                <a:gd name="connsiteX4-243" fmla="*/ 492238 w 513005"/>
                <a:gd name="connsiteY4-244" fmla="*/ 0 h 1158240"/>
                <a:gd name="connsiteX0-245" fmla="*/ 7415 w 506000"/>
                <a:gd name="connsiteY0-246" fmla="*/ 1158240 h 1158240"/>
                <a:gd name="connsiteX1-247" fmla="*/ 2970 w 506000"/>
                <a:gd name="connsiteY1-248" fmla="*/ 680719 h 1158240"/>
                <a:gd name="connsiteX2-249" fmla="*/ 121398 w 506000"/>
                <a:gd name="connsiteY2-250" fmla="*/ 525780 h 1158240"/>
                <a:gd name="connsiteX3-251" fmla="*/ 482713 w 506000"/>
                <a:gd name="connsiteY3-252" fmla="*/ 473392 h 1158240"/>
                <a:gd name="connsiteX4-253" fmla="*/ 492238 w 506000"/>
                <a:gd name="connsiteY4-254" fmla="*/ 0 h 1158240"/>
                <a:gd name="connsiteX0-255" fmla="*/ 7415 w 517650"/>
                <a:gd name="connsiteY0-256" fmla="*/ 1158240 h 1158240"/>
                <a:gd name="connsiteX1-257" fmla="*/ 2970 w 517650"/>
                <a:gd name="connsiteY1-258" fmla="*/ 680719 h 1158240"/>
                <a:gd name="connsiteX2-259" fmla="*/ 121398 w 517650"/>
                <a:gd name="connsiteY2-260" fmla="*/ 525780 h 1158240"/>
                <a:gd name="connsiteX3-261" fmla="*/ 482713 w 517650"/>
                <a:gd name="connsiteY3-262" fmla="*/ 473392 h 1158240"/>
                <a:gd name="connsiteX4-263" fmla="*/ 504621 w 517650"/>
                <a:gd name="connsiteY4-264" fmla="*/ 350520 h 1158240"/>
                <a:gd name="connsiteX5" fmla="*/ 492238 w 517650"/>
                <a:gd name="connsiteY5" fmla="*/ 0 h 1158240"/>
                <a:gd name="connsiteX0-265" fmla="*/ 7415 w 506303"/>
                <a:gd name="connsiteY0-266" fmla="*/ 1158240 h 1158240"/>
                <a:gd name="connsiteX1-267" fmla="*/ 2970 w 506303"/>
                <a:gd name="connsiteY1-268" fmla="*/ 680719 h 1158240"/>
                <a:gd name="connsiteX2-269" fmla="*/ 121398 w 506303"/>
                <a:gd name="connsiteY2-270" fmla="*/ 525780 h 1158240"/>
                <a:gd name="connsiteX3-271" fmla="*/ 458901 w 506303"/>
                <a:gd name="connsiteY3-272" fmla="*/ 482917 h 1158240"/>
                <a:gd name="connsiteX4-273" fmla="*/ 504621 w 506303"/>
                <a:gd name="connsiteY4-274" fmla="*/ 350520 h 1158240"/>
                <a:gd name="connsiteX5-275" fmla="*/ 492238 w 506303"/>
                <a:gd name="connsiteY5-276" fmla="*/ 0 h 1158240"/>
                <a:gd name="connsiteX0-277" fmla="*/ 7415 w 504766"/>
                <a:gd name="connsiteY0-278" fmla="*/ 1158240 h 1158240"/>
                <a:gd name="connsiteX1-279" fmla="*/ 2970 w 504766"/>
                <a:gd name="connsiteY1-280" fmla="*/ 680719 h 1158240"/>
                <a:gd name="connsiteX2-281" fmla="*/ 121398 w 504766"/>
                <a:gd name="connsiteY2-282" fmla="*/ 525780 h 1158240"/>
                <a:gd name="connsiteX3-283" fmla="*/ 444613 w 504766"/>
                <a:gd name="connsiteY3-284" fmla="*/ 482917 h 1158240"/>
                <a:gd name="connsiteX4-285" fmla="*/ 504621 w 504766"/>
                <a:gd name="connsiteY4-286" fmla="*/ 350520 h 1158240"/>
                <a:gd name="connsiteX5-287" fmla="*/ 492238 w 504766"/>
                <a:gd name="connsiteY5-288" fmla="*/ 0 h 1158240"/>
                <a:gd name="connsiteX0-289" fmla="*/ 7415 w 507328"/>
                <a:gd name="connsiteY0-290" fmla="*/ 1163003 h 1163003"/>
                <a:gd name="connsiteX1-291" fmla="*/ 2970 w 507328"/>
                <a:gd name="connsiteY1-292" fmla="*/ 685482 h 1163003"/>
                <a:gd name="connsiteX2-293" fmla="*/ 121398 w 507328"/>
                <a:gd name="connsiteY2-294" fmla="*/ 530543 h 1163003"/>
                <a:gd name="connsiteX3-295" fmla="*/ 444613 w 507328"/>
                <a:gd name="connsiteY3-296" fmla="*/ 487680 h 1163003"/>
                <a:gd name="connsiteX4-297" fmla="*/ 504621 w 507328"/>
                <a:gd name="connsiteY4-298" fmla="*/ 355283 h 1163003"/>
                <a:gd name="connsiteX5-299" fmla="*/ 506525 w 507328"/>
                <a:gd name="connsiteY5-300" fmla="*/ 0 h 1163003"/>
                <a:gd name="connsiteX0-301" fmla="*/ 7415 w 507328"/>
                <a:gd name="connsiteY0-302" fmla="*/ 1163003 h 1163003"/>
                <a:gd name="connsiteX1-303" fmla="*/ 2970 w 507328"/>
                <a:gd name="connsiteY1-304" fmla="*/ 685482 h 1163003"/>
                <a:gd name="connsiteX2-305" fmla="*/ 121398 w 507328"/>
                <a:gd name="connsiteY2-306" fmla="*/ 530543 h 1163003"/>
                <a:gd name="connsiteX3-307" fmla="*/ 444613 w 507328"/>
                <a:gd name="connsiteY3-308" fmla="*/ 487680 h 1163003"/>
                <a:gd name="connsiteX4-309" fmla="*/ 504621 w 507328"/>
                <a:gd name="connsiteY4-310" fmla="*/ 355283 h 1163003"/>
                <a:gd name="connsiteX5-311" fmla="*/ 506525 w 507328"/>
                <a:gd name="connsiteY5-312" fmla="*/ 0 h 1163003"/>
                <a:gd name="connsiteX0-313" fmla="*/ 7415 w 507328"/>
                <a:gd name="connsiteY0-314" fmla="*/ 1163003 h 1163003"/>
                <a:gd name="connsiteX1-315" fmla="*/ 2970 w 507328"/>
                <a:gd name="connsiteY1-316" fmla="*/ 685482 h 1163003"/>
                <a:gd name="connsiteX2-317" fmla="*/ 121398 w 507328"/>
                <a:gd name="connsiteY2-318" fmla="*/ 530543 h 1163003"/>
                <a:gd name="connsiteX3-319" fmla="*/ 444613 w 507328"/>
                <a:gd name="connsiteY3-320" fmla="*/ 487680 h 1163003"/>
                <a:gd name="connsiteX4-321" fmla="*/ 504621 w 507328"/>
                <a:gd name="connsiteY4-322" fmla="*/ 355283 h 1163003"/>
                <a:gd name="connsiteX5-323" fmla="*/ 506525 w 507328"/>
                <a:gd name="connsiteY5-324" fmla="*/ 0 h 1163003"/>
                <a:gd name="connsiteX0-325" fmla="*/ 7415 w 507328"/>
                <a:gd name="connsiteY0-326" fmla="*/ 1163003 h 1163003"/>
                <a:gd name="connsiteX1-327" fmla="*/ 2970 w 507328"/>
                <a:gd name="connsiteY1-328" fmla="*/ 685482 h 1163003"/>
                <a:gd name="connsiteX2-329" fmla="*/ 121398 w 507328"/>
                <a:gd name="connsiteY2-330" fmla="*/ 530543 h 1163003"/>
                <a:gd name="connsiteX3-331" fmla="*/ 444613 w 507328"/>
                <a:gd name="connsiteY3-332" fmla="*/ 516255 h 1163003"/>
                <a:gd name="connsiteX4-333" fmla="*/ 504621 w 507328"/>
                <a:gd name="connsiteY4-334" fmla="*/ 355283 h 1163003"/>
                <a:gd name="connsiteX5-335" fmla="*/ 506525 w 507328"/>
                <a:gd name="connsiteY5-336" fmla="*/ 0 h 1163003"/>
                <a:gd name="connsiteX0-337" fmla="*/ 7415 w 507328"/>
                <a:gd name="connsiteY0-338" fmla="*/ 1163003 h 1163003"/>
                <a:gd name="connsiteX1-339" fmla="*/ 2970 w 507328"/>
                <a:gd name="connsiteY1-340" fmla="*/ 685482 h 1163003"/>
                <a:gd name="connsiteX2-341" fmla="*/ 121398 w 507328"/>
                <a:gd name="connsiteY2-342" fmla="*/ 530543 h 1163003"/>
                <a:gd name="connsiteX3-343" fmla="*/ 444613 w 507328"/>
                <a:gd name="connsiteY3-344" fmla="*/ 516255 h 1163003"/>
                <a:gd name="connsiteX4-345" fmla="*/ 504621 w 507328"/>
                <a:gd name="connsiteY4-346" fmla="*/ 355283 h 1163003"/>
                <a:gd name="connsiteX5-347" fmla="*/ 506525 w 507328"/>
                <a:gd name="connsiteY5-348" fmla="*/ 0 h 1163003"/>
                <a:gd name="connsiteX0-349" fmla="*/ 7415 w 507328"/>
                <a:gd name="connsiteY0-350" fmla="*/ 1163003 h 1163003"/>
                <a:gd name="connsiteX1-351" fmla="*/ 2970 w 507328"/>
                <a:gd name="connsiteY1-352" fmla="*/ 685482 h 1163003"/>
                <a:gd name="connsiteX2-353" fmla="*/ 121398 w 507328"/>
                <a:gd name="connsiteY2-354" fmla="*/ 530543 h 1163003"/>
                <a:gd name="connsiteX3-355" fmla="*/ 411275 w 507328"/>
                <a:gd name="connsiteY3-356" fmla="*/ 511492 h 1163003"/>
                <a:gd name="connsiteX4-357" fmla="*/ 504621 w 507328"/>
                <a:gd name="connsiteY4-358" fmla="*/ 355283 h 1163003"/>
                <a:gd name="connsiteX5-359" fmla="*/ 506525 w 507328"/>
                <a:gd name="connsiteY5-360" fmla="*/ 0 h 1163003"/>
                <a:gd name="connsiteX0-361" fmla="*/ 7415 w 507328"/>
                <a:gd name="connsiteY0-362" fmla="*/ 1163003 h 1163003"/>
                <a:gd name="connsiteX1-363" fmla="*/ 2970 w 507328"/>
                <a:gd name="connsiteY1-364" fmla="*/ 666432 h 1163003"/>
                <a:gd name="connsiteX2-365" fmla="*/ 121398 w 507328"/>
                <a:gd name="connsiteY2-366" fmla="*/ 530543 h 1163003"/>
                <a:gd name="connsiteX3-367" fmla="*/ 411275 w 507328"/>
                <a:gd name="connsiteY3-368" fmla="*/ 511492 h 1163003"/>
                <a:gd name="connsiteX4-369" fmla="*/ 504621 w 507328"/>
                <a:gd name="connsiteY4-370" fmla="*/ 355283 h 1163003"/>
                <a:gd name="connsiteX5-371" fmla="*/ 506525 w 507328"/>
                <a:gd name="connsiteY5-372" fmla="*/ 0 h 1163003"/>
                <a:gd name="connsiteX0-373" fmla="*/ 4679 w 504592"/>
                <a:gd name="connsiteY0-374" fmla="*/ 1163003 h 1163003"/>
                <a:gd name="connsiteX1-375" fmla="*/ 234 w 504592"/>
                <a:gd name="connsiteY1-376" fmla="*/ 666432 h 1163003"/>
                <a:gd name="connsiteX2-377" fmla="*/ 118662 w 504592"/>
                <a:gd name="connsiteY2-378" fmla="*/ 530543 h 1163003"/>
                <a:gd name="connsiteX3-379" fmla="*/ 408539 w 504592"/>
                <a:gd name="connsiteY3-380" fmla="*/ 511492 h 1163003"/>
                <a:gd name="connsiteX4-381" fmla="*/ 501885 w 504592"/>
                <a:gd name="connsiteY4-382" fmla="*/ 355283 h 1163003"/>
                <a:gd name="connsiteX5-383" fmla="*/ 503789 w 504592"/>
                <a:gd name="connsiteY5-384" fmla="*/ 0 h 1163003"/>
                <a:gd name="connsiteX0-385" fmla="*/ 4679 w 504592"/>
                <a:gd name="connsiteY0-386" fmla="*/ 1163003 h 1163003"/>
                <a:gd name="connsiteX1-387" fmla="*/ 234 w 504592"/>
                <a:gd name="connsiteY1-388" fmla="*/ 666432 h 1163003"/>
                <a:gd name="connsiteX2-389" fmla="*/ 118662 w 504592"/>
                <a:gd name="connsiteY2-390" fmla="*/ 530543 h 1163003"/>
                <a:gd name="connsiteX3-391" fmla="*/ 408539 w 504592"/>
                <a:gd name="connsiteY3-392" fmla="*/ 511492 h 1163003"/>
                <a:gd name="connsiteX4-393" fmla="*/ 501885 w 504592"/>
                <a:gd name="connsiteY4-394" fmla="*/ 355283 h 1163003"/>
                <a:gd name="connsiteX5-395" fmla="*/ 503789 w 504592"/>
                <a:gd name="connsiteY5-396" fmla="*/ 0 h 1163003"/>
                <a:gd name="connsiteX0-397" fmla="*/ 4679 w 504592"/>
                <a:gd name="connsiteY0-398" fmla="*/ 1163003 h 1163003"/>
                <a:gd name="connsiteX1-399" fmla="*/ 234 w 504592"/>
                <a:gd name="connsiteY1-400" fmla="*/ 666432 h 1163003"/>
                <a:gd name="connsiteX2-401" fmla="*/ 118662 w 504592"/>
                <a:gd name="connsiteY2-402" fmla="*/ 530543 h 1163003"/>
                <a:gd name="connsiteX3-403" fmla="*/ 408539 w 504592"/>
                <a:gd name="connsiteY3-404" fmla="*/ 511492 h 1163003"/>
                <a:gd name="connsiteX4-405" fmla="*/ 501885 w 504592"/>
                <a:gd name="connsiteY4-406" fmla="*/ 355283 h 1163003"/>
                <a:gd name="connsiteX5-407" fmla="*/ 503789 w 504592"/>
                <a:gd name="connsiteY5-408" fmla="*/ 0 h 1163003"/>
                <a:gd name="connsiteX0-409" fmla="*/ 4679 w 504592"/>
                <a:gd name="connsiteY0-410" fmla="*/ 1163003 h 1163003"/>
                <a:gd name="connsiteX1-411" fmla="*/ 234 w 504592"/>
                <a:gd name="connsiteY1-412" fmla="*/ 666432 h 1163003"/>
                <a:gd name="connsiteX2-413" fmla="*/ 118662 w 504592"/>
                <a:gd name="connsiteY2-414" fmla="*/ 530543 h 1163003"/>
                <a:gd name="connsiteX3-415" fmla="*/ 408539 w 504592"/>
                <a:gd name="connsiteY3-416" fmla="*/ 535305 h 1163003"/>
                <a:gd name="connsiteX4-417" fmla="*/ 501885 w 504592"/>
                <a:gd name="connsiteY4-418" fmla="*/ 355283 h 1163003"/>
                <a:gd name="connsiteX5-419" fmla="*/ 503789 w 504592"/>
                <a:gd name="connsiteY5-420" fmla="*/ 0 h 1163003"/>
                <a:gd name="connsiteX0-421" fmla="*/ 4679 w 504592"/>
                <a:gd name="connsiteY0-422" fmla="*/ 1163003 h 1163003"/>
                <a:gd name="connsiteX1-423" fmla="*/ 234 w 504592"/>
                <a:gd name="connsiteY1-424" fmla="*/ 666432 h 1163003"/>
                <a:gd name="connsiteX2-425" fmla="*/ 118662 w 504592"/>
                <a:gd name="connsiteY2-426" fmla="*/ 530543 h 1163003"/>
                <a:gd name="connsiteX3-427" fmla="*/ 403777 w 504592"/>
                <a:gd name="connsiteY3-428" fmla="*/ 525780 h 1163003"/>
                <a:gd name="connsiteX4-429" fmla="*/ 501885 w 504592"/>
                <a:gd name="connsiteY4-430" fmla="*/ 355283 h 1163003"/>
                <a:gd name="connsiteX5-431" fmla="*/ 503789 w 504592"/>
                <a:gd name="connsiteY5-432" fmla="*/ 0 h 1163003"/>
                <a:gd name="connsiteX0-433" fmla="*/ 4679 w 504592"/>
                <a:gd name="connsiteY0-434" fmla="*/ 1163003 h 1163003"/>
                <a:gd name="connsiteX1-435" fmla="*/ 234 w 504592"/>
                <a:gd name="connsiteY1-436" fmla="*/ 666432 h 1163003"/>
                <a:gd name="connsiteX2-437" fmla="*/ 118662 w 504592"/>
                <a:gd name="connsiteY2-438" fmla="*/ 530543 h 1163003"/>
                <a:gd name="connsiteX3-439" fmla="*/ 403777 w 504592"/>
                <a:gd name="connsiteY3-440" fmla="*/ 525780 h 1163003"/>
                <a:gd name="connsiteX4-441" fmla="*/ 501885 w 504592"/>
                <a:gd name="connsiteY4-442" fmla="*/ 355283 h 1163003"/>
                <a:gd name="connsiteX5-443" fmla="*/ 503789 w 504592"/>
                <a:gd name="connsiteY5-444" fmla="*/ 0 h 1163003"/>
                <a:gd name="connsiteX0-445" fmla="*/ 7177 w 507090"/>
                <a:gd name="connsiteY0-446" fmla="*/ 1163003 h 1163003"/>
                <a:gd name="connsiteX1-447" fmla="*/ 2732 w 507090"/>
                <a:gd name="connsiteY1-448" fmla="*/ 666432 h 1163003"/>
                <a:gd name="connsiteX2-449" fmla="*/ 121160 w 507090"/>
                <a:gd name="connsiteY2-450" fmla="*/ 530543 h 1163003"/>
                <a:gd name="connsiteX3-451" fmla="*/ 406275 w 507090"/>
                <a:gd name="connsiteY3-452" fmla="*/ 525780 h 1163003"/>
                <a:gd name="connsiteX4-453" fmla="*/ 504383 w 507090"/>
                <a:gd name="connsiteY4-454" fmla="*/ 355283 h 1163003"/>
                <a:gd name="connsiteX5-455" fmla="*/ 506287 w 507090"/>
                <a:gd name="connsiteY5-456" fmla="*/ 0 h 1163003"/>
                <a:gd name="connsiteX0-457" fmla="*/ 7177 w 507090"/>
                <a:gd name="connsiteY0-458" fmla="*/ 1163003 h 1163003"/>
                <a:gd name="connsiteX1-459" fmla="*/ 2732 w 507090"/>
                <a:gd name="connsiteY1-460" fmla="*/ 666432 h 1163003"/>
                <a:gd name="connsiteX2-461" fmla="*/ 121160 w 507090"/>
                <a:gd name="connsiteY2-462" fmla="*/ 530543 h 1163003"/>
                <a:gd name="connsiteX3-463" fmla="*/ 406275 w 507090"/>
                <a:gd name="connsiteY3-464" fmla="*/ 525780 h 1163003"/>
                <a:gd name="connsiteX4-465" fmla="*/ 504383 w 507090"/>
                <a:gd name="connsiteY4-466" fmla="*/ 355283 h 1163003"/>
                <a:gd name="connsiteX5-467" fmla="*/ 506287 w 507090"/>
                <a:gd name="connsiteY5-468" fmla="*/ 0 h 1163003"/>
                <a:gd name="connsiteX0-469" fmla="*/ 7177 w 507090"/>
                <a:gd name="connsiteY0-470" fmla="*/ 1163003 h 1163003"/>
                <a:gd name="connsiteX1-471" fmla="*/ 2732 w 507090"/>
                <a:gd name="connsiteY1-472" fmla="*/ 666432 h 1163003"/>
                <a:gd name="connsiteX2-473" fmla="*/ 121160 w 507090"/>
                <a:gd name="connsiteY2-474" fmla="*/ 530543 h 1163003"/>
                <a:gd name="connsiteX3-475" fmla="*/ 406275 w 507090"/>
                <a:gd name="connsiteY3-476" fmla="*/ 525780 h 1163003"/>
                <a:gd name="connsiteX4-477" fmla="*/ 504383 w 507090"/>
                <a:gd name="connsiteY4-478" fmla="*/ 355283 h 1163003"/>
                <a:gd name="connsiteX5-479" fmla="*/ 506287 w 507090"/>
                <a:gd name="connsiteY5-480" fmla="*/ 0 h 1163003"/>
                <a:gd name="connsiteX0-481" fmla="*/ 7177 w 507090"/>
                <a:gd name="connsiteY0-482" fmla="*/ 1163003 h 1163003"/>
                <a:gd name="connsiteX1-483" fmla="*/ 2732 w 507090"/>
                <a:gd name="connsiteY1-484" fmla="*/ 666432 h 1163003"/>
                <a:gd name="connsiteX2-485" fmla="*/ 121160 w 507090"/>
                <a:gd name="connsiteY2-486" fmla="*/ 530543 h 1163003"/>
                <a:gd name="connsiteX3-487" fmla="*/ 406275 w 507090"/>
                <a:gd name="connsiteY3-488" fmla="*/ 525780 h 1163003"/>
                <a:gd name="connsiteX4-489" fmla="*/ 504383 w 507090"/>
                <a:gd name="connsiteY4-490" fmla="*/ 355283 h 1163003"/>
                <a:gd name="connsiteX5-491" fmla="*/ 506287 w 507090"/>
                <a:gd name="connsiteY5-492" fmla="*/ 0 h 1163003"/>
                <a:gd name="connsiteX0-493" fmla="*/ 10856 w 515532"/>
                <a:gd name="connsiteY0-494" fmla="*/ 1048703 h 1048703"/>
                <a:gd name="connsiteX1-495" fmla="*/ 11174 w 515532"/>
                <a:gd name="connsiteY1-496" fmla="*/ 666432 h 1048703"/>
                <a:gd name="connsiteX2-497" fmla="*/ 129602 w 515532"/>
                <a:gd name="connsiteY2-498" fmla="*/ 530543 h 1048703"/>
                <a:gd name="connsiteX3-499" fmla="*/ 414717 w 515532"/>
                <a:gd name="connsiteY3-500" fmla="*/ 525780 h 1048703"/>
                <a:gd name="connsiteX4-501" fmla="*/ 512825 w 515532"/>
                <a:gd name="connsiteY4-502" fmla="*/ 355283 h 1048703"/>
                <a:gd name="connsiteX5-503" fmla="*/ 514729 w 515532"/>
                <a:gd name="connsiteY5-504" fmla="*/ 0 h 1048703"/>
                <a:gd name="connsiteX0-505" fmla="*/ 3023 w 507699"/>
                <a:gd name="connsiteY0-506" fmla="*/ 1048703 h 1048703"/>
                <a:gd name="connsiteX1-507" fmla="*/ 3341 w 507699"/>
                <a:gd name="connsiteY1-508" fmla="*/ 666432 h 1048703"/>
                <a:gd name="connsiteX2-509" fmla="*/ 121769 w 507699"/>
                <a:gd name="connsiteY2-510" fmla="*/ 530543 h 1048703"/>
                <a:gd name="connsiteX3-511" fmla="*/ 406884 w 507699"/>
                <a:gd name="connsiteY3-512" fmla="*/ 525780 h 1048703"/>
                <a:gd name="connsiteX4-513" fmla="*/ 504992 w 507699"/>
                <a:gd name="connsiteY4-514" fmla="*/ 355283 h 1048703"/>
                <a:gd name="connsiteX5-515" fmla="*/ 506896 w 507699"/>
                <a:gd name="connsiteY5-516" fmla="*/ 0 h 1048703"/>
                <a:gd name="connsiteX0-517" fmla="*/ 10856 w 515532"/>
                <a:gd name="connsiteY0-518" fmla="*/ 1048703 h 1048703"/>
                <a:gd name="connsiteX1-519" fmla="*/ 11174 w 515532"/>
                <a:gd name="connsiteY1-520" fmla="*/ 666432 h 1048703"/>
                <a:gd name="connsiteX2-521" fmla="*/ 129602 w 515532"/>
                <a:gd name="connsiteY2-522" fmla="*/ 530543 h 1048703"/>
                <a:gd name="connsiteX3-523" fmla="*/ 414717 w 515532"/>
                <a:gd name="connsiteY3-524" fmla="*/ 525780 h 1048703"/>
                <a:gd name="connsiteX4-525" fmla="*/ 512825 w 515532"/>
                <a:gd name="connsiteY4-526" fmla="*/ 355283 h 1048703"/>
                <a:gd name="connsiteX5-527" fmla="*/ 514729 w 515532"/>
                <a:gd name="connsiteY5-528" fmla="*/ 0 h 1048703"/>
                <a:gd name="connsiteX0-529" fmla="*/ 5191 w 509867"/>
                <a:gd name="connsiteY0-530" fmla="*/ 1048703 h 1048703"/>
                <a:gd name="connsiteX1-531" fmla="*/ 5509 w 509867"/>
                <a:gd name="connsiteY1-532" fmla="*/ 666432 h 1048703"/>
                <a:gd name="connsiteX2-533" fmla="*/ 123937 w 509867"/>
                <a:gd name="connsiteY2-534" fmla="*/ 530543 h 1048703"/>
                <a:gd name="connsiteX3-535" fmla="*/ 409052 w 509867"/>
                <a:gd name="connsiteY3-536" fmla="*/ 525780 h 1048703"/>
                <a:gd name="connsiteX4-537" fmla="*/ 507160 w 509867"/>
                <a:gd name="connsiteY4-538" fmla="*/ 355283 h 1048703"/>
                <a:gd name="connsiteX5-539" fmla="*/ 509064 w 509867"/>
                <a:gd name="connsiteY5-540" fmla="*/ 0 h 1048703"/>
                <a:gd name="connsiteX0-541" fmla="*/ 15252 w 512784"/>
                <a:gd name="connsiteY0-542" fmla="*/ 1043940 h 1043940"/>
                <a:gd name="connsiteX1-543" fmla="*/ 8426 w 512784"/>
                <a:gd name="connsiteY1-544" fmla="*/ 666432 h 1043940"/>
                <a:gd name="connsiteX2-545" fmla="*/ 126854 w 512784"/>
                <a:gd name="connsiteY2-546" fmla="*/ 530543 h 1043940"/>
                <a:gd name="connsiteX3-547" fmla="*/ 411969 w 512784"/>
                <a:gd name="connsiteY3-548" fmla="*/ 525780 h 1043940"/>
                <a:gd name="connsiteX4-549" fmla="*/ 510077 w 512784"/>
                <a:gd name="connsiteY4-550" fmla="*/ 355283 h 1043940"/>
                <a:gd name="connsiteX5-551" fmla="*/ 511981 w 512784"/>
                <a:gd name="connsiteY5-552" fmla="*/ 0 h 1043940"/>
                <a:gd name="connsiteX0-553" fmla="*/ 6948 w 504480"/>
                <a:gd name="connsiteY0-554" fmla="*/ 1043940 h 1043940"/>
                <a:gd name="connsiteX1-555" fmla="*/ 122 w 504480"/>
                <a:gd name="connsiteY1-556" fmla="*/ 666432 h 1043940"/>
                <a:gd name="connsiteX2-557" fmla="*/ 118550 w 504480"/>
                <a:gd name="connsiteY2-558" fmla="*/ 530543 h 1043940"/>
                <a:gd name="connsiteX3-559" fmla="*/ 403665 w 504480"/>
                <a:gd name="connsiteY3-560" fmla="*/ 525780 h 1043940"/>
                <a:gd name="connsiteX4-561" fmla="*/ 501773 w 504480"/>
                <a:gd name="connsiteY4-562" fmla="*/ 355283 h 1043940"/>
                <a:gd name="connsiteX5-563" fmla="*/ 503677 w 504480"/>
                <a:gd name="connsiteY5-564" fmla="*/ 0 h 1043940"/>
                <a:gd name="connsiteX0-565" fmla="*/ 6830 w 504362"/>
                <a:gd name="connsiteY0-566" fmla="*/ 1043940 h 1043940"/>
                <a:gd name="connsiteX1-567" fmla="*/ 4 w 504362"/>
                <a:gd name="connsiteY1-568" fmla="*/ 666432 h 1043940"/>
                <a:gd name="connsiteX2-569" fmla="*/ 118432 w 504362"/>
                <a:gd name="connsiteY2-570" fmla="*/ 530543 h 1043940"/>
                <a:gd name="connsiteX3-571" fmla="*/ 403547 w 504362"/>
                <a:gd name="connsiteY3-572" fmla="*/ 525780 h 1043940"/>
                <a:gd name="connsiteX4-573" fmla="*/ 501655 w 504362"/>
                <a:gd name="connsiteY4-574" fmla="*/ 355283 h 1043940"/>
                <a:gd name="connsiteX5-575" fmla="*/ 503559 w 504362"/>
                <a:gd name="connsiteY5-576" fmla="*/ 0 h 1043940"/>
                <a:gd name="connsiteX0-577" fmla="*/ 6871 w 504403"/>
                <a:gd name="connsiteY0-578" fmla="*/ 1043940 h 1043940"/>
                <a:gd name="connsiteX1-579" fmla="*/ 45 w 504403"/>
                <a:gd name="connsiteY1-580" fmla="*/ 666432 h 1043940"/>
                <a:gd name="connsiteX2-581" fmla="*/ 118473 w 504403"/>
                <a:gd name="connsiteY2-582" fmla="*/ 530543 h 1043940"/>
                <a:gd name="connsiteX3-583" fmla="*/ 403588 w 504403"/>
                <a:gd name="connsiteY3-584" fmla="*/ 525780 h 1043940"/>
                <a:gd name="connsiteX4-585" fmla="*/ 501696 w 504403"/>
                <a:gd name="connsiteY4-586" fmla="*/ 355283 h 1043940"/>
                <a:gd name="connsiteX5-587" fmla="*/ 503600 w 504403"/>
                <a:gd name="connsiteY5-588" fmla="*/ 0 h 1043940"/>
              </a:gdLst>
              <a:ahLst/>
              <a:cxnLst>
                <a:cxn ang="0">
                  <a:pos x="connsiteX0-1" y="connsiteY0-2"/>
                </a:cxn>
                <a:cxn ang="0">
                  <a:pos x="connsiteX1-3" y="connsiteY1-4"/>
                </a:cxn>
                <a:cxn ang="0">
                  <a:pos x="connsiteX2-5" y="connsiteY2-6"/>
                </a:cxn>
                <a:cxn ang="0">
                  <a:pos x="connsiteX3-7" y="connsiteY3-8"/>
                </a:cxn>
                <a:cxn ang="0">
                  <a:pos x="connsiteX4-33" y="connsiteY4-34"/>
                </a:cxn>
                <a:cxn ang="0">
                  <a:pos x="connsiteX5-275" y="connsiteY5-276"/>
                </a:cxn>
              </a:cxnLst>
              <a:rect l="l" t="t" r="r" b="b"/>
              <a:pathLst>
                <a:path w="504403" h="1043940">
                  <a:moveTo>
                    <a:pt x="6871" y="1043940"/>
                  </a:moveTo>
                  <a:cubicBezTo>
                    <a:pt x="-1807" y="623041"/>
                    <a:pt x="318" y="751999"/>
                    <a:pt x="45" y="666432"/>
                  </a:cubicBezTo>
                  <a:cubicBezTo>
                    <a:pt x="-416" y="521719"/>
                    <a:pt x="46453" y="534935"/>
                    <a:pt x="118473" y="530543"/>
                  </a:cubicBezTo>
                  <a:cubicBezTo>
                    <a:pt x="190493" y="526151"/>
                    <a:pt x="315905" y="526415"/>
                    <a:pt x="403588" y="525780"/>
                  </a:cubicBezTo>
                  <a:cubicBezTo>
                    <a:pt x="491271" y="525145"/>
                    <a:pt x="504870" y="496095"/>
                    <a:pt x="501696" y="355283"/>
                  </a:cubicBezTo>
                  <a:cubicBezTo>
                    <a:pt x="503284" y="276384"/>
                    <a:pt x="505664" y="58420"/>
                    <a:pt x="503600" y="0"/>
                  </a:cubicBezTo>
                </a:path>
              </a:pathLst>
            </a:cu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grpSp>
      <p:grpSp>
        <p:nvGrpSpPr>
          <p:cNvPr id="84" name="组合 83"/>
          <p:cNvGrpSpPr/>
          <p:nvPr/>
        </p:nvGrpSpPr>
        <p:grpSpPr>
          <a:xfrm>
            <a:off x="4943078" y="2348880"/>
            <a:ext cx="624298" cy="1296144"/>
            <a:chOff x="4943078" y="2348880"/>
            <a:chExt cx="624298" cy="1296144"/>
          </a:xfrm>
        </p:grpSpPr>
        <p:sp>
          <p:nvSpPr>
            <p:cNvPr id="40" name="椭圆 39"/>
            <p:cNvSpPr/>
            <p:nvPr/>
          </p:nvSpPr>
          <p:spPr>
            <a:xfrm>
              <a:off x="4943078" y="3429000"/>
              <a:ext cx="216024" cy="216024"/>
            </a:xfrm>
            <a:prstGeom prst="ellipse">
              <a:avLst/>
            </a:prstGeom>
            <a:solidFill>
              <a:schemeClr val="bg1"/>
            </a:solidFill>
            <a:ln w="76200">
              <a:solidFill>
                <a:srgbClr val="47A7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6" name="任意多边形 55"/>
            <p:cNvSpPr/>
            <p:nvPr/>
          </p:nvSpPr>
          <p:spPr>
            <a:xfrm>
              <a:off x="5062973" y="2348880"/>
              <a:ext cx="504403" cy="1043940"/>
            </a:xfrm>
            <a:custGeom>
              <a:avLst/>
              <a:gdLst>
                <a:gd name="connsiteX0" fmla="*/ 36741 w 535207"/>
                <a:gd name="connsiteY0" fmla="*/ 1158240 h 1158240"/>
                <a:gd name="connsiteX1" fmla="*/ 44361 w 535207"/>
                <a:gd name="connsiteY1" fmla="*/ 525780 h 1158240"/>
                <a:gd name="connsiteX2" fmla="*/ 478701 w 535207"/>
                <a:gd name="connsiteY2" fmla="*/ 449580 h 1158240"/>
                <a:gd name="connsiteX3" fmla="*/ 516801 w 535207"/>
                <a:gd name="connsiteY3" fmla="*/ 0 h 1158240"/>
                <a:gd name="connsiteX0-1" fmla="*/ 15927 w 511653"/>
                <a:gd name="connsiteY0-2" fmla="*/ 1158240 h 1158240"/>
                <a:gd name="connsiteX1-3" fmla="*/ 74347 w 511653"/>
                <a:gd name="connsiteY1-4" fmla="*/ 525780 h 1158240"/>
                <a:gd name="connsiteX2-5" fmla="*/ 457887 w 511653"/>
                <a:gd name="connsiteY2-6" fmla="*/ 449580 h 1158240"/>
                <a:gd name="connsiteX3-7" fmla="*/ 495987 w 511653"/>
                <a:gd name="connsiteY3-8" fmla="*/ 0 h 1158240"/>
                <a:gd name="connsiteX0-9" fmla="*/ 15927 w 511653"/>
                <a:gd name="connsiteY0-10" fmla="*/ 1158240 h 1158240"/>
                <a:gd name="connsiteX1-11" fmla="*/ 74347 w 511653"/>
                <a:gd name="connsiteY1-12" fmla="*/ 525780 h 1158240"/>
                <a:gd name="connsiteX2-13" fmla="*/ 457887 w 511653"/>
                <a:gd name="connsiteY2-14" fmla="*/ 449580 h 1158240"/>
                <a:gd name="connsiteX3-15" fmla="*/ 495987 w 511653"/>
                <a:gd name="connsiteY3-16" fmla="*/ 0 h 1158240"/>
                <a:gd name="connsiteX0-17" fmla="*/ 796 w 496522"/>
                <a:gd name="connsiteY0-18" fmla="*/ 1158240 h 1158240"/>
                <a:gd name="connsiteX1-19" fmla="*/ 5876 w 496522"/>
                <a:gd name="connsiteY1-20" fmla="*/ 661670 h 1158240"/>
                <a:gd name="connsiteX2-21" fmla="*/ 59216 w 496522"/>
                <a:gd name="connsiteY2-22" fmla="*/ 525780 h 1158240"/>
                <a:gd name="connsiteX3-23" fmla="*/ 442756 w 496522"/>
                <a:gd name="connsiteY3-24" fmla="*/ 449580 h 1158240"/>
                <a:gd name="connsiteX4" fmla="*/ 480856 w 496522"/>
                <a:gd name="connsiteY4" fmla="*/ 0 h 1158240"/>
                <a:gd name="connsiteX0-25" fmla="*/ 796 w 496522"/>
                <a:gd name="connsiteY0-26" fmla="*/ 1158240 h 1158240"/>
                <a:gd name="connsiteX1-27" fmla="*/ 5876 w 496522"/>
                <a:gd name="connsiteY1-28" fmla="*/ 661670 h 1158240"/>
                <a:gd name="connsiteX2-29" fmla="*/ 59216 w 496522"/>
                <a:gd name="connsiteY2-30" fmla="*/ 525780 h 1158240"/>
                <a:gd name="connsiteX3-31" fmla="*/ 442756 w 496522"/>
                <a:gd name="connsiteY3-32" fmla="*/ 449580 h 1158240"/>
                <a:gd name="connsiteX4-33" fmla="*/ 480856 w 496522"/>
                <a:gd name="connsiteY4-34" fmla="*/ 0 h 1158240"/>
                <a:gd name="connsiteX0-35" fmla="*/ 4327 w 497573"/>
                <a:gd name="connsiteY0-36" fmla="*/ 1158240 h 1158240"/>
                <a:gd name="connsiteX1-37" fmla="*/ 9407 w 497573"/>
                <a:gd name="connsiteY1-38" fmla="*/ 661670 h 1158240"/>
                <a:gd name="connsiteX2-39" fmla="*/ 113547 w 497573"/>
                <a:gd name="connsiteY2-40" fmla="*/ 525780 h 1158240"/>
                <a:gd name="connsiteX3-41" fmla="*/ 446287 w 497573"/>
                <a:gd name="connsiteY3-42" fmla="*/ 449580 h 1158240"/>
                <a:gd name="connsiteX4-43" fmla="*/ 484387 w 497573"/>
                <a:gd name="connsiteY4-44" fmla="*/ 0 h 1158240"/>
                <a:gd name="connsiteX0-45" fmla="*/ 4327 w 497573"/>
                <a:gd name="connsiteY0-46" fmla="*/ 1158240 h 1158240"/>
                <a:gd name="connsiteX1-47" fmla="*/ 9407 w 497573"/>
                <a:gd name="connsiteY1-48" fmla="*/ 661670 h 1158240"/>
                <a:gd name="connsiteX2-49" fmla="*/ 113547 w 497573"/>
                <a:gd name="connsiteY2-50" fmla="*/ 525780 h 1158240"/>
                <a:gd name="connsiteX3-51" fmla="*/ 446287 w 497573"/>
                <a:gd name="connsiteY3-52" fmla="*/ 449580 h 1158240"/>
                <a:gd name="connsiteX4-53" fmla="*/ 484387 w 497573"/>
                <a:gd name="connsiteY4-54" fmla="*/ 0 h 1158240"/>
                <a:gd name="connsiteX0-55" fmla="*/ 4327 w 497573"/>
                <a:gd name="connsiteY0-56" fmla="*/ 1158240 h 1158240"/>
                <a:gd name="connsiteX1-57" fmla="*/ 9407 w 497573"/>
                <a:gd name="connsiteY1-58" fmla="*/ 661670 h 1158240"/>
                <a:gd name="connsiteX2-59" fmla="*/ 113547 w 497573"/>
                <a:gd name="connsiteY2-60" fmla="*/ 525780 h 1158240"/>
                <a:gd name="connsiteX3-61" fmla="*/ 446287 w 497573"/>
                <a:gd name="connsiteY3-62" fmla="*/ 449580 h 1158240"/>
                <a:gd name="connsiteX4-63" fmla="*/ 484387 w 497573"/>
                <a:gd name="connsiteY4-64" fmla="*/ 0 h 1158240"/>
                <a:gd name="connsiteX0-65" fmla="*/ 4327 w 497573"/>
                <a:gd name="connsiteY0-66" fmla="*/ 1158240 h 1158240"/>
                <a:gd name="connsiteX1-67" fmla="*/ 9407 w 497573"/>
                <a:gd name="connsiteY1-68" fmla="*/ 661670 h 1158240"/>
                <a:gd name="connsiteX2-69" fmla="*/ 113547 w 497573"/>
                <a:gd name="connsiteY2-70" fmla="*/ 525780 h 1158240"/>
                <a:gd name="connsiteX3-71" fmla="*/ 446287 w 497573"/>
                <a:gd name="connsiteY3-72" fmla="*/ 449580 h 1158240"/>
                <a:gd name="connsiteX4-73" fmla="*/ 484387 w 497573"/>
                <a:gd name="connsiteY4-74" fmla="*/ 0 h 1158240"/>
                <a:gd name="connsiteX0-75" fmla="*/ 4327 w 497573"/>
                <a:gd name="connsiteY0-76" fmla="*/ 1158240 h 1158240"/>
                <a:gd name="connsiteX1-77" fmla="*/ 9407 w 497573"/>
                <a:gd name="connsiteY1-78" fmla="*/ 661670 h 1158240"/>
                <a:gd name="connsiteX2-79" fmla="*/ 113547 w 497573"/>
                <a:gd name="connsiteY2-80" fmla="*/ 525780 h 1158240"/>
                <a:gd name="connsiteX3-81" fmla="*/ 446287 w 497573"/>
                <a:gd name="connsiteY3-82" fmla="*/ 449580 h 1158240"/>
                <a:gd name="connsiteX4-83" fmla="*/ 484387 w 497573"/>
                <a:gd name="connsiteY4-84" fmla="*/ 0 h 1158240"/>
                <a:gd name="connsiteX0-85" fmla="*/ 4327 w 497573"/>
                <a:gd name="connsiteY0-86" fmla="*/ 1158240 h 1158240"/>
                <a:gd name="connsiteX1-87" fmla="*/ 9407 w 497573"/>
                <a:gd name="connsiteY1-88" fmla="*/ 661670 h 1158240"/>
                <a:gd name="connsiteX2-89" fmla="*/ 113547 w 497573"/>
                <a:gd name="connsiteY2-90" fmla="*/ 525780 h 1158240"/>
                <a:gd name="connsiteX3-91" fmla="*/ 446287 w 497573"/>
                <a:gd name="connsiteY3-92" fmla="*/ 449580 h 1158240"/>
                <a:gd name="connsiteX4-93" fmla="*/ 484387 w 497573"/>
                <a:gd name="connsiteY4-94" fmla="*/ 0 h 1158240"/>
                <a:gd name="connsiteX0-95" fmla="*/ 1638 w 494884"/>
                <a:gd name="connsiteY0-96" fmla="*/ 1158240 h 1158240"/>
                <a:gd name="connsiteX1-97" fmla="*/ 6718 w 494884"/>
                <a:gd name="connsiteY1-98" fmla="*/ 661670 h 1158240"/>
                <a:gd name="connsiteX2-99" fmla="*/ 110858 w 494884"/>
                <a:gd name="connsiteY2-100" fmla="*/ 525780 h 1158240"/>
                <a:gd name="connsiteX3-101" fmla="*/ 443598 w 494884"/>
                <a:gd name="connsiteY3-102" fmla="*/ 449580 h 1158240"/>
                <a:gd name="connsiteX4-103" fmla="*/ 481698 w 494884"/>
                <a:gd name="connsiteY4-104" fmla="*/ 0 h 1158240"/>
                <a:gd name="connsiteX0-105" fmla="*/ 17011 w 510257"/>
                <a:gd name="connsiteY0-106" fmla="*/ 1158240 h 1158240"/>
                <a:gd name="connsiteX1-107" fmla="*/ 3041 w 510257"/>
                <a:gd name="connsiteY1-108" fmla="*/ 675957 h 1158240"/>
                <a:gd name="connsiteX2-109" fmla="*/ 126231 w 510257"/>
                <a:gd name="connsiteY2-110" fmla="*/ 525780 h 1158240"/>
                <a:gd name="connsiteX3-111" fmla="*/ 458971 w 510257"/>
                <a:gd name="connsiteY3-112" fmla="*/ 449580 h 1158240"/>
                <a:gd name="connsiteX4-113" fmla="*/ 497071 w 510257"/>
                <a:gd name="connsiteY4-114" fmla="*/ 0 h 1158240"/>
                <a:gd name="connsiteX0-115" fmla="*/ 15386 w 508632"/>
                <a:gd name="connsiteY0-116" fmla="*/ 1158240 h 1158240"/>
                <a:gd name="connsiteX1-117" fmla="*/ 1416 w 508632"/>
                <a:gd name="connsiteY1-118" fmla="*/ 675957 h 1158240"/>
                <a:gd name="connsiteX2-119" fmla="*/ 124606 w 508632"/>
                <a:gd name="connsiteY2-120" fmla="*/ 525780 h 1158240"/>
                <a:gd name="connsiteX3-121" fmla="*/ 457346 w 508632"/>
                <a:gd name="connsiteY3-122" fmla="*/ 449580 h 1158240"/>
                <a:gd name="connsiteX4-123" fmla="*/ 495446 w 508632"/>
                <a:gd name="connsiteY4-124" fmla="*/ 0 h 1158240"/>
                <a:gd name="connsiteX0-125" fmla="*/ 15386 w 508632"/>
                <a:gd name="connsiteY0-126" fmla="*/ 1158240 h 1158240"/>
                <a:gd name="connsiteX1-127" fmla="*/ 1416 w 508632"/>
                <a:gd name="connsiteY1-128" fmla="*/ 675957 h 1158240"/>
                <a:gd name="connsiteX2-129" fmla="*/ 124606 w 508632"/>
                <a:gd name="connsiteY2-130" fmla="*/ 525780 h 1158240"/>
                <a:gd name="connsiteX3-131" fmla="*/ 457346 w 508632"/>
                <a:gd name="connsiteY3-132" fmla="*/ 449580 h 1158240"/>
                <a:gd name="connsiteX4-133" fmla="*/ 495446 w 508632"/>
                <a:gd name="connsiteY4-134" fmla="*/ 0 h 1158240"/>
                <a:gd name="connsiteX0-135" fmla="*/ 15386 w 508632"/>
                <a:gd name="connsiteY0-136" fmla="*/ 1158240 h 1158240"/>
                <a:gd name="connsiteX1-137" fmla="*/ 1416 w 508632"/>
                <a:gd name="connsiteY1-138" fmla="*/ 675957 h 1158240"/>
                <a:gd name="connsiteX2-139" fmla="*/ 124606 w 508632"/>
                <a:gd name="connsiteY2-140" fmla="*/ 525780 h 1158240"/>
                <a:gd name="connsiteX3-141" fmla="*/ 457346 w 508632"/>
                <a:gd name="connsiteY3-142" fmla="*/ 449580 h 1158240"/>
                <a:gd name="connsiteX4-143" fmla="*/ 495446 w 508632"/>
                <a:gd name="connsiteY4-144" fmla="*/ 0 h 1158240"/>
                <a:gd name="connsiteX0-145" fmla="*/ 15664 w 513673"/>
                <a:gd name="connsiteY0-146" fmla="*/ 1158240 h 1158240"/>
                <a:gd name="connsiteX1-147" fmla="*/ 6457 w 513673"/>
                <a:gd name="connsiteY1-148" fmla="*/ 675957 h 1158240"/>
                <a:gd name="connsiteX2-149" fmla="*/ 129647 w 513673"/>
                <a:gd name="connsiteY2-150" fmla="*/ 525780 h 1158240"/>
                <a:gd name="connsiteX3-151" fmla="*/ 462387 w 513673"/>
                <a:gd name="connsiteY3-152" fmla="*/ 449580 h 1158240"/>
                <a:gd name="connsiteX4-153" fmla="*/ 500487 w 513673"/>
                <a:gd name="connsiteY4-154" fmla="*/ 0 h 1158240"/>
                <a:gd name="connsiteX0-155" fmla="*/ 17239 w 515248"/>
                <a:gd name="connsiteY0-156" fmla="*/ 1158240 h 1158240"/>
                <a:gd name="connsiteX1-157" fmla="*/ 8032 w 515248"/>
                <a:gd name="connsiteY1-158" fmla="*/ 675957 h 1158240"/>
                <a:gd name="connsiteX2-159" fmla="*/ 131222 w 515248"/>
                <a:gd name="connsiteY2-160" fmla="*/ 525780 h 1158240"/>
                <a:gd name="connsiteX3-161" fmla="*/ 463962 w 515248"/>
                <a:gd name="connsiteY3-162" fmla="*/ 449580 h 1158240"/>
                <a:gd name="connsiteX4-163" fmla="*/ 502062 w 515248"/>
                <a:gd name="connsiteY4-164" fmla="*/ 0 h 1158240"/>
                <a:gd name="connsiteX0-165" fmla="*/ 17239 w 515248"/>
                <a:gd name="connsiteY0-166" fmla="*/ 1158240 h 1158240"/>
                <a:gd name="connsiteX1-167" fmla="*/ 8032 w 515248"/>
                <a:gd name="connsiteY1-168" fmla="*/ 675957 h 1158240"/>
                <a:gd name="connsiteX2-169" fmla="*/ 131222 w 515248"/>
                <a:gd name="connsiteY2-170" fmla="*/ 525780 h 1158240"/>
                <a:gd name="connsiteX3-171" fmla="*/ 463962 w 515248"/>
                <a:gd name="connsiteY3-172" fmla="*/ 449580 h 1158240"/>
                <a:gd name="connsiteX4-173" fmla="*/ 502062 w 515248"/>
                <a:gd name="connsiteY4-174" fmla="*/ 0 h 1158240"/>
                <a:gd name="connsiteX0-175" fmla="*/ 10978 w 508987"/>
                <a:gd name="connsiteY0-176" fmla="*/ 1158240 h 1158240"/>
                <a:gd name="connsiteX1-177" fmla="*/ 1771 w 508987"/>
                <a:gd name="connsiteY1-178" fmla="*/ 675957 h 1158240"/>
                <a:gd name="connsiteX2-179" fmla="*/ 124961 w 508987"/>
                <a:gd name="connsiteY2-180" fmla="*/ 525780 h 1158240"/>
                <a:gd name="connsiteX3-181" fmla="*/ 457701 w 508987"/>
                <a:gd name="connsiteY3-182" fmla="*/ 449580 h 1158240"/>
                <a:gd name="connsiteX4-183" fmla="*/ 495801 w 508987"/>
                <a:gd name="connsiteY4-184" fmla="*/ 0 h 1158240"/>
                <a:gd name="connsiteX0-185" fmla="*/ 3620 w 501629"/>
                <a:gd name="connsiteY0-186" fmla="*/ 1158240 h 1158240"/>
                <a:gd name="connsiteX1-187" fmla="*/ 8700 w 501629"/>
                <a:gd name="connsiteY1-188" fmla="*/ 675957 h 1158240"/>
                <a:gd name="connsiteX2-189" fmla="*/ 117603 w 501629"/>
                <a:gd name="connsiteY2-190" fmla="*/ 525780 h 1158240"/>
                <a:gd name="connsiteX3-191" fmla="*/ 450343 w 501629"/>
                <a:gd name="connsiteY3-192" fmla="*/ 449580 h 1158240"/>
                <a:gd name="connsiteX4-193" fmla="*/ 488443 w 501629"/>
                <a:gd name="connsiteY4-194" fmla="*/ 0 h 1158240"/>
                <a:gd name="connsiteX0-195" fmla="*/ 7415 w 505424"/>
                <a:gd name="connsiteY0-196" fmla="*/ 1158240 h 1158240"/>
                <a:gd name="connsiteX1-197" fmla="*/ 2970 w 505424"/>
                <a:gd name="connsiteY1-198" fmla="*/ 680719 h 1158240"/>
                <a:gd name="connsiteX2-199" fmla="*/ 121398 w 505424"/>
                <a:gd name="connsiteY2-200" fmla="*/ 525780 h 1158240"/>
                <a:gd name="connsiteX3-201" fmla="*/ 454138 w 505424"/>
                <a:gd name="connsiteY3-202" fmla="*/ 449580 h 1158240"/>
                <a:gd name="connsiteX4-203" fmla="*/ 492238 w 505424"/>
                <a:gd name="connsiteY4-204" fmla="*/ 0 h 1158240"/>
                <a:gd name="connsiteX0-205" fmla="*/ 7415 w 505424"/>
                <a:gd name="connsiteY0-206" fmla="*/ 1158240 h 1158240"/>
                <a:gd name="connsiteX1-207" fmla="*/ 2970 w 505424"/>
                <a:gd name="connsiteY1-208" fmla="*/ 680719 h 1158240"/>
                <a:gd name="connsiteX2-209" fmla="*/ 121398 w 505424"/>
                <a:gd name="connsiteY2-210" fmla="*/ 525780 h 1158240"/>
                <a:gd name="connsiteX3-211" fmla="*/ 454138 w 505424"/>
                <a:gd name="connsiteY3-212" fmla="*/ 449580 h 1158240"/>
                <a:gd name="connsiteX4-213" fmla="*/ 492238 w 505424"/>
                <a:gd name="connsiteY4-214" fmla="*/ 0 h 1158240"/>
                <a:gd name="connsiteX0-215" fmla="*/ 7415 w 518817"/>
                <a:gd name="connsiteY0-216" fmla="*/ 1158240 h 1158240"/>
                <a:gd name="connsiteX1-217" fmla="*/ 2970 w 518817"/>
                <a:gd name="connsiteY1-218" fmla="*/ 680719 h 1158240"/>
                <a:gd name="connsiteX2-219" fmla="*/ 121398 w 518817"/>
                <a:gd name="connsiteY2-220" fmla="*/ 525780 h 1158240"/>
                <a:gd name="connsiteX3-221" fmla="*/ 482713 w 518817"/>
                <a:gd name="connsiteY3-222" fmla="*/ 487680 h 1158240"/>
                <a:gd name="connsiteX4-223" fmla="*/ 492238 w 518817"/>
                <a:gd name="connsiteY4-224" fmla="*/ 0 h 1158240"/>
                <a:gd name="connsiteX0-225" fmla="*/ 7415 w 518817"/>
                <a:gd name="connsiteY0-226" fmla="*/ 1158240 h 1158240"/>
                <a:gd name="connsiteX1-227" fmla="*/ 2970 w 518817"/>
                <a:gd name="connsiteY1-228" fmla="*/ 680719 h 1158240"/>
                <a:gd name="connsiteX2-229" fmla="*/ 121398 w 518817"/>
                <a:gd name="connsiteY2-230" fmla="*/ 525780 h 1158240"/>
                <a:gd name="connsiteX3-231" fmla="*/ 482713 w 518817"/>
                <a:gd name="connsiteY3-232" fmla="*/ 473392 h 1158240"/>
                <a:gd name="connsiteX4-233" fmla="*/ 492238 w 518817"/>
                <a:gd name="connsiteY4-234" fmla="*/ 0 h 1158240"/>
                <a:gd name="connsiteX0-235" fmla="*/ 7415 w 513005"/>
                <a:gd name="connsiteY0-236" fmla="*/ 1158240 h 1158240"/>
                <a:gd name="connsiteX1-237" fmla="*/ 2970 w 513005"/>
                <a:gd name="connsiteY1-238" fmla="*/ 680719 h 1158240"/>
                <a:gd name="connsiteX2-239" fmla="*/ 121398 w 513005"/>
                <a:gd name="connsiteY2-240" fmla="*/ 525780 h 1158240"/>
                <a:gd name="connsiteX3-241" fmla="*/ 482713 w 513005"/>
                <a:gd name="connsiteY3-242" fmla="*/ 473392 h 1158240"/>
                <a:gd name="connsiteX4-243" fmla="*/ 492238 w 513005"/>
                <a:gd name="connsiteY4-244" fmla="*/ 0 h 1158240"/>
                <a:gd name="connsiteX0-245" fmla="*/ 7415 w 506000"/>
                <a:gd name="connsiteY0-246" fmla="*/ 1158240 h 1158240"/>
                <a:gd name="connsiteX1-247" fmla="*/ 2970 w 506000"/>
                <a:gd name="connsiteY1-248" fmla="*/ 680719 h 1158240"/>
                <a:gd name="connsiteX2-249" fmla="*/ 121398 w 506000"/>
                <a:gd name="connsiteY2-250" fmla="*/ 525780 h 1158240"/>
                <a:gd name="connsiteX3-251" fmla="*/ 482713 w 506000"/>
                <a:gd name="connsiteY3-252" fmla="*/ 473392 h 1158240"/>
                <a:gd name="connsiteX4-253" fmla="*/ 492238 w 506000"/>
                <a:gd name="connsiteY4-254" fmla="*/ 0 h 1158240"/>
                <a:gd name="connsiteX0-255" fmla="*/ 7415 w 517650"/>
                <a:gd name="connsiteY0-256" fmla="*/ 1158240 h 1158240"/>
                <a:gd name="connsiteX1-257" fmla="*/ 2970 w 517650"/>
                <a:gd name="connsiteY1-258" fmla="*/ 680719 h 1158240"/>
                <a:gd name="connsiteX2-259" fmla="*/ 121398 w 517650"/>
                <a:gd name="connsiteY2-260" fmla="*/ 525780 h 1158240"/>
                <a:gd name="connsiteX3-261" fmla="*/ 482713 w 517650"/>
                <a:gd name="connsiteY3-262" fmla="*/ 473392 h 1158240"/>
                <a:gd name="connsiteX4-263" fmla="*/ 504621 w 517650"/>
                <a:gd name="connsiteY4-264" fmla="*/ 350520 h 1158240"/>
                <a:gd name="connsiteX5" fmla="*/ 492238 w 517650"/>
                <a:gd name="connsiteY5" fmla="*/ 0 h 1158240"/>
                <a:gd name="connsiteX0-265" fmla="*/ 7415 w 506303"/>
                <a:gd name="connsiteY0-266" fmla="*/ 1158240 h 1158240"/>
                <a:gd name="connsiteX1-267" fmla="*/ 2970 w 506303"/>
                <a:gd name="connsiteY1-268" fmla="*/ 680719 h 1158240"/>
                <a:gd name="connsiteX2-269" fmla="*/ 121398 w 506303"/>
                <a:gd name="connsiteY2-270" fmla="*/ 525780 h 1158240"/>
                <a:gd name="connsiteX3-271" fmla="*/ 458901 w 506303"/>
                <a:gd name="connsiteY3-272" fmla="*/ 482917 h 1158240"/>
                <a:gd name="connsiteX4-273" fmla="*/ 504621 w 506303"/>
                <a:gd name="connsiteY4-274" fmla="*/ 350520 h 1158240"/>
                <a:gd name="connsiteX5-275" fmla="*/ 492238 w 506303"/>
                <a:gd name="connsiteY5-276" fmla="*/ 0 h 1158240"/>
                <a:gd name="connsiteX0-277" fmla="*/ 7415 w 504766"/>
                <a:gd name="connsiteY0-278" fmla="*/ 1158240 h 1158240"/>
                <a:gd name="connsiteX1-279" fmla="*/ 2970 w 504766"/>
                <a:gd name="connsiteY1-280" fmla="*/ 680719 h 1158240"/>
                <a:gd name="connsiteX2-281" fmla="*/ 121398 w 504766"/>
                <a:gd name="connsiteY2-282" fmla="*/ 525780 h 1158240"/>
                <a:gd name="connsiteX3-283" fmla="*/ 444613 w 504766"/>
                <a:gd name="connsiteY3-284" fmla="*/ 482917 h 1158240"/>
                <a:gd name="connsiteX4-285" fmla="*/ 504621 w 504766"/>
                <a:gd name="connsiteY4-286" fmla="*/ 350520 h 1158240"/>
                <a:gd name="connsiteX5-287" fmla="*/ 492238 w 504766"/>
                <a:gd name="connsiteY5-288" fmla="*/ 0 h 1158240"/>
                <a:gd name="connsiteX0-289" fmla="*/ 7415 w 507328"/>
                <a:gd name="connsiteY0-290" fmla="*/ 1163003 h 1163003"/>
                <a:gd name="connsiteX1-291" fmla="*/ 2970 w 507328"/>
                <a:gd name="connsiteY1-292" fmla="*/ 685482 h 1163003"/>
                <a:gd name="connsiteX2-293" fmla="*/ 121398 w 507328"/>
                <a:gd name="connsiteY2-294" fmla="*/ 530543 h 1163003"/>
                <a:gd name="connsiteX3-295" fmla="*/ 444613 w 507328"/>
                <a:gd name="connsiteY3-296" fmla="*/ 487680 h 1163003"/>
                <a:gd name="connsiteX4-297" fmla="*/ 504621 w 507328"/>
                <a:gd name="connsiteY4-298" fmla="*/ 355283 h 1163003"/>
                <a:gd name="connsiteX5-299" fmla="*/ 506525 w 507328"/>
                <a:gd name="connsiteY5-300" fmla="*/ 0 h 1163003"/>
                <a:gd name="connsiteX0-301" fmla="*/ 7415 w 507328"/>
                <a:gd name="connsiteY0-302" fmla="*/ 1163003 h 1163003"/>
                <a:gd name="connsiteX1-303" fmla="*/ 2970 w 507328"/>
                <a:gd name="connsiteY1-304" fmla="*/ 685482 h 1163003"/>
                <a:gd name="connsiteX2-305" fmla="*/ 121398 w 507328"/>
                <a:gd name="connsiteY2-306" fmla="*/ 530543 h 1163003"/>
                <a:gd name="connsiteX3-307" fmla="*/ 444613 w 507328"/>
                <a:gd name="connsiteY3-308" fmla="*/ 487680 h 1163003"/>
                <a:gd name="connsiteX4-309" fmla="*/ 504621 w 507328"/>
                <a:gd name="connsiteY4-310" fmla="*/ 355283 h 1163003"/>
                <a:gd name="connsiteX5-311" fmla="*/ 506525 w 507328"/>
                <a:gd name="connsiteY5-312" fmla="*/ 0 h 1163003"/>
                <a:gd name="connsiteX0-313" fmla="*/ 7415 w 507328"/>
                <a:gd name="connsiteY0-314" fmla="*/ 1163003 h 1163003"/>
                <a:gd name="connsiteX1-315" fmla="*/ 2970 w 507328"/>
                <a:gd name="connsiteY1-316" fmla="*/ 685482 h 1163003"/>
                <a:gd name="connsiteX2-317" fmla="*/ 121398 w 507328"/>
                <a:gd name="connsiteY2-318" fmla="*/ 530543 h 1163003"/>
                <a:gd name="connsiteX3-319" fmla="*/ 444613 w 507328"/>
                <a:gd name="connsiteY3-320" fmla="*/ 487680 h 1163003"/>
                <a:gd name="connsiteX4-321" fmla="*/ 504621 w 507328"/>
                <a:gd name="connsiteY4-322" fmla="*/ 355283 h 1163003"/>
                <a:gd name="connsiteX5-323" fmla="*/ 506525 w 507328"/>
                <a:gd name="connsiteY5-324" fmla="*/ 0 h 1163003"/>
                <a:gd name="connsiteX0-325" fmla="*/ 7415 w 507328"/>
                <a:gd name="connsiteY0-326" fmla="*/ 1163003 h 1163003"/>
                <a:gd name="connsiteX1-327" fmla="*/ 2970 w 507328"/>
                <a:gd name="connsiteY1-328" fmla="*/ 685482 h 1163003"/>
                <a:gd name="connsiteX2-329" fmla="*/ 121398 w 507328"/>
                <a:gd name="connsiteY2-330" fmla="*/ 530543 h 1163003"/>
                <a:gd name="connsiteX3-331" fmla="*/ 444613 w 507328"/>
                <a:gd name="connsiteY3-332" fmla="*/ 516255 h 1163003"/>
                <a:gd name="connsiteX4-333" fmla="*/ 504621 w 507328"/>
                <a:gd name="connsiteY4-334" fmla="*/ 355283 h 1163003"/>
                <a:gd name="connsiteX5-335" fmla="*/ 506525 w 507328"/>
                <a:gd name="connsiteY5-336" fmla="*/ 0 h 1163003"/>
                <a:gd name="connsiteX0-337" fmla="*/ 7415 w 507328"/>
                <a:gd name="connsiteY0-338" fmla="*/ 1163003 h 1163003"/>
                <a:gd name="connsiteX1-339" fmla="*/ 2970 w 507328"/>
                <a:gd name="connsiteY1-340" fmla="*/ 685482 h 1163003"/>
                <a:gd name="connsiteX2-341" fmla="*/ 121398 w 507328"/>
                <a:gd name="connsiteY2-342" fmla="*/ 530543 h 1163003"/>
                <a:gd name="connsiteX3-343" fmla="*/ 444613 w 507328"/>
                <a:gd name="connsiteY3-344" fmla="*/ 516255 h 1163003"/>
                <a:gd name="connsiteX4-345" fmla="*/ 504621 w 507328"/>
                <a:gd name="connsiteY4-346" fmla="*/ 355283 h 1163003"/>
                <a:gd name="connsiteX5-347" fmla="*/ 506525 w 507328"/>
                <a:gd name="connsiteY5-348" fmla="*/ 0 h 1163003"/>
                <a:gd name="connsiteX0-349" fmla="*/ 7415 w 507328"/>
                <a:gd name="connsiteY0-350" fmla="*/ 1163003 h 1163003"/>
                <a:gd name="connsiteX1-351" fmla="*/ 2970 w 507328"/>
                <a:gd name="connsiteY1-352" fmla="*/ 685482 h 1163003"/>
                <a:gd name="connsiteX2-353" fmla="*/ 121398 w 507328"/>
                <a:gd name="connsiteY2-354" fmla="*/ 530543 h 1163003"/>
                <a:gd name="connsiteX3-355" fmla="*/ 411275 w 507328"/>
                <a:gd name="connsiteY3-356" fmla="*/ 511492 h 1163003"/>
                <a:gd name="connsiteX4-357" fmla="*/ 504621 w 507328"/>
                <a:gd name="connsiteY4-358" fmla="*/ 355283 h 1163003"/>
                <a:gd name="connsiteX5-359" fmla="*/ 506525 w 507328"/>
                <a:gd name="connsiteY5-360" fmla="*/ 0 h 1163003"/>
                <a:gd name="connsiteX0-361" fmla="*/ 7415 w 507328"/>
                <a:gd name="connsiteY0-362" fmla="*/ 1163003 h 1163003"/>
                <a:gd name="connsiteX1-363" fmla="*/ 2970 w 507328"/>
                <a:gd name="connsiteY1-364" fmla="*/ 666432 h 1163003"/>
                <a:gd name="connsiteX2-365" fmla="*/ 121398 w 507328"/>
                <a:gd name="connsiteY2-366" fmla="*/ 530543 h 1163003"/>
                <a:gd name="connsiteX3-367" fmla="*/ 411275 w 507328"/>
                <a:gd name="connsiteY3-368" fmla="*/ 511492 h 1163003"/>
                <a:gd name="connsiteX4-369" fmla="*/ 504621 w 507328"/>
                <a:gd name="connsiteY4-370" fmla="*/ 355283 h 1163003"/>
                <a:gd name="connsiteX5-371" fmla="*/ 506525 w 507328"/>
                <a:gd name="connsiteY5-372" fmla="*/ 0 h 1163003"/>
                <a:gd name="connsiteX0-373" fmla="*/ 4679 w 504592"/>
                <a:gd name="connsiteY0-374" fmla="*/ 1163003 h 1163003"/>
                <a:gd name="connsiteX1-375" fmla="*/ 234 w 504592"/>
                <a:gd name="connsiteY1-376" fmla="*/ 666432 h 1163003"/>
                <a:gd name="connsiteX2-377" fmla="*/ 118662 w 504592"/>
                <a:gd name="connsiteY2-378" fmla="*/ 530543 h 1163003"/>
                <a:gd name="connsiteX3-379" fmla="*/ 408539 w 504592"/>
                <a:gd name="connsiteY3-380" fmla="*/ 511492 h 1163003"/>
                <a:gd name="connsiteX4-381" fmla="*/ 501885 w 504592"/>
                <a:gd name="connsiteY4-382" fmla="*/ 355283 h 1163003"/>
                <a:gd name="connsiteX5-383" fmla="*/ 503789 w 504592"/>
                <a:gd name="connsiteY5-384" fmla="*/ 0 h 1163003"/>
                <a:gd name="connsiteX0-385" fmla="*/ 4679 w 504592"/>
                <a:gd name="connsiteY0-386" fmla="*/ 1163003 h 1163003"/>
                <a:gd name="connsiteX1-387" fmla="*/ 234 w 504592"/>
                <a:gd name="connsiteY1-388" fmla="*/ 666432 h 1163003"/>
                <a:gd name="connsiteX2-389" fmla="*/ 118662 w 504592"/>
                <a:gd name="connsiteY2-390" fmla="*/ 530543 h 1163003"/>
                <a:gd name="connsiteX3-391" fmla="*/ 408539 w 504592"/>
                <a:gd name="connsiteY3-392" fmla="*/ 511492 h 1163003"/>
                <a:gd name="connsiteX4-393" fmla="*/ 501885 w 504592"/>
                <a:gd name="connsiteY4-394" fmla="*/ 355283 h 1163003"/>
                <a:gd name="connsiteX5-395" fmla="*/ 503789 w 504592"/>
                <a:gd name="connsiteY5-396" fmla="*/ 0 h 1163003"/>
                <a:gd name="connsiteX0-397" fmla="*/ 4679 w 504592"/>
                <a:gd name="connsiteY0-398" fmla="*/ 1163003 h 1163003"/>
                <a:gd name="connsiteX1-399" fmla="*/ 234 w 504592"/>
                <a:gd name="connsiteY1-400" fmla="*/ 666432 h 1163003"/>
                <a:gd name="connsiteX2-401" fmla="*/ 118662 w 504592"/>
                <a:gd name="connsiteY2-402" fmla="*/ 530543 h 1163003"/>
                <a:gd name="connsiteX3-403" fmla="*/ 408539 w 504592"/>
                <a:gd name="connsiteY3-404" fmla="*/ 511492 h 1163003"/>
                <a:gd name="connsiteX4-405" fmla="*/ 501885 w 504592"/>
                <a:gd name="connsiteY4-406" fmla="*/ 355283 h 1163003"/>
                <a:gd name="connsiteX5-407" fmla="*/ 503789 w 504592"/>
                <a:gd name="connsiteY5-408" fmla="*/ 0 h 1163003"/>
                <a:gd name="connsiteX0-409" fmla="*/ 4679 w 504592"/>
                <a:gd name="connsiteY0-410" fmla="*/ 1163003 h 1163003"/>
                <a:gd name="connsiteX1-411" fmla="*/ 234 w 504592"/>
                <a:gd name="connsiteY1-412" fmla="*/ 666432 h 1163003"/>
                <a:gd name="connsiteX2-413" fmla="*/ 118662 w 504592"/>
                <a:gd name="connsiteY2-414" fmla="*/ 530543 h 1163003"/>
                <a:gd name="connsiteX3-415" fmla="*/ 408539 w 504592"/>
                <a:gd name="connsiteY3-416" fmla="*/ 535305 h 1163003"/>
                <a:gd name="connsiteX4-417" fmla="*/ 501885 w 504592"/>
                <a:gd name="connsiteY4-418" fmla="*/ 355283 h 1163003"/>
                <a:gd name="connsiteX5-419" fmla="*/ 503789 w 504592"/>
                <a:gd name="connsiteY5-420" fmla="*/ 0 h 1163003"/>
                <a:gd name="connsiteX0-421" fmla="*/ 4679 w 504592"/>
                <a:gd name="connsiteY0-422" fmla="*/ 1163003 h 1163003"/>
                <a:gd name="connsiteX1-423" fmla="*/ 234 w 504592"/>
                <a:gd name="connsiteY1-424" fmla="*/ 666432 h 1163003"/>
                <a:gd name="connsiteX2-425" fmla="*/ 118662 w 504592"/>
                <a:gd name="connsiteY2-426" fmla="*/ 530543 h 1163003"/>
                <a:gd name="connsiteX3-427" fmla="*/ 403777 w 504592"/>
                <a:gd name="connsiteY3-428" fmla="*/ 525780 h 1163003"/>
                <a:gd name="connsiteX4-429" fmla="*/ 501885 w 504592"/>
                <a:gd name="connsiteY4-430" fmla="*/ 355283 h 1163003"/>
                <a:gd name="connsiteX5-431" fmla="*/ 503789 w 504592"/>
                <a:gd name="connsiteY5-432" fmla="*/ 0 h 1163003"/>
                <a:gd name="connsiteX0-433" fmla="*/ 4679 w 504592"/>
                <a:gd name="connsiteY0-434" fmla="*/ 1163003 h 1163003"/>
                <a:gd name="connsiteX1-435" fmla="*/ 234 w 504592"/>
                <a:gd name="connsiteY1-436" fmla="*/ 666432 h 1163003"/>
                <a:gd name="connsiteX2-437" fmla="*/ 118662 w 504592"/>
                <a:gd name="connsiteY2-438" fmla="*/ 530543 h 1163003"/>
                <a:gd name="connsiteX3-439" fmla="*/ 403777 w 504592"/>
                <a:gd name="connsiteY3-440" fmla="*/ 525780 h 1163003"/>
                <a:gd name="connsiteX4-441" fmla="*/ 501885 w 504592"/>
                <a:gd name="connsiteY4-442" fmla="*/ 355283 h 1163003"/>
                <a:gd name="connsiteX5-443" fmla="*/ 503789 w 504592"/>
                <a:gd name="connsiteY5-444" fmla="*/ 0 h 1163003"/>
                <a:gd name="connsiteX0-445" fmla="*/ 7177 w 507090"/>
                <a:gd name="connsiteY0-446" fmla="*/ 1163003 h 1163003"/>
                <a:gd name="connsiteX1-447" fmla="*/ 2732 w 507090"/>
                <a:gd name="connsiteY1-448" fmla="*/ 666432 h 1163003"/>
                <a:gd name="connsiteX2-449" fmla="*/ 121160 w 507090"/>
                <a:gd name="connsiteY2-450" fmla="*/ 530543 h 1163003"/>
                <a:gd name="connsiteX3-451" fmla="*/ 406275 w 507090"/>
                <a:gd name="connsiteY3-452" fmla="*/ 525780 h 1163003"/>
                <a:gd name="connsiteX4-453" fmla="*/ 504383 w 507090"/>
                <a:gd name="connsiteY4-454" fmla="*/ 355283 h 1163003"/>
                <a:gd name="connsiteX5-455" fmla="*/ 506287 w 507090"/>
                <a:gd name="connsiteY5-456" fmla="*/ 0 h 1163003"/>
                <a:gd name="connsiteX0-457" fmla="*/ 7177 w 507090"/>
                <a:gd name="connsiteY0-458" fmla="*/ 1163003 h 1163003"/>
                <a:gd name="connsiteX1-459" fmla="*/ 2732 w 507090"/>
                <a:gd name="connsiteY1-460" fmla="*/ 666432 h 1163003"/>
                <a:gd name="connsiteX2-461" fmla="*/ 121160 w 507090"/>
                <a:gd name="connsiteY2-462" fmla="*/ 530543 h 1163003"/>
                <a:gd name="connsiteX3-463" fmla="*/ 406275 w 507090"/>
                <a:gd name="connsiteY3-464" fmla="*/ 525780 h 1163003"/>
                <a:gd name="connsiteX4-465" fmla="*/ 504383 w 507090"/>
                <a:gd name="connsiteY4-466" fmla="*/ 355283 h 1163003"/>
                <a:gd name="connsiteX5-467" fmla="*/ 506287 w 507090"/>
                <a:gd name="connsiteY5-468" fmla="*/ 0 h 1163003"/>
                <a:gd name="connsiteX0-469" fmla="*/ 7177 w 507090"/>
                <a:gd name="connsiteY0-470" fmla="*/ 1163003 h 1163003"/>
                <a:gd name="connsiteX1-471" fmla="*/ 2732 w 507090"/>
                <a:gd name="connsiteY1-472" fmla="*/ 666432 h 1163003"/>
                <a:gd name="connsiteX2-473" fmla="*/ 121160 w 507090"/>
                <a:gd name="connsiteY2-474" fmla="*/ 530543 h 1163003"/>
                <a:gd name="connsiteX3-475" fmla="*/ 406275 w 507090"/>
                <a:gd name="connsiteY3-476" fmla="*/ 525780 h 1163003"/>
                <a:gd name="connsiteX4-477" fmla="*/ 504383 w 507090"/>
                <a:gd name="connsiteY4-478" fmla="*/ 355283 h 1163003"/>
                <a:gd name="connsiteX5-479" fmla="*/ 506287 w 507090"/>
                <a:gd name="connsiteY5-480" fmla="*/ 0 h 1163003"/>
                <a:gd name="connsiteX0-481" fmla="*/ 7177 w 507090"/>
                <a:gd name="connsiteY0-482" fmla="*/ 1163003 h 1163003"/>
                <a:gd name="connsiteX1-483" fmla="*/ 2732 w 507090"/>
                <a:gd name="connsiteY1-484" fmla="*/ 666432 h 1163003"/>
                <a:gd name="connsiteX2-485" fmla="*/ 121160 w 507090"/>
                <a:gd name="connsiteY2-486" fmla="*/ 530543 h 1163003"/>
                <a:gd name="connsiteX3-487" fmla="*/ 406275 w 507090"/>
                <a:gd name="connsiteY3-488" fmla="*/ 525780 h 1163003"/>
                <a:gd name="connsiteX4-489" fmla="*/ 504383 w 507090"/>
                <a:gd name="connsiteY4-490" fmla="*/ 355283 h 1163003"/>
                <a:gd name="connsiteX5-491" fmla="*/ 506287 w 507090"/>
                <a:gd name="connsiteY5-492" fmla="*/ 0 h 1163003"/>
                <a:gd name="connsiteX0-493" fmla="*/ 10856 w 515532"/>
                <a:gd name="connsiteY0-494" fmla="*/ 1048703 h 1048703"/>
                <a:gd name="connsiteX1-495" fmla="*/ 11174 w 515532"/>
                <a:gd name="connsiteY1-496" fmla="*/ 666432 h 1048703"/>
                <a:gd name="connsiteX2-497" fmla="*/ 129602 w 515532"/>
                <a:gd name="connsiteY2-498" fmla="*/ 530543 h 1048703"/>
                <a:gd name="connsiteX3-499" fmla="*/ 414717 w 515532"/>
                <a:gd name="connsiteY3-500" fmla="*/ 525780 h 1048703"/>
                <a:gd name="connsiteX4-501" fmla="*/ 512825 w 515532"/>
                <a:gd name="connsiteY4-502" fmla="*/ 355283 h 1048703"/>
                <a:gd name="connsiteX5-503" fmla="*/ 514729 w 515532"/>
                <a:gd name="connsiteY5-504" fmla="*/ 0 h 1048703"/>
                <a:gd name="connsiteX0-505" fmla="*/ 3023 w 507699"/>
                <a:gd name="connsiteY0-506" fmla="*/ 1048703 h 1048703"/>
                <a:gd name="connsiteX1-507" fmla="*/ 3341 w 507699"/>
                <a:gd name="connsiteY1-508" fmla="*/ 666432 h 1048703"/>
                <a:gd name="connsiteX2-509" fmla="*/ 121769 w 507699"/>
                <a:gd name="connsiteY2-510" fmla="*/ 530543 h 1048703"/>
                <a:gd name="connsiteX3-511" fmla="*/ 406884 w 507699"/>
                <a:gd name="connsiteY3-512" fmla="*/ 525780 h 1048703"/>
                <a:gd name="connsiteX4-513" fmla="*/ 504992 w 507699"/>
                <a:gd name="connsiteY4-514" fmla="*/ 355283 h 1048703"/>
                <a:gd name="connsiteX5-515" fmla="*/ 506896 w 507699"/>
                <a:gd name="connsiteY5-516" fmla="*/ 0 h 1048703"/>
                <a:gd name="connsiteX0-517" fmla="*/ 10856 w 515532"/>
                <a:gd name="connsiteY0-518" fmla="*/ 1048703 h 1048703"/>
                <a:gd name="connsiteX1-519" fmla="*/ 11174 w 515532"/>
                <a:gd name="connsiteY1-520" fmla="*/ 666432 h 1048703"/>
                <a:gd name="connsiteX2-521" fmla="*/ 129602 w 515532"/>
                <a:gd name="connsiteY2-522" fmla="*/ 530543 h 1048703"/>
                <a:gd name="connsiteX3-523" fmla="*/ 414717 w 515532"/>
                <a:gd name="connsiteY3-524" fmla="*/ 525780 h 1048703"/>
                <a:gd name="connsiteX4-525" fmla="*/ 512825 w 515532"/>
                <a:gd name="connsiteY4-526" fmla="*/ 355283 h 1048703"/>
                <a:gd name="connsiteX5-527" fmla="*/ 514729 w 515532"/>
                <a:gd name="connsiteY5-528" fmla="*/ 0 h 1048703"/>
                <a:gd name="connsiteX0-529" fmla="*/ 5191 w 509867"/>
                <a:gd name="connsiteY0-530" fmla="*/ 1048703 h 1048703"/>
                <a:gd name="connsiteX1-531" fmla="*/ 5509 w 509867"/>
                <a:gd name="connsiteY1-532" fmla="*/ 666432 h 1048703"/>
                <a:gd name="connsiteX2-533" fmla="*/ 123937 w 509867"/>
                <a:gd name="connsiteY2-534" fmla="*/ 530543 h 1048703"/>
                <a:gd name="connsiteX3-535" fmla="*/ 409052 w 509867"/>
                <a:gd name="connsiteY3-536" fmla="*/ 525780 h 1048703"/>
                <a:gd name="connsiteX4-537" fmla="*/ 507160 w 509867"/>
                <a:gd name="connsiteY4-538" fmla="*/ 355283 h 1048703"/>
                <a:gd name="connsiteX5-539" fmla="*/ 509064 w 509867"/>
                <a:gd name="connsiteY5-540" fmla="*/ 0 h 1048703"/>
                <a:gd name="connsiteX0-541" fmla="*/ 15252 w 512784"/>
                <a:gd name="connsiteY0-542" fmla="*/ 1043940 h 1043940"/>
                <a:gd name="connsiteX1-543" fmla="*/ 8426 w 512784"/>
                <a:gd name="connsiteY1-544" fmla="*/ 666432 h 1043940"/>
                <a:gd name="connsiteX2-545" fmla="*/ 126854 w 512784"/>
                <a:gd name="connsiteY2-546" fmla="*/ 530543 h 1043940"/>
                <a:gd name="connsiteX3-547" fmla="*/ 411969 w 512784"/>
                <a:gd name="connsiteY3-548" fmla="*/ 525780 h 1043940"/>
                <a:gd name="connsiteX4-549" fmla="*/ 510077 w 512784"/>
                <a:gd name="connsiteY4-550" fmla="*/ 355283 h 1043940"/>
                <a:gd name="connsiteX5-551" fmla="*/ 511981 w 512784"/>
                <a:gd name="connsiteY5-552" fmla="*/ 0 h 1043940"/>
                <a:gd name="connsiteX0-553" fmla="*/ 6948 w 504480"/>
                <a:gd name="connsiteY0-554" fmla="*/ 1043940 h 1043940"/>
                <a:gd name="connsiteX1-555" fmla="*/ 122 w 504480"/>
                <a:gd name="connsiteY1-556" fmla="*/ 666432 h 1043940"/>
                <a:gd name="connsiteX2-557" fmla="*/ 118550 w 504480"/>
                <a:gd name="connsiteY2-558" fmla="*/ 530543 h 1043940"/>
                <a:gd name="connsiteX3-559" fmla="*/ 403665 w 504480"/>
                <a:gd name="connsiteY3-560" fmla="*/ 525780 h 1043940"/>
                <a:gd name="connsiteX4-561" fmla="*/ 501773 w 504480"/>
                <a:gd name="connsiteY4-562" fmla="*/ 355283 h 1043940"/>
                <a:gd name="connsiteX5-563" fmla="*/ 503677 w 504480"/>
                <a:gd name="connsiteY5-564" fmla="*/ 0 h 1043940"/>
                <a:gd name="connsiteX0-565" fmla="*/ 6830 w 504362"/>
                <a:gd name="connsiteY0-566" fmla="*/ 1043940 h 1043940"/>
                <a:gd name="connsiteX1-567" fmla="*/ 4 w 504362"/>
                <a:gd name="connsiteY1-568" fmla="*/ 666432 h 1043940"/>
                <a:gd name="connsiteX2-569" fmla="*/ 118432 w 504362"/>
                <a:gd name="connsiteY2-570" fmla="*/ 530543 h 1043940"/>
                <a:gd name="connsiteX3-571" fmla="*/ 403547 w 504362"/>
                <a:gd name="connsiteY3-572" fmla="*/ 525780 h 1043940"/>
                <a:gd name="connsiteX4-573" fmla="*/ 501655 w 504362"/>
                <a:gd name="connsiteY4-574" fmla="*/ 355283 h 1043940"/>
                <a:gd name="connsiteX5-575" fmla="*/ 503559 w 504362"/>
                <a:gd name="connsiteY5-576" fmla="*/ 0 h 1043940"/>
                <a:gd name="connsiteX0-577" fmla="*/ 6871 w 504403"/>
                <a:gd name="connsiteY0-578" fmla="*/ 1043940 h 1043940"/>
                <a:gd name="connsiteX1-579" fmla="*/ 45 w 504403"/>
                <a:gd name="connsiteY1-580" fmla="*/ 666432 h 1043940"/>
                <a:gd name="connsiteX2-581" fmla="*/ 118473 w 504403"/>
                <a:gd name="connsiteY2-582" fmla="*/ 530543 h 1043940"/>
                <a:gd name="connsiteX3-583" fmla="*/ 403588 w 504403"/>
                <a:gd name="connsiteY3-584" fmla="*/ 525780 h 1043940"/>
                <a:gd name="connsiteX4-585" fmla="*/ 501696 w 504403"/>
                <a:gd name="connsiteY4-586" fmla="*/ 355283 h 1043940"/>
                <a:gd name="connsiteX5-587" fmla="*/ 503600 w 504403"/>
                <a:gd name="connsiteY5-588" fmla="*/ 0 h 1043940"/>
              </a:gdLst>
              <a:ahLst/>
              <a:cxnLst>
                <a:cxn ang="0">
                  <a:pos x="connsiteX0-1" y="connsiteY0-2"/>
                </a:cxn>
                <a:cxn ang="0">
                  <a:pos x="connsiteX1-3" y="connsiteY1-4"/>
                </a:cxn>
                <a:cxn ang="0">
                  <a:pos x="connsiteX2-5" y="connsiteY2-6"/>
                </a:cxn>
                <a:cxn ang="0">
                  <a:pos x="connsiteX3-7" y="connsiteY3-8"/>
                </a:cxn>
                <a:cxn ang="0">
                  <a:pos x="connsiteX4-33" y="connsiteY4-34"/>
                </a:cxn>
                <a:cxn ang="0">
                  <a:pos x="connsiteX5-275" y="connsiteY5-276"/>
                </a:cxn>
              </a:cxnLst>
              <a:rect l="l" t="t" r="r" b="b"/>
              <a:pathLst>
                <a:path w="504403" h="1043940">
                  <a:moveTo>
                    <a:pt x="6871" y="1043940"/>
                  </a:moveTo>
                  <a:cubicBezTo>
                    <a:pt x="-1807" y="623041"/>
                    <a:pt x="318" y="751999"/>
                    <a:pt x="45" y="666432"/>
                  </a:cubicBezTo>
                  <a:cubicBezTo>
                    <a:pt x="-416" y="521719"/>
                    <a:pt x="46453" y="534935"/>
                    <a:pt x="118473" y="530543"/>
                  </a:cubicBezTo>
                  <a:cubicBezTo>
                    <a:pt x="190493" y="526151"/>
                    <a:pt x="315905" y="526415"/>
                    <a:pt x="403588" y="525780"/>
                  </a:cubicBezTo>
                  <a:cubicBezTo>
                    <a:pt x="491271" y="525145"/>
                    <a:pt x="504870" y="496095"/>
                    <a:pt x="501696" y="355283"/>
                  </a:cubicBezTo>
                  <a:cubicBezTo>
                    <a:pt x="503284" y="276384"/>
                    <a:pt x="505664" y="58420"/>
                    <a:pt x="503600" y="0"/>
                  </a:cubicBezTo>
                </a:path>
              </a:pathLst>
            </a:cu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grpSp>
      <p:grpSp>
        <p:nvGrpSpPr>
          <p:cNvPr id="85" name="组合 84"/>
          <p:cNvGrpSpPr/>
          <p:nvPr/>
        </p:nvGrpSpPr>
        <p:grpSpPr>
          <a:xfrm>
            <a:off x="5987194" y="3429000"/>
            <a:ext cx="624298" cy="1290630"/>
            <a:chOff x="5987194" y="3429000"/>
            <a:chExt cx="624298" cy="1290630"/>
          </a:xfrm>
        </p:grpSpPr>
        <p:sp>
          <p:nvSpPr>
            <p:cNvPr id="41" name="椭圆 40"/>
            <p:cNvSpPr/>
            <p:nvPr/>
          </p:nvSpPr>
          <p:spPr>
            <a:xfrm>
              <a:off x="5987194" y="3429000"/>
              <a:ext cx="216024" cy="216024"/>
            </a:xfrm>
            <a:prstGeom prst="ellipse">
              <a:avLst/>
            </a:prstGeom>
            <a:solidFill>
              <a:schemeClr val="bg1"/>
            </a:solidFill>
            <a:ln w="76200">
              <a:solidFill>
                <a:srgbClr val="47A7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8" name="任意多边形 57"/>
            <p:cNvSpPr/>
            <p:nvPr/>
          </p:nvSpPr>
          <p:spPr>
            <a:xfrm flipV="1">
              <a:off x="6107089" y="3675690"/>
              <a:ext cx="504403" cy="1043940"/>
            </a:xfrm>
            <a:custGeom>
              <a:avLst/>
              <a:gdLst>
                <a:gd name="connsiteX0" fmla="*/ 36741 w 535207"/>
                <a:gd name="connsiteY0" fmla="*/ 1158240 h 1158240"/>
                <a:gd name="connsiteX1" fmla="*/ 44361 w 535207"/>
                <a:gd name="connsiteY1" fmla="*/ 525780 h 1158240"/>
                <a:gd name="connsiteX2" fmla="*/ 478701 w 535207"/>
                <a:gd name="connsiteY2" fmla="*/ 449580 h 1158240"/>
                <a:gd name="connsiteX3" fmla="*/ 516801 w 535207"/>
                <a:gd name="connsiteY3" fmla="*/ 0 h 1158240"/>
                <a:gd name="connsiteX0-1" fmla="*/ 15927 w 511653"/>
                <a:gd name="connsiteY0-2" fmla="*/ 1158240 h 1158240"/>
                <a:gd name="connsiteX1-3" fmla="*/ 74347 w 511653"/>
                <a:gd name="connsiteY1-4" fmla="*/ 525780 h 1158240"/>
                <a:gd name="connsiteX2-5" fmla="*/ 457887 w 511653"/>
                <a:gd name="connsiteY2-6" fmla="*/ 449580 h 1158240"/>
                <a:gd name="connsiteX3-7" fmla="*/ 495987 w 511653"/>
                <a:gd name="connsiteY3-8" fmla="*/ 0 h 1158240"/>
                <a:gd name="connsiteX0-9" fmla="*/ 15927 w 511653"/>
                <a:gd name="connsiteY0-10" fmla="*/ 1158240 h 1158240"/>
                <a:gd name="connsiteX1-11" fmla="*/ 74347 w 511653"/>
                <a:gd name="connsiteY1-12" fmla="*/ 525780 h 1158240"/>
                <a:gd name="connsiteX2-13" fmla="*/ 457887 w 511653"/>
                <a:gd name="connsiteY2-14" fmla="*/ 449580 h 1158240"/>
                <a:gd name="connsiteX3-15" fmla="*/ 495987 w 511653"/>
                <a:gd name="connsiteY3-16" fmla="*/ 0 h 1158240"/>
                <a:gd name="connsiteX0-17" fmla="*/ 796 w 496522"/>
                <a:gd name="connsiteY0-18" fmla="*/ 1158240 h 1158240"/>
                <a:gd name="connsiteX1-19" fmla="*/ 5876 w 496522"/>
                <a:gd name="connsiteY1-20" fmla="*/ 661670 h 1158240"/>
                <a:gd name="connsiteX2-21" fmla="*/ 59216 w 496522"/>
                <a:gd name="connsiteY2-22" fmla="*/ 525780 h 1158240"/>
                <a:gd name="connsiteX3-23" fmla="*/ 442756 w 496522"/>
                <a:gd name="connsiteY3-24" fmla="*/ 449580 h 1158240"/>
                <a:gd name="connsiteX4" fmla="*/ 480856 w 496522"/>
                <a:gd name="connsiteY4" fmla="*/ 0 h 1158240"/>
                <a:gd name="connsiteX0-25" fmla="*/ 796 w 496522"/>
                <a:gd name="connsiteY0-26" fmla="*/ 1158240 h 1158240"/>
                <a:gd name="connsiteX1-27" fmla="*/ 5876 w 496522"/>
                <a:gd name="connsiteY1-28" fmla="*/ 661670 h 1158240"/>
                <a:gd name="connsiteX2-29" fmla="*/ 59216 w 496522"/>
                <a:gd name="connsiteY2-30" fmla="*/ 525780 h 1158240"/>
                <a:gd name="connsiteX3-31" fmla="*/ 442756 w 496522"/>
                <a:gd name="connsiteY3-32" fmla="*/ 449580 h 1158240"/>
                <a:gd name="connsiteX4-33" fmla="*/ 480856 w 496522"/>
                <a:gd name="connsiteY4-34" fmla="*/ 0 h 1158240"/>
                <a:gd name="connsiteX0-35" fmla="*/ 4327 w 497573"/>
                <a:gd name="connsiteY0-36" fmla="*/ 1158240 h 1158240"/>
                <a:gd name="connsiteX1-37" fmla="*/ 9407 w 497573"/>
                <a:gd name="connsiteY1-38" fmla="*/ 661670 h 1158240"/>
                <a:gd name="connsiteX2-39" fmla="*/ 113547 w 497573"/>
                <a:gd name="connsiteY2-40" fmla="*/ 525780 h 1158240"/>
                <a:gd name="connsiteX3-41" fmla="*/ 446287 w 497573"/>
                <a:gd name="connsiteY3-42" fmla="*/ 449580 h 1158240"/>
                <a:gd name="connsiteX4-43" fmla="*/ 484387 w 497573"/>
                <a:gd name="connsiteY4-44" fmla="*/ 0 h 1158240"/>
                <a:gd name="connsiteX0-45" fmla="*/ 4327 w 497573"/>
                <a:gd name="connsiteY0-46" fmla="*/ 1158240 h 1158240"/>
                <a:gd name="connsiteX1-47" fmla="*/ 9407 w 497573"/>
                <a:gd name="connsiteY1-48" fmla="*/ 661670 h 1158240"/>
                <a:gd name="connsiteX2-49" fmla="*/ 113547 w 497573"/>
                <a:gd name="connsiteY2-50" fmla="*/ 525780 h 1158240"/>
                <a:gd name="connsiteX3-51" fmla="*/ 446287 w 497573"/>
                <a:gd name="connsiteY3-52" fmla="*/ 449580 h 1158240"/>
                <a:gd name="connsiteX4-53" fmla="*/ 484387 w 497573"/>
                <a:gd name="connsiteY4-54" fmla="*/ 0 h 1158240"/>
                <a:gd name="connsiteX0-55" fmla="*/ 4327 w 497573"/>
                <a:gd name="connsiteY0-56" fmla="*/ 1158240 h 1158240"/>
                <a:gd name="connsiteX1-57" fmla="*/ 9407 w 497573"/>
                <a:gd name="connsiteY1-58" fmla="*/ 661670 h 1158240"/>
                <a:gd name="connsiteX2-59" fmla="*/ 113547 w 497573"/>
                <a:gd name="connsiteY2-60" fmla="*/ 525780 h 1158240"/>
                <a:gd name="connsiteX3-61" fmla="*/ 446287 w 497573"/>
                <a:gd name="connsiteY3-62" fmla="*/ 449580 h 1158240"/>
                <a:gd name="connsiteX4-63" fmla="*/ 484387 w 497573"/>
                <a:gd name="connsiteY4-64" fmla="*/ 0 h 1158240"/>
                <a:gd name="connsiteX0-65" fmla="*/ 4327 w 497573"/>
                <a:gd name="connsiteY0-66" fmla="*/ 1158240 h 1158240"/>
                <a:gd name="connsiteX1-67" fmla="*/ 9407 w 497573"/>
                <a:gd name="connsiteY1-68" fmla="*/ 661670 h 1158240"/>
                <a:gd name="connsiteX2-69" fmla="*/ 113547 w 497573"/>
                <a:gd name="connsiteY2-70" fmla="*/ 525780 h 1158240"/>
                <a:gd name="connsiteX3-71" fmla="*/ 446287 w 497573"/>
                <a:gd name="connsiteY3-72" fmla="*/ 449580 h 1158240"/>
                <a:gd name="connsiteX4-73" fmla="*/ 484387 w 497573"/>
                <a:gd name="connsiteY4-74" fmla="*/ 0 h 1158240"/>
                <a:gd name="connsiteX0-75" fmla="*/ 4327 w 497573"/>
                <a:gd name="connsiteY0-76" fmla="*/ 1158240 h 1158240"/>
                <a:gd name="connsiteX1-77" fmla="*/ 9407 w 497573"/>
                <a:gd name="connsiteY1-78" fmla="*/ 661670 h 1158240"/>
                <a:gd name="connsiteX2-79" fmla="*/ 113547 w 497573"/>
                <a:gd name="connsiteY2-80" fmla="*/ 525780 h 1158240"/>
                <a:gd name="connsiteX3-81" fmla="*/ 446287 w 497573"/>
                <a:gd name="connsiteY3-82" fmla="*/ 449580 h 1158240"/>
                <a:gd name="connsiteX4-83" fmla="*/ 484387 w 497573"/>
                <a:gd name="connsiteY4-84" fmla="*/ 0 h 1158240"/>
                <a:gd name="connsiteX0-85" fmla="*/ 4327 w 497573"/>
                <a:gd name="connsiteY0-86" fmla="*/ 1158240 h 1158240"/>
                <a:gd name="connsiteX1-87" fmla="*/ 9407 w 497573"/>
                <a:gd name="connsiteY1-88" fmla="*/ 661670 h 1158240"/>
                <a:gd name="connsiteX2-89" fmla="*/ 113547 w 497573"/>
                <a:gd name="connsiteY2-90" fmla="*/ 525780 h 1158240"/>
                <a:gd name="connsiteX3-91" fmla="*/ 446287 w 497573"/>
                <a:gd name="connsiteY3-92" fmla="*/ 449580 h 1158240"/>
                <a:gd name="connsiteX4-93" fmla="*/ 484387 w 497573"/>
                <a:gd name="connsiteY4-94" fmla="*/ 0 h 1158240"/>
                <a:gd name="connsiteX0-95" fmla="*/ 1638 w 494884"/>
                <a:gd name="connsiteY0-96" fmla="*/ 1158240 h 1158240"/>
                <a:gd name="connsiteX1-97" fmla="*/ 6718 w 494884"/>
                <a:gd name="connsiteY1-98" fmla="*/ 661670 h 1158240"/>
                <a:gd name="connsiteX2-99" fmla="*/ 110858 w 494884"/>
                <a:gd name="connsiteY2-100" fmla="*/ 525780 h 1158240"/>
                <a:gd name="connsiteX3-101" fmla="*/ 443598 w 494884"/>
                <a:gd name="connsiteY3-102" fmla="*/ 449580 h 1158240"/>
                <a:gd name="connsiteX4-103" fmla="*/ 481698 w 494884"/>
                <a:gd name="connsiteY4-104" fmla="*/ 0 h 1158240"/>
                <a:gd name="connsiteX0-105" fmla="*/ 17011 w 510257"/>
                <a:gd name="connsiteY0-106" fmla="*/ 1158240 h 1158240"/>
                <a:gd name="connsiteX1-107" fmla="*/ 3041 w 510257"/>
                <a:gd name="connsiteY1-108" fmla="*/ 675957 h 1158240"/>
                <a:gd name="connsiteX2-109" fmla="*/ 126231 w 510257"/>
                <a:gd name="connsiteY2-110" fmla="*/ 525780 h 1158240"/>
                <a:gd name="connsiteX3-111" fmla="*/ 458971 w 510257"/>
                <a:gd name="connsiteY3-112" fmla="*/ 449580 h 1158240"/>
                <a:gd name="connsiteX4-113" fmla="*/ 497071 w 510257"/>
                <a:gd name="connsiteY4-114" fmla="*/ 0 h 1158240"/>
                <a:gd name="connsiteX0-115" fmla="*/ 15386 w 508632"/>
                <a:gd name="connsiteY0-116" fmla="*/ 1158240 h 1158240"/>
                <a:gd name="connsiteX1-117" fmla="*/ 1416 w 508632"/>
                <a:gd name="connsiteY1-118" fmla="*/ 675957 h 1158240"/>
                <a:gd name="connsiteX2-119" fmla="*/ 124606 w 508632"/>
                <a:gd name="connsiteY2-120" fmla="*/ 525780 h 1158240"/>
                <a:gd name="connsiteX3-121" fmla="*/ 457346 w 508632"/>
                <a:gd name="connsiteY3-122" fmla="*/ 449580 h 1158240"/>
                <a:gd name="connsiteX4-123" fmla="*/ 495446 w 508632"/>
                <a:gd name="connsiteY4-124" fmla="*/ 0 h 1158240"/>
                <a:gd name="connsiteX0-125" fmla="*/ 15386 w 508632"/>
                <a:gd name="connsiteY0-126" fmla="*/ 1158240 h 1158240"/>
                <a:gd name="connsiteX1-127" fmla="*/ 1416 w 508632"/>
                <a:gd name="connsiteY1-128" fmla="*/ 675957 h 1158240"/>
                <a:gd name="connsiteX2-129" fmla="*/ 124606 w 508632"/>
                <a:gd name="connsiteY2-130" fmla="*/ 525780 h 1158240"/>
                <a:gd name="connsiteX3-131" fmla="*/ 457346 w 508632"/>
                <a:gd name="connsiteY3-132" fmla="*/ 449580 h 1158240"/>
                <a:gd name="connsiteX4-133" fmla="*/ 495446 w 508632"/>
                <a:gd name="connsiteY4-134" fmla="*/ 0 h 1158240"/>
                <a:gd name="connsiteX0-135" fmla="*/ 15386 w 508632"/>
                <a:gd name="connsiteY0-136" fmla="*/ 1158240 h 1158240"/>
                <a:gd name="connsiteX1-137" fmla="*/ 1416 w 508632"/>
                <a:gd name="connsiteY1-138" fmla="*/ 675957 h 1158240"/>
                <a:gd name="connsiteX2-139" fmla="*/ 124606 w 508632"/>
                <a:gd name="connsiteY2-140" fmla="*/ 525780 h 1158240"/>
                <a:gd name="connsiteX3-141" fmla="*/ 457346 w 508632"/>
                <a:gd name="connsiteY3-142" fmla="*/ 449580 h 1158240"/>
                <a:gd name="connsiteX4-143" fmla="*/ 495446 w 508632"/>
                <a:gd name="connsiteY4-144" fmla="*/ 0 h 1158240"/>
                <a:gd name="connsiteX0-145" fmla="*/ 15664 w 513673"/>
                <a:gd name="connsiteY0-146" fmla="*/ 1158240 h 1158240"/>
                <a:gd name="connsiteX1-147" fmla="*/ 6457 w 513673"/>
                <a:gd name="connsiteY1-148" fmla="*/ 675957 h 1158240"/>
                <a:gd name="connsiteX2-149" fmla="*/ 129647 w 513673"/>
                <a:gd name="connsiteY2-150" fmla="*/ 525780 h 1158240"/>
                <a:gd name="connsiteX3-151" fmla="*/ 462387 w 513673"/>
                <a:gd name="connsiteY3-152" fmla="*/ 449580 h 1158240"/>
                <a:gd name="connsiteX4-153" fmla="*/ 500487 w 513673"/>
                <a:gd name="connsiteY4-154" fmla="*/ 0 h 1158240"/>
                <a:gd name="connsiteX0-155" fmla="*/ 17239 w 515248"/>
                <a:gd name="connsiteY0-156" fmla="*/ 1158240 h 1158240"/>
                <a:gd name="connsiteX1-157" fmla="*/ 8032 w 515248"/>
                <a:gd name="connsiteY1-158" fmla="*/ 675957 h 1158240"/>
                <a:gd name="connsiteX2-159" fmla="*/ 131222 w 515248"/>
                <a:gd name="connsiteY2-160" fmla="*/ 525780 h 1158240"/>
                <a:gd name="connsiteX3-161" fmla="*/ 463962 w 515248"/>
                <a:gd name="connsiteY3-162" fmla="*/ 449580 h 1158240"/>
                <a:gd name="connsiteX4-163" fmla="*/ 502062 w 515248"/>
                <a:gd name="connsiteY4-164" fmla="*/ 0 h 1158240"/>
                <a:gd name="connsiteX0-165" fmla="*/ 17239 w 515248"/>
                <a:gd name="connsiteY0-166" fmla="*/ 1158240 h 1158240"/>
                <a:gd name="connsiteX1-167" fmla="*/ 8032 w 515248"/>
                <a:gd name="connsiteY1-168" fmla="*/ 675957 h 1158240"/>
                <a:gd name="connsiteX2-169" fmla="*/ 131222 w 515248"/>
                <a:gd name="connsiteY2-170" fmla="*/ 525780 h 1158240"/>
                <a:gd name="connsiteX3-171" fmla="*/ 463962 w 515248"/>
                <a:gd name="connsiteY3-172" fmla="*/ 449580 h 1158240"/>
                <a:gd name="connsiteX4-173" fmla="*/ 502062 w 515248"/>
                <a:gd name="connsiteY4-174" fmla="*/ 0 h 1158240"/>
                <a:gd name="connsiteX0-175" fmla="*/ 10978 w 508987"/>
                <a:gd name="connsiteY0-176" fmla="*/ 1158240 h 1158240"/>
                <a:gd name="connsiteX1-177" fmla="*/ 1771 w 508987"/>
                <a:gd name="connsiteY1-178" fmla="*/ 675957 h 1158240"/>
                <a:gd name="connsiteX2-179" fmla="*/ 124961 w 508987"/>
                <a:gd name="connsiteY2-180" fmla="*/ 525780 h 1158240"/>
                <a:gd name="connsiteX3-181" fmla="*/ 457701 w 508987"/>
                <a:gd name="connsiteY3-182" fmla="*/ 449580 h 1158240"/>
                <a:gd name="connsiteX4-183" fmla="*/ 495801 w 508987"/>
                <a:gd name="connsiteY4-184" fmla="*/ 0 h 1158240"/>
                <a:gd name="connsiteX0-185" fmla="*/ 3620 w 501629"/>
                <a:gd name="connsiteY0-186" fmla="*/ 1158240 h 1158240"/>
                <a:gd name="connsiteX1-187" fmla="*/ 8700 w 501629"/>
                <a:gd name="connsiteY1-188" fmla="*/ 675957 h 1158240"/>
                <a:gd name="connsiteX2-189" fmla="*/ 117603 w 501629"/>
                <a:gd name="connsiteY2-190" fmla="*/ 525780 h 1158240"/>
                <a:gd name="connsiteX3-191" fmla="*/ 450343 w 501629"/>
                <a:gd name="connsiteY3-192" fmla="*/ 449580 h 1158240"/>
                <a:gd name="connsiteX4-193" fmla="*/ 488443 w 501629"/>
                <a:gd name="connsiteY4-194" fmla="*/ 0 h 1158240"/>
                <a:gd name="connsiteX0-195" fmla="*/ 7415 w 505424"/>
                <a:gd name="connsiteY0-196" fmla="*/ 1158240 h 1158240"/>
                <a:gd name="connsiteX1-197" fmla="*/ 2970 w 505424"/>
                <a:gd name="connsiteY1-198" fmla="*/ 680719 h 1158240"/>
                <a:gd name="connsiteX2-199" fmla="*/ 121398 w 505424"/>
                <a:gd name="connsiteY2-200" fmla="*/ 525780 h 1158240"/>
                <a:gd name="connsiteX3-201" fmla="*/ 454138 w 505424"/>
                <a:gd name="connsiteY3-202" fmla="*/ 449580 h 1158240"/>
                <a:gd name="connsiteX4-203" fmla="*/ 492238 w 505424"/>
                <a:gd name="connsiteY4-204" fmla="*/ 0 h 1158240"/>
                <a:gd name="connsiteX0-205" fmla="*/ 7415 w 505424"/>
                <a:gd name="connsiteY0-206" fmla="*/ 1158240 h 1158240"/>
                <a:gd name="connsiteX1-207" fmla="*/ 2970 w 505424"/>
                <a:gd name="connsiteY1-208" fmla="*/ 680719 h 1158240"/>
                <a:gd name="connsiteX2-209" fmla="*/ 121398 w 505424"/>
                <a:gd name="connsiteY2-210" fmla="*/ 525780 h 1158240"/>
                <a:gd name="connsiteX3-211" fmla="*/ 454138 w 505424"/>
                <a:gd name="connsiteY3-212" fmla="*/ 449580 h 1158240"/>
                <a:gd name="connsiteX4-213" fmla="*/ 492238 w 505424"/>
                <a:gd name="connsiteY4-214" fmla="*/ 0 h 1158240"/>
                <a:gd name="connsiteX0-215" fmla="*/ 7415 w 518817"/>
                <a:gd name="connsiteY0-216" fmla="*/ 1158240 h 1158240"/>
                <a:gd name="connsiteX1-217" fmla="*/ 2970 w 518817"/>
                <a:gd name="connsiteY1-218" fmla="*/ 680719 h 1158240"/>
                <a:gd name="connsiteX2-219" fmla="*/ 121398 w 518817"/>
                <a:gd name="connsiteY2-220" fmla="*/ 525780 h 1158240"/>
                <a:gd name="connsiteX3-221" fmla="*/ 482713 w 518817"/>
                <a:gd name="connsiteY3-222" fmla="*/ 487680 h 1158240"/>
                <a:gd name="connsiteX4-223" fmla="*/ 492238 w 518817"/>
                <a:gd name="connsiteY4-224" fmla="*/ 0 h 1158240"/>
                <a:gd name="connsiteX0-225" fmla="*/ 7415 w 518817"/>
                <a:gd name="connsiteY0-226" fmla="*/ 1158240 h 1158240"/>
                <a:gd name="connsiteX1-227" fmla="*/ 2970 w 518817"/>
                <a:gd name="connsiteY1-228" fmla="*/ 680719 h 1158240"/>
                <a:gd name="connsiteX2-229" fmla="*/ 121398 w 518817"/>
                <a:gd name="connsiteY2-230" fmla="*/ 525780 h 1158240"/>
                <a:gd name="connsiteX3-231" fmla="*/ 482713 w 518817"/>
                <a:gd name="connsiteY3-232" fmla="*/ 473392 h 1158240"/>
                <a:gd name="connsiteX4-233" fmla="*/ 492238 w 518817"/>
                <a:gd name="connsiteY4-234" fmla="*/ 0 h 1158240"/>
                <a:gd name="connsiteX0-235" fmla="*/ 7415 w 513005"/>
                <a:gd name="connsiteY0-236" fmla="*/ 1158240 h 1158240"/>
                <a:gd name="connsiteX1-237" fmla="*/ 2970 w 513005"/>
                <a:gd name="connsiteY1-238" fmla="*/ 680719 h 1158240"/>
                <a:gd name="connsiteX2-239" fmla="*/ 121398 w 513005"/>
                <a:gd name="connsiteY2-240" fmla="*/ 525780 h 1158240"/>
                <a:gd name="connsiteX3-241" fmla="*/ 482713 w 513005"/>
                <a:gd name="connsiteY3-242" fmla="*/ 473392 h 1158240"/>
                <a:gd name="connsiteX4-243" fmla="*/ 492238 w 513005"/>
                <a:gd name="connsiteY4-244" fmla="*/ 0 h 1158240"/>
                <a:gd name="connsiteX0-245" fmla="*/ 7415 w 506000"/>
                <a:gd name="connsiteY0-246" fmla="*/ 1158240 h 1158240"/>
                <a:gd name="connsiteX1-247" fmla="*/ 2970 w 506000"/>
                <a:gd name="connsiteY1-248" fmla="*/ 680719 h 1158240"/>
                <a:gd name="connsiteX2-249" fmla="*/ 121398 w 506000"/>
                <a:gd name="connsiteY2-250" fmla="*/ 525780 h 1158240"/>
                <a:gd name="connsiteX3-251" fmla="*/ 482713 w 506000"/>
                <a:gd name="connsiteY3-252" fmla="*/ 473392 h 1158240"/>
                <a:gd name="connsiteX4-253" fmla="*/ 492238 w 506000"/>
                <a:gd name="connsiteY4-254" fmla="*/ 0 h 1158240"/>
                <a:gd name="connsiteX0-255" fmla="*/ 7415 w 517650"/>
                <a:gd name="connsiteY0-256" fmla="*/ 1158240 h 1158240"/>
                <a:gd name="connsiteX1-257" fmla="*/ 2970 w 517650"/>
                <a:gd name="connsiteY1-258" fmla="*/ 680719 h 1158240"/>
                <a:gd name="connsiteX2-259" fmla="*/ 121398 w 517650"/>
                <a:gd name="connsiteY2-260" fmla="*/ 525780 h 1158240"/>
                <a:gd name="connsiteX3-261" fmla="*/ 482713 w 517650"/>
                <a:gd name="connsiteY3-262" fmla="*/ 473392 h 1158240"/>
                <a:gd name="connsiteX4-263" fmla="*/ 504621 w 517650"/>
                <a:gd name="connsiteY4-264" fmla="*/ 350520 h 1158240"/>
                <a:gd name="connsiteX5" fmla="*/ 492238 w 517650"/>
                <a:gd name="connsiteY5" fmla="*/ 0 h 1158240"/>
                <a:gd name="connsiteX0-265" fmla="*/ 7415 w 506303"/>
                <a:gd name="connsiteY0-266" fmla="*/ 1158240 h 1158240"/>
                <a:gd name="connsiteX1-267" fmla="*/ 2970 w 506303"/>
                <a:gd name="connsiteY1-268" fmla="*/ 680719 h 1158240"/>
                <a:gd name="connsiteX2-269" fmla="*/ 121398 w 506303"/>
                <a:gd name="connsiteY2-270" fmla="*/ 525780 h 1158240"/>
                <a:gd name="connsiteX3-271" fmla="*/ 458901 w 506303"/>
                <a:gd name="connsiteY3-272" fmla="*/ 482917 h 1158240"/>
                <a:gd name="connsiteX4-273" fmla="*/ 504621 w 506303"/>
                <a:gd name="connsiteY4-274" fmla="*/ 350520 h 1158240"/>
                <a:gd name="connsiteX5-275" fmla="*/ 492238 w 506303"/>
                <a:gd name="connsiteY5-276" fmla="*/ 0 h 1158240"/>
                <a:gd name="connsiteX0-277" fmla="*/ 7415 w 504766"/>
                <a:gd name="connsiteY0-278" fmla="*/ 1158240 h 1158240"/>
                <a:gd name="connsiteX1-279" fmla="*/ 2970 w 504766"/>
                <a:gd name="connsiteY1-280" fmla="*/ 680719 h 1158240"/>
                <a:gd name="connsiteX2-281" fmla="*/ 121398 w 504766"/>
                <a:gd name="connsiteY2-282" fmla="*/ 525780 h 1158240"/>
                <a:gd name="connsiteX3-283" fmla="*/ 444613 w 504766"/>
                <a:gd name="connsiteY3-284" fmla="*/ 482917 h 1158240"/>
                <a:gd name="connsiteX4-285" fmla="*/ 504621 w 504766"/>
                <a:gd name="connsiteY4-286" fmla="*/ 350520 h 1158240"/>
                <a:gd name="connsiteX5-287" fmla="*/ 492238 w 504766"/>
                <a:gd name="connsiteY5-288" fmla="*/ 0 h 1158240"/>
                <a:gd name="connsiteX0-289" fmla="*/ 7415 w 507328"/>
                <a:gd name="connsiteY0-290" fmla="*/ 1163003 h 1163003"/>
                <a:gd name="connsiteX1-291" fmla="*/ 2970 w 507328"/>
                <a:gd name="connsiteY1-292" fmla="*/ 685482 h 1163003"/>
                <a:gd name="connsiteX2-293" fmla="*/ 121398 w 507328"/>
                <a:gd name="connsiteY2-294" fmla="*/ 530543 h 1163003"/>
                <a:gd name="connsiteX3-295" fmla="*/ 444613 w 507328"/>
                <a:gd name="connsiteY3-296" fmla="*/ 487680 h 1163003"/>
                <a:gd name="connsiteX4-297" fmla="*/ 504621 w 507328"/>
                <a:gd name="connsiteY4-298" fmla="*/ 355283 h 1163003"/>
                <a:gd name="connsiteX5-299" fmla="*/ 506525 w 507328"/>
                <a:gd name="connsiteY5-300" fmla="*/ 0 h 1163003"/>
                <a:gd name="connsiteX0-301" fmla="*/ 7415 w 507328"/>
                <a:gd name="connsiteY0-302" fmla="*/ 1163003 h 1163003"/>
                <a:gd name="connsiteX1-303" fmla="*/ 2970 w 507328"/>
                <a:gd name="connsiteY1-304" fmla="*/ 685482 h 1163003"/>
                <a:gd name="connsiteX2-305" fmla="*/ 121398 w 507328"/>
                <a:gd name="connsiteY2-306" fmla="*/ 530543 h 1163003"/>
                <a:gd name="connsiteX3-307" fmla="*/ 444613 w 507328"/>
                <a:gd name="connsiteY3-308" fmla="*/ 487680 h 1163003"/>
                <a:gd name="connsiteX4-309" fmla="*/ 504621 w 507328"/>
                <a:gd name="connsiteY4-310" fmla="*/ 355283 h 1163003"/>
                <a:gd name="connsiteX5-311" fmla="*/ 506525 w 507328"/>
                <a:gd name="connsiteY5-312" fmla="*/ 0 h 1163003"/>
                <a:gd name="connsiteX0-313" fmla="*/ 7415 w 507328"/>
                <a:gd name="connsiteY0-314" fmla="*/ 1163003 h 1163003"/>
                <a:gd name="connsiteX1-315" fmla="*/ 2970 w 507328"/>
                <a:gd name="connsiteY1-316" fmla="*/ 685482 h 1163003"/>
                <a:gd name="connsiteX2-317" fmla="*/ 121398 w 507328"/>
                <a:gd name="connsiteY2-318" fmla="*/ 530543 h 1163003"/>
                <a:gd name="connsiteX3-319" fmla="*/ 444613 w 507328"/>
                <a:gd name="connsiteY3-320" fmla="*/ 487680 h 1163003"/>
                <a:gd name="connsiteX4-321" fmla="*/ 504621 w 507328"/>
                <a:gd name="connsiteY4-322" fmla="*/ 355283 h 1163003"/>
                <a:gd name="connsiteX5-323" fmla="*/ 506525 w 507328"/>
                <a:gd name="connsiteY5-324" fmla="*/ 0 h 1163003"/>
                <a:gd name="connsiteX0-325" fmla="*/ 7415 w 507328"/>
                <a:gd name="connsiteY0-326" fmla="*/ 1163003 h 1163003"/>
                <a:gd name="connsiteX1-327" fmla="*/ 2970 w 507328"/>
                <a:gd name="connsiteY1-328" fmla="*/ 685482 h 1163003"/>
                <a:gd name="connsiteX2-329" fmla="*/ 121398 w 507328"/>
                <a:gd name="connsiteY2-330" fmla="*/ 530543 h 1163003"/>
                <a:gd name="connsiteX3-331" fmla="*/ 444613 w 507328"/>
                <a:gd name="connsiteY3-332" fmla="*/ 516255 h 1163003"/>
                <a:gd name="connsiteX4-333" fmla="*/ 504621 w 507328"/>
                <a:gd name="connsiteY4-334" fmla="*/ 355283 h 1163003"/>
                <a:gd name="connsiteX5-335" fmla="*/ 506525 w 507328"/>
                <a:gd name="connsiteY5-336" fmla="*/ 0 h 1163003"/>
                <a:gd name="connsiteX0-337" fmla="*/ 7415 w 507328"/>
                <a:gd name="connsiteY0-338" fmla="*/ 1163003 h 1163003"/>
                <a:gd name="connsiteX1-339" fmla="*/ 2970 w 507328"/>
                <a:gd name="connsiteY1-340" fmla="*/ 685482 h 1163003"/>
                <a:gd name="connsiteX2-341" fmla="*/ 121398 w 507328"/>
                <a:gd name="connsiteY2-342" fmla="*/ 530543 h 1163003"/>
                <a:gd name="connsiteX3-343" fmla="*/ 444613 w 507328"/>
                <a:gd name="connsiteY3-344" fmla="*/ 516255 h 1163003"/>
                <a:gd name="connsiteX4-345" fmla="*/ 504621 w 507328"/>
                <a:gd name="connsiteY4-346" fmla="*/ 355283 h 1163003"/>
                <a:gd name="connsiteX5-347" fmla="*/ 506525 w 507328"/>
                <a:gd name="connsiteY5-348" fmla="*/ 0 h 1163003"/>
                <a:gd name="connsiteX0-349" fmla="*/ 7415 w 507328"/>
                <a:gd name="connsiteY0-350" fmla="*/ 1163003 h 1163003"/>
                <a:gd name="connsiteX1-351" fmla="*/ 2970 w 507328"/>
                <a:gd name="connsiteY1-352" fmla="*/ 685482 h 1163003"/>
                <a:gd name="connsiteX2-353" fmla="*/ 121398 w 507328"/>
                <a:gd name="connsiteY2-354" fmla="*/ 530543 h 1163003"/>
                <a:gd name="connsiteX3-355" fmla="*/ 411275 w 507328"/>
                <a:gd name="connsiteY3-356" fmla="*/ 511492 h 1163003"/>
                <a:gd name="connsiteX4-357" fmla="*/ 504621 w 507328"/>
                <a:gd name="connsiteY4-358" fmla="*/ 355283 h 1163003"/>
                <a:gd name="connsiteX5-359" fmla="*/ 506525 w 507328"/>
                <a:gd name="connsiteY5-360" fmla="*/ 0 h 1163003"/>
                <a:gd name="connsiteX0-361" fmla="*/ 7415 w 507328"/>
                <a:gd name="connsiteY0-362" fmla="*/ 1163003 h 1163003"/>
                <a:gd name="connsiteX1-363" fmla="*/ 2970 w 507328"/>
                <a:gd name="connsiteY1-364" fmla="*/ 666432 h 1163003"/>
                <a:gd name="connsiteX2-365" fmla="*/ 121398 w 507328"/>
                <a:gd name="connsiteY2-366" fmla="*/ 530543 h 1163003"/>
                <a:gd name="connsiteX3-367" fmla="*/ 411275 w 507328"/>
                <a:gd name="connsiteY3-368" fmla="*/ 511492 h 1163003"/>
                <a:gd name="connsiteX4-369" fmla="*/ 504621 w 507328"/>
                <a:gd name="connsiteY4-370" fmla="*/ 355283 h 1163003"/>
                <a:gd name="connsiteX5-371" fmla="*/ 506525 w 507328"/>
                <a:gd name="connsiteY5-372" fmla="*/ 0 h 1163003"/>
                <a:gd name="connsiteX0-373" fmla="*/ 4679 w 504592"/>
                <a:gd name="connsiteY0-374" fmla="*/ 1163003 h 1163003"/>
                <a:gd name="connsiteX1-375" fmla="*/ 234 w 504592"/>
                <a:gd name="connsiteY1-376" fmla="*/ 666432 h 1163003"/>
                <a:gd name="connsiteX2-377" fmla="*/ 118662 w 504592"/>
                <a:gd name="connsiteY2-378" fmla="*/ 530543 h 1163003"/>
                <a:gd name="connsiteX3-379" fmla="*/ 408539 w 504592"/>
                <a:gd name="connsiteY3-380" fmla="*/ 511492 h 1163003"/>
                <a:gd name="connsiteX4-381" fmla="*/ 501885 w 504592"/>
                <a:gd name="connsiteY4-382" fmla="*/ 355283 h 1163003"/>
                <a:gd name="connsiteX5-383" fmla="*/ 503789 w 504592"/>
                <a:gd name="connsiteY5-384" fmla="*/ 0 h 1163003"/>
                <a:gd name="connsiteX0-385" fmla="*/ 4679 w 504592"/>
                <a:gd name="connsiteY0-386" fmla="*/ 1163003 h 1163003"/>
                <a:gd name="connsiteX1-387" fmla="*/ 234 w 504592"/>
                <a:gd name="connsiteY1-388" fmla="*/ 666432 h 1163003"/>
                <a:gd name="connsiteX2-389" fmla="*/ 118662 w 504592"/>
                <a:gd name="connsiteY2-390" fmla="*/ 530543 h 1163003"/>
                <a:gd name="connsiteX3-391" fmla="*/ 408539 w 504592"/>
                <a:gd name="connsiteY3-392" fmla="*/ 511492 h 1163003"/>
                <a:gd name="connsiteX4-393" fmla="*/ 501885 w 504592"/>
                <a:gd name="connsiteY4-394" fmla="*/ 355283 h 1163003"/>
                <a:gd name="connsiteX5-395" fmla="*/ 503789 w 504592"/>
                <a:gd name="connsiteY5-396" fmla="*/ 0 h 1163003"/>
                <a:gd name="connsiteX0-397" fmla="*/ 4679 w 504592"/>
                <a:gd name="connsiteY0-398" fmla="*/ 1163003 h 1163003"/>
                <a:gd name="connsiteX1-399" fmla="*/ 234 w 504592"/>
                <a:gd name="connsiteY1-400" fmla="*/ 666432 h 1163003"/>
                <a:gd name="connsiteX2-401" fmla="*/ 118662 w 504592"/>
                <a:gd name="connsiteY2-402" fmla="*/ 530543 h 1163003"/>
                <a:gd name="connsiteX3-403" fmla="*/ 408539 w 504592"/>
                <a:gd name="connsiteY3-404" fmla="*/ 511492 h 1163003"/>
                <a:gd name="connsiteX4-405" fmla="*/ 501885 w 504592"/>
                <a:gd name="connsiteY4-406" fmla="*/ 355283 h 1163003"/>
                <a:gd name="connsiteX5-407" fmla="*/ 503789 w 504592"/>
                <a:gd name="connsiteY5-408" fmla="*/ 0 h 1163003"/>
                <a:gd name="connsiteX0-409" fmla="*/ 4679 w 504592"/>
                <a:gd name="connsiteY0-410" fmla="*/ 1163003 h 1163003"/>
                <a:gd name="connsiteX1-411" fmla="*/ 234 w 504592"/>
                <a:gd name="connsiteY1-412" fmla="*/ 666432 h 1163003"/>
                <a:gd name="connsiteX2-413" fmla="*/ 118662 w 504592"/>
                <a:gd name="connsiteY2-414" fmla="*/ 530543 h 1163003"/>
                <a:gd name="connsiteX3-415" fmla="*/ 408539 w 504592"/>
                <a:gd name="connsiteY3-416" fmla="*/ 535305 h 1163003"/>
                <a:gd name="connsiteX4-417" fmla="*/ 501885 w 504592"/>
                <a:gd name="connsiteY4-418" fmla="*/ 355283 h 1163003"/>
                <a:gd name="connsiteX5-419" fmla="*/ 503789 w 504592"/>
                <a:gd name="connsiteY5-420" fmla="*/ 0 h 1163003"/>
                <a:gd name="connsiteX0-421" fmla="*/ 4679 w 504592"/>
                <a:gd name="connsiteY0-422" fmla="*/ 1163003 h 1163003"/>
                <a:gd name="connsiteX1-423" fmla="*/ 234 w 504592"/>
                <a:gd name="connsiteY1-424" fmla="*/ 666432 h 1163003"/>
                <a:gd name="connsiteX2-425" fmla="*/ 118662 w 504592"/>
                <a:gd name="connsiteY2-426" fmla="*/ 530543 h 1163003"/>
                <a:gd name="connsiteX3-427" fmla="*/ 403777 w 504592"/>
                <a:gd name="connsiteY3-428" fmla="*/ 525780 h 1163003"/>
                <a:gd name="connsiteX4-429" fmla="*/ 501885 w 504592"/>
                <a:gd name="connsiteY4-430" fmla="*/ 355283 h 1163003"/>
                <a:gd name="connsiteX5-431" fmla="*/ 503789 w 504592"/>
                <a:gd name="connsiteY5-432" fmla="*/ 0 h 1163003"/>
                <a:gd name="connsiteX0-433" fmla="*/ 4679 w 504592"/>
                <a:gd name="connsiteY0-434" fmla="*/ 1163003 h 1163003"/>
                <a:gd name="connsiteX1-435" fmla="*/ 234 w 504592"/>
                <a:gd name="connsiteY1-436" fmla="*/ 666432 h 1163003"/>
                <a:gd name="connsiteX2-437" fmla="*/ 118662 w 504592"/>
                <a:gd name="connsiteY2-438" fmla="*/ 530543 h 1163003"/>
                <a:gd name="connsiteX3-439" fmla="*/ 403777 w 504592"/>
                <a:gd name="connsiteY3-440" fmla="*/ 525780 h 1163003"/>
                <a:gd name="connsiteX4-441" fmla="*/ 501885 w 504592"/>
                <a:gd name="connsiteY4-442" fmla="*/ 355283 h 1163003"/>
                <a:gd name="connsiteX5-443" fmla="*/ 503789 w 504592"/>
                <a:gd name="connsiteY5-444" fmla="*/ 0 h 1163003"/>
                <a:gd name="connsiteX0-445" fmla="*/ 7177 w 507090"/>
                <a:gd name="connsiteY0-446" fmla="*/ 1163003 h 1163003"/>
                <a:gd name="connsiteX1-447" fmla="*/ 2732 w 507090"/>
                <a:gd name="connsiteY1-448" fmla="*/ 666432 h 1163003"/>
                <a:gd name="connsiteX2-449" fmla="*/ 121160 w 507090"/>
                <a:gd name="connsiteY2-450" fmla="*/ 530543 h 1163003"/>
                <a:gd name="connsiteX3-451" fmla="*/ 406275 w 507090"/>
                <a:gd name="connsiteY3-452" fmla="*/ 525780 h 1163003"/>
                <a:gd name="connsiteX4-453" fmla="*/ 504383 w 507090"/>
                <a:gd name="connsiteY4-454" fmla="*/ 355283 h 1163003"/>
                <a:gd name="connsiteX5-455" fmla="*/ 506287 w 507090"/>
                <a:gd name="connsiteY5-456" fmla="*/ 0 h 1163003"/>
                <a:gd name="connsiteX0-457" fmla="*/ 7177 w 507090"/>
                <a:gd name="connsiteY0-458" fmla="*/ 1163003 h 1163003"/>
                <a:gd name="connsiteX1-459" fmla="*/ 2732 w 507090"/>
                <a:gd name="connsiteY1-460" fmla="*/ 666432 h 1163003"/>
                <a:gd name="connsiteX2-461" fmla="*/ 121160 w 507090"/>
                <a:gd name="connsiteY2-462" fmla="*/ 530543 h 1163003"/>
                <a:gd name="connsiteX3-463" fmla="*/ 406275 w 507090"/>
                <a:gd name="connsiteY3-464" fmla="*/ 525780 h 1163003"/>
                <a:gd name="connsiteX4-465" fmla="*/ 504383 w 507090"/>
                <a:gd name="connsiteY4-466" fmla="*/ 355283 h 1163003"/>
                <a:gd name="connsiteX5-467" fmla="*/ 506287 w 507090"/>
                <a:gd name="connsiteY5-468" fmla="*/ 0 h 1163003"/>
                <a:gd name="connsiteX0-469" fmla="*/ 7177 w 507090"/>
                <a:gd name="connsiteY0-470" fmla="*/ 1163003 h 1163003"/>
                <a:gd name="connsiteX1-471" fmla="*/ 2732 w 507090"/>
                <a:gd name="connsiteY1-472" fmla="*/ 666432 h 1163003"/>
                <a:gd name="connsiteX2-473" fmla="*/ 121160 w 507090"/>
                <a:gd name="connsiteY2-474" fmla="*/ 530543 h 1163003"/>
                <a:gd name="connsiteX3-475" fmla="*/ 406275 w 507090"/>
                <a:gd name="connsiteY3-476" fmla="*/ 525780 h 1163003"/>
                <a:gd name="connsiteX4-477" fmla="*/ 504383 w 507090"/>
                <a:gd name="connsiteY4-478" fmla="*/ 355283 h 1163003"/>
                <a:gd name="connsiteX5-479" fmla="*/ 506287 w 507090"/>
                <a:gd name="connsiteY5-480" fmla="*/ 0 h 1163003"/>
                <a:gd name="connsiteX0-481" fmla="*/ 7177 w 507090"/>
                <a:gd name="connsiteY0-482" fmla="*/ 1163003 h 1163003"/>
                <a:gd name="connsiteX1-483" fmla="*/ 2732 w 507090"/>
                <a:gd name="connsiteY1-484" fmla="*/ 666432 h 1163003"/>
                <a:gd name="connsiteX2-485" fmla="*/ 121160 w 507090"/>
                <a:gd name="connsiteY2-486" fmla="*/ 530543 h 1163003"/>
                <a:gd name="connsiteX3-487" fmla="*/ 406275 w 507090"/>
                <a:gd name="connsiteY3-488" fmla="*/ 525780 h 1163003"/>
                <a:gd name="connsiteX4-489" fmla="*/ 504383 w 507090"/>
                <a:gd name="connsiteY4-490" fmla="*/ 355283 h 1163003"/>
                <a:gd name="connsiteX5-491" fmla="*/ 506287 w 507090"/>
                <a:gd name="connsiteY5-492" fmla="*/ 0 h 1163003"/>
                <a:gd name="connsiteX0-493" fmla="*/ 10856 w 515532"/>
                <a:gd name="connsiteY0-494" fmla="*/ 1048703 h 1048703"/>
                <a:gd name="connsiteX1-495" fmla="*/ 11174 w 515532"/>
                <a:gd name="connsiteY1-496" fmla="*/ 666432 h 1048703"/>
                <a:gd name="connsiteX2-497" fmla="*/ 129602 w 515532"/>
                <a:gd name="connsiteY2-498" fmla="*/ 530543 h 1048703"/>
                <a:gd name="connsiteX3-499" fmla="*/ 414717 w 515532"/>
                <a:gd name="connsiteY3-500" fmla="*/ 525780 h 1048703"/>
                <a:gd name="connsiteX4-501" fmla="*/ 512825 w 515532"/>
                <a:gd name="connsiteY4-502" fmla="*/ 355283 h 1048703"/>
                <a:gd name="connsiteX5-503" fmla="*/ 514729 w 515532"/>
                <a:gd name="connsiteY5-504" fmla="*/ 0 h 1048703"/>
                <a:gd name="connsiteX0-505" fmla="*/ 3023 w 507699"/>
                <a:gd name="connsiteY0-506" fmla="*/ 1048703 h 1048703"/>
                <a:gd name="connsiteX1-507" fmla="*/ 3341 w 507699"/>
                <a:gd name="connsiteY1-508" fmla="*/ 666432 h 1048703"/>
                <a:gd name="connsiteX2-509" fmla="*/ 121769 w 507699"/>
                <a:gd name="connsiteY2-510" fmla="*/ 530543 h 1048703"/>
                <a:gd name="connsiteX3-511" fmla="*/ 406884 w 507699"/>
                <a:gd name="connsiteY3-512" fmla="*/ 525780 h 1048703"/>
                <a:gd name="connsiteX4-513" fmla="*/ 504992 w 507699"/>
                <a:gd name="connsiteY4-514" fmla="*/ 355283 h 1048703"/>
                <a:gd name="connsiteX5-515" fmla="*/ 506896 w 507699"/>
                <a:gd name="connsiteY5-516" fmla="*/ 0 h 1048703"/>
                <a:gd name="connsiteX0-517" fmla="*/ 10856 w 515532"/>
                <a:gd name="connsiteY0-518" fmla="*/ 1048703 h 1048703"/>
                <a:gd name="connsiteX1-519" fmla="*/ 11174 w 515532"/>
                <a:gd name="connsiteY1-520" fmla="*/ 666432 h 1048703"/>
                <a:gd name="connsiteX2-521" fmla="*/ 129602 w 515532"/>
                <a:gd name="connsiteY2-522" fmla="*/ 530543 h 1048703"/>
                <a:gd name="connsiteX3-523" fmla="*/ 414717 w 515532"/>
                <a:gd name="connsiteY3-524" fmla="*/ 525780 h 1048703"/>
                <a:gd name="connsiteX4-525" fmla="*/ 512825 w 515532"/>
                <a:gd name="connsiteY4-526" fmla="*/ 355283 h 1048703"/>
                <a:gd name="connsiteX5-527" fmla="*/ 514729 w 515532"/>
                <a:gd name="connsiteY5-528" fmla="*/ 0 h 1048703"/>
                <a:gd name="connsiteX0-529" fmla="*/ 5191 w 509867"/>
                <a:gd name="connsiteY0-530" fmla="*/ 1048703 h 1048703"/>
                <a:gd name="connsiteX1-531" fmla="*/ 5509 w 509867"/>
                <a:gd name="connsiteY1-532" fmla="*/ 666432 h 1048703"/>
                <a:gd name="connsiteX2-533" fmla="*/ 123937 w 509867"/>
                <a:gd name="connsiteY2-534" fmla="*/ 530543 h 1048703"/>
                <a:gd name="connsiteX3-535" fmla="*/ 409052 w 509867"/>
                <a:gd name="connsiteY3-536" fmla="*/ 525780 h 1048703"/>
                <a:gd name="connsiteX4-537" fmla="*/ 507160 w 509867"/>
                <a:gd name="connsiteY4-538" fmla="*/ 355283 h 1048703"/>
                <a:gd name="connsiteX5-539" fmla="*/ 509064 w 509867"/>
                <a:gd name="connsiteY5-540" fmla="*/ 0 h 1048703"/>
                <a:gd name="connsiteX0-541" fmla="*/ 15252 w 512784"/>
                <a:gd name="connsiteY0-542" fmla="*/ 1043940 h 1043940"/>
                <a:gd name="connsiteX1-543" fmla="*/ 8426 w 512784"/>
                <a:gd name="connsiteY1-544" fmla="*/ 666432 h 1043940"/>
                <a:gd name="connsiteX2-545" fmla="*/ 126854 w 512784"/>
                <a:gd name="connsiteY2-546" fmla="*/ 530543 h 1043940"/>
                <a:gd name="connsiteX3-547" fmla="*/ 411969 w 512784"/>
                <a:gd name="connsiteY3-548" fmla="*/ 525780 h 1043940"/>
                <a:gd name="connsiteX4-549" fmla="*/ 510077 w 512784"/>
                <a:gd name="connsiteY4-550" fmla="*/ 355283 h 1043940"/>
                <a:gd name="connsiteX5-551" fmla="*/ 511981 w 512784"/>
                <a:gd name="connsiteY5-552" fmla="*/ 0 h 1043940"/>
                <a:gd name="connsiteX0-553" fmla="*/ 6948 w 504480"/>
                <a:gd name="connsiteY0-554" fmla="*/ 1043940 h 1043940"/>
                <a:gd name="connsiteX1-555" fmla="*/ 122 w 504480"/>
                <a:gd name="connsiteY1-556" fmla="*/ 666432 h 1043940"/>
                <a:gd name="connsiteX2-557" fmla="*/ 118550 w 504480"/>
                <a:gd name="connsiteY2-558" fmla="*/ 530543 h 1043940"/>
                <a:gd name="connsiteX3-559" fmla="*/ 403665 w 504480"/>
                <a:gd name="connsiteY3-560" fmla="*/ 525780 h 1043940"/>
                <a:gd name="connsiteX4-561" fmla="*/ 501773 w 504480"/>
                <a:gd name="connsiteY4-562" fmla="*/ 355283 h 1043940"/>
                <a:gd name="connsiteX5-563" fmla="*/ 503677 w 504480"/>
                <a:gd name="connsiteY5-564" fmla="*/ 0 h 1043940"/>
                <a:gd name="connsiteX0-565" fmla="*/ 6830 w 504362"/>
                <a:gd name="connsiteY0-566" fmla="*/ 1043940 h 1043940"/>
                <a:gd name="connsiteX1-567" fmla="*/ 4 w 504362"/>
                <a:gd name="connsiteY1-568" fmla="*/ 666432 h 1043940"/>
                <a:gd name="connsiteX2-569" fmla="*/ 118432 w 504362"/>
                <a:gd name="connsiteY2-570" fmla="*/ 530543 h 1043940"/>
                <a:gd name="connsiteX3-571" fmla="*/ 403547 w 504362"/>
                <a:gd name="connsiteY3-572" fmla="*/ 525780 h 1043940"/>
                <a:gd name="connsiteX4-573" fmla="*/ 501655 w 504362"/>
                <a:gd name="connsiteY4-574" fmla="*/ 355283 h 1043940"/>
                <a:gd name="connsiteX5-575" fmla="*/ 503559 w 504362"/>
                <a:gd name="connsiteY5-576" fmla="*/ 0 h 1043940"/>
                <a:gd name="connsiteX0-577" fmla="*/ 6871 w 504403"/>
                <a:gd name="connsiteY0-578" fmla="*/ 1043940 h 1043940"/>
                <a:gd name="connsiteX1-579" fmla="*/ 45 w 504403"/>
                <a:gd name="connsiteY1-580" fmla="*/ 666432 h 1043940"/>
                <a:gd name="connsiteX2-581" fmla="*/ 118473 w 504403"/>
                <a:gd name="connsiteY2-582" fmla="*/ 530543 h 1043940"/>
                <a:gd name="connsiteX3-583" fmla="*/ 403588 w 504403"/>
                <a:gd name="connsiteY3-584" fmla="*/ 525780 h 1043940"/>
                <a:gd name="connsiteX4-585" fmla="*/ 501696 w 504403"/>
                <a:gd name="connsiteY4-586" fmla="*/ 355283 h 1043940"/>
                <a:gd name="connsiteX5-587" fmla="*/ 503600 w 504403"/>
                <a:gd name="connsiteY5-588" fmla="*/ 0 h 1043940"/>
              </a:gdLst>
              <a:ahLst/>
              <a:cxnLst>
                <a:cxn ang="0">
                  <a:pos x="connsiteX0-1" y="connsiteY0-2"/>
                </a:cxn>
                <a:cxn ang="0">
                  <a:pos x="connsiteX1-3" y="connsiteY1-4"/>
                </a:cxn>
                <a:cxn ang="0">
                  <a:pos x="connsiteX2-5" y="connsiteY2-6"/>
                </a:cxn>
                <a:cxn ang="0">
                  <a:pos x="connsiteX3-7" y="connsiteY3-8"/>
                </a:cxn>
                <a:cxn ang="0">
                  <a:pos x="connsiteX4-33" y="connsiteY4-34"/>
                </a:cxn>
                <a:cxn ang="0">
                  <a:pos x="connsiteX5-275" y="connsiteY5-276"/>
                </a:cxn>
              </a:cxnLst>
              <a:rect l="l" t="t" r="r" b="b"/>
              <a:pathLst>
                <a:path w="504403" h="1043940">
                  <a:moveTo>
                    <a:pt x="6871" y="1043940"/>
                  </a:moveTo>
                  <a:cubicBezTo>
                    <a:pt x="-1807" y="623041"/>
                    <a:pt x="318" y="751999"/>
                    <a:pt x="45" y="666432"/>
                  </a:cubicBezTo>
                  <a:cubicBezTo>
                    <a:pt x="-416" y="521719"/>
                    <a:pt x="46453" y="534935"/>
                    <a:pt x="118473" y="530543"/>
                  </a:cubicBezTo>
                  <a:cubicBezTo>
                    <a:pt x="190493" y="526151"/>
                    <a:pt x="315905" y="526415"/>
                    <a:pt x="403588" y="525780"/>
                  </a:cubicBezTo>
                  <a:cubicBezTo>
                    <a:pt x="491271" y="525145"/>
                    <a:pt x="504870" y="496095"/>
                    <a:pt x="501696" y="355283"/>
                  </a:cubicBezTo>
                  <a:cubicBezTo>
                    <a:pt x="503284" y="276384"/>
                    <a:pt x="505664" y="58420"/>
                    <a:pt x="503600" y="0"/>
                  </a:cubicBezTo>
                </a:path>
              </a:pathLst>
            </a:cu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grpSp>
      <p:grpSp>
        <p:nvGrpSpPr>
          <p:cNvPr id="87" name="组合 86"/>
          <p:cNvGrpSpPr/>
          <p:nvPr/>
        </p:nvGrpSpPr>
        <p:grpSpPr>
          <a:xfrm>
            <a:off x="8471470" y="3429000"/>
            <a:ext cx="624298" cy="1290630"/>
            <a:chOff x="8471470" y="3429000"/>
            <a:chExt cx="624298" cy="1290630"/>
          </a:xfrm>
        </p:grpSpPr>
        <p:sp>
          <p:nvSpPr>
            <p:cNvPr id="43" name="椭圆 42"/>
            <p:cNvSpPr/>
            <p:nvPr/>
          </p:nvSpPr>
          <p:spPr>
            <a:xfrm>
              <a:off x="8471470" y="3429000"/>
              <a:ext cx="216024" cy="216024"/>
            </a:xfrm>
            <a:prstGeom prst="ellipse">
              <a:avLst/>
            </a:prstGeom>
            <a:solidFill>
              <a:schemeClr val="bg1"/>
            </a:solidFill>
            <a:ln w="76200">
              <a:solidFill>
                <a:srgbClr val="47A7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0" name="任意多边形 59"/>
            <p:cNvSpPr/>
            <p:nvPr/>
          </p:nvSpPr>
          <p:spPr>
            <a:xfrm flipV="1">
              <a:off x="8591365" y="3675690"/>
              <a:ext cx="504403" cy="1043940"/>
            </a:xfrm>
            <a:custGeom>
              <a:avLst/>
              <a:gdLst>
                <a:gd name="connsiteX0" fmla="*/ 36741 w 535207"/>
                <a:gd name="connsiteY0" fmla="*/ 1158240 h 1158240"/>
                <a:gd name="connsiteX1" fmla="*/ 44361 w 535207"/>
                <a:gd name="connsiteY1" fmla="*/ 525780 h 1158240"/>
                <a:gd name="connsiteX2" fmla="*/ 478701 w 535207"/>
                <a:gd name="connsiteY2" fmla="*/ 449580 h 1158240"/>
                <a:gd name="connsiteX3" fmla="*/ 516801 w 535207"/>
                <a:gd name="connsiteY3" fmla="*/ 0 h 1158240"/>
                <a:gd name="connsiteX0-1" fmla="*/ 15927 w 511653"/>
                <a:gd name="connsiteY0-2" fmla="*/ 1158240 h 1158240"/>
                <a:gd name="connsiteX1-3" fmla="*/ 74347 w 511653"/>
                <a:gd name="connsiteY1-4" fmla="*/ 525780 h 1158240"/>
                <a:gd name="connsiteX2-5" fmla="*/ 457887 w 511653"/>
                <a:gd name="connsiteY2-6" fmla="*/ 449580 h 1158240"/>
                <a:gd name="connsiteX3-7" fmla="*/ 495987 w 511653"/>
                <a:gd name="connsiteY3-8" fmla="*/ 0 h 1158240"/>
                <a:gd name="connsiteX0-9" fmla="*/ 15927 w 511653"/>
                <a:gd name="connsiteY0-10" fmla="*/ 1158240 h 1158240"/>
                <a:gd name="connsiteX1-11" fmla="*/ 74347 w 511653"/>
                <a:gd name="connsiteY1-12" fmla="*/ 525780 h 1158240"/>
                <a:gd name="connsiteX2-13" fmla="*/ 457887 w 511653"/>
                <a:gd name="connsiteY2-14" fmla="*/ 449580 h 1158240"/>
                <a:gd name="connsiteX3-15" fmla="*/ 495987 w 511653"/>
                <a:gd name="connsiteY3-16" fmla="*/ 0 h 1158240"/>
                <a:gd name="connsiteX0-17" fmla="*/ 796 w 496522"/>
                <a:gd name="connsiteY0-18" fmla="*/ 1158240 h 1158240"/>
                <a:gd name="connsiteX1-19" fmla="*/ 5876 w 496522"/>
                <a:gd name="connsiteY1-20" fmla="*/ 661670 h 1158240"/>
                <a:gd name="connsiteX2-21" fmla="*/ 59216 w 496522"/>
                <a:gd name="connsiteY2-22" fmla="*/ 525780 h 1158240"/>
                <a:gd name="connsiteX3-23" fmla="*/ 442756 w 496522"/>
                <a:gd name="connsiteY3-24" fmla="*/ 449580 h 1158240"/>
                <a:gd name="connsiteX4" fmla="*/ 480856 w 496522"/>
                <a:gd name="connsiteY4" fmla="*/ 0 h 1158240"/>
                <a:gd name="connsiteX0-25" fmla="*/ 796 w 496522"/>
                <a:gd name="connsiteY0-26" fmla="*/ 1158240 h 1158240"/>
                <a:gd name="connsiteX1-27" fmla="*/ 5876 w 496522"/>
                <a:gd name="connsiteY1-28" fmla="*/ 661670 h 1158240"/>
                <a:gd name="connsiteX2-29" fmla="*/ 59216 w 496522"/>
                <a:gd name="connsiteY2-30" fmla="*/ 525780 h 1158240"/>
                <a:gd name="connsiteX3-31" fmla="*/ 442756 w 496522"/>
                <a:gd name="connsiteY3-32" fmla="*/ 449580 h 1158240"/>
                <a:gd name="connsiteX4-33" fmla="*/ 480856 w 496522"/>
                <a:gd name="connsiteY4-34" fmla="*/ 0 h 1158240"/>
                <a:gd name="connsiteX0-35" fmla="*/ 4327 w 497573"/>
                <a:gd name="connsiteY0-36" fmla="*/ 1158240 h 1158240"/>
                <a:gd name="connsiteX1-37" fmla="*/ 9407 w 497573"/>
                <a:gd name="connsiteY1-38" fmla="*/ 661670 h 1158240"/>
                <a:gd name="connsiteX2-39" fmla="*/ 113547 w 497573"/>
                <a:gd name="connsiteY2-40" fmla="*/ 525780 h 1158240"/>
                <a:gd name="connsiteX3-41" fmla="*/ 446287 w 497573"/>
                <a:gd name="connsiteY3-42" fmla="*/ 449580 h 1158240"/>
                <a:gd name="connsiteX4-43" fmla="*/ 484387 w 497573"/>
                <a:gd name="connsiteY4-44" fmla="*/ 0 h 1158240"/>
                <a:gd name="connsiteX0-45" fmla="*/ 4327 w 497573"/>
                <a:gd name="connsiteY0-46" fmla="*/ 1158240 h 1158240"/>
                <a:gd name="connsiteX1-47" fmla="*/ 9407 w 497573"/>
                <a:gd name="connsiteY1-48" fmla="*/ 661670 h 1158240"/>
                <a:gd name="connsiteX2-49" fmla="*/ 113547 w 497573"/>
                <a:gd name="connsiteY2-50" fmla="*/ 525780 h 1158240"/>
                <a:gd name="connsiteX3-51" fmla="*/ 446287 w 497573"/>
                <a:gd name="connsiteY3-52" fmla="*/ 449580 h 1158240"/>
                <a:gd name="connsiteX4-53" fmla="*/ 484387 w 497573"/>
                <a:gd name="connsiteY4-54" fmla="*/ 0 h 1158240"/>
                <a:gd name="connsiteX0-55" fmla="*/ 4327 w 497573"/>
                <a:gd name="connsiteY0-56" fmla="*/ 1158240 h 1158240"/>
                <a:gd name="connsiteX1-57" fmla="*/ 9407 w 497573"/>
                <a:gd name="connsiteY1-58" fmla="*/ 661670 h 1158240"/>
                <a:gd name="connsiteX2-59" fmla="*/ 113547 w 497573"/>
                <a:gd name="connsiteY2-60" fmla="*/ 525780 h 1158240"/>
                <a:gd name="connsiteX3-61" fmla="*/ 446287 w 497573"/>
                <a:gd name="connsiteY3-62" fmla="*/ 449580 h 1158240"/>
                <a:gd name="connsiteX4-63" fmla="*/ 484387 w 497573"/>
                <a:gd name="connsiteY4-64" fmla="*/ 0 h 1158240"/>
                <a:gd name="connsiteX0-65" fmla="*/ 4327 w 497573"/>
                <a:gd name="connsiteY0-66" fmla="*/ 1158240 h 1158240"/>
                <a:gd name="connsiteX1-67" fmla="*/ 9407 w 497573"/>
                <a:gd name="connsiteY1-68" fmla="*/ 661670 h 1158240"/>
                <a:gd name="connsiteX2-69" fmla="*/ 113547 w 497573"/>
                <a:gd name="connsiteY2-70" fmla="*/ 525780 h 1158240"/>
                <a:gd name="connsiteX3-71" fmla="*/ 446287 w 497573"/>
                <a:gd name="connsiteY3-72" fmla="*/ 449580 h 1158240"/>
                <a:gd name="connsiteX4-73" fmla="*/ 484387 w 497573"/>
                <a:gd name="connsiteY4-74" fmla="*/ 0 h 1158240"/>
                <a:gd name="connsiteX0-75" fmla="*/ 4327 w 497573"/>
                <a:gd name="connsiteY0-76" fmla="*/ 1158240 h 1158240"/>
                <a:gd name="connsiteX1-77" fmla="*/ 9407 w 497573"/>
                <a:gd name="connsiteY1-78" fmla="*/ 661670 h 1158240"/>
                <a:gd name="connsiteX2-79" fmla="*/ 113547 w 497573"/>
                <a:gd name="connsiteY2-80" fmla="*/ 525780 h 1158240"/>
                <a:gd name="connsiteX3-81" fmla="*/ 446287 w 497573"/>
                <a:gd name="connsiteY3-82" fmla="*/ 449580 h 1158240"/>
                <a:gd name="connsiteX4-83" fmla="*/ 484387 w 497573"/>
                <a:gd name="connsiteY4-84" fmla="*/ 0 h 1158240"/>
                <a:gd name="connsiteX0-85" fmla="*/ 4327 w 497573"/>
                <a:gd name="connsiteY0-86" fmla="*/ 1158240 h 1158240"/>
                <a:gd name="connsiteX1-87" fmla="*/ 9407 w 497573"/>
                <a:gd name="connsiteY1-88" fmla="*/ 661670 h 1158240"/>
                <a:gd name="connsiteX2-89" fmla="*/ 113547 w 497573"/>
                <a:gd name="connsiteY2-90" fmla="*/ 525780 h 1158240"/>
                <a:gd name="connsiteX3-91" fmla="*/ 446287 w 497573"/>
                <a:gd name="connsiteY3-92" fmla="*/ 449580 h 1158240"/>
                <a:gd name="connsiteX4-93" fmla="*/ 484387 w 497573"/>
                <a:gd name="connsiteY4-94" fmla="*/ 0 h 1158240"/>
                <a:gd name="connsiteX0-95" fmla="*/ 1638 w 494884"/>
                <a:gd name="connsiteY0-96" fmla="*/ 1158240 h 1158240"/>
                <a:gd name="connsiteX1-97" fmla="*/ 6718 w 494884"/>
                <a:gd name="connsiteY1-98" fmla="*/ 661670 h 1158240"/>
                <a:gd name="connsiteX2-99" fmla="*/ 110858 w 494884"/>
                <a:gd name="connsiteY2-100" fmla="*/ 525780 h 1158240"/>
                <a:gd name="connsiteX3-101" fmla="*/ 443598 w 494884"/>
                <a:gd name="connsiteY3-102" fmla="*/ 449580 h 1158240"/>
                <a:gd name="connsiteX4-103" fmla="*/ 481698 w 494884"/>
                <a:gd name="connsiteY4-104" fmla="*/ 0 h 1158240"/>
                <a:gd name="connsiteX0-105" fmla="*/ 17011 w 510257"/>
                <a:gd name="connsiteY0-106" fmla="*/ 1158240 h 1158240"/>
                <a:gd name="connsiteX1-107" fmla="*/ 3041 w 510257"/>
                <a:gd name="connsiteY1-108" fmla="*/ 675957 h 1158240"/>
                <a:gd name="connsiteX2-109" fmla="*/ 126231 w 510257"/>
                <a:gd name="connsiteY2-110" fmla="*/ 525780 h 1158240"/>
                <a:gd name="connsiteX3-111" fmla="*/ 458971 w 510257"/>
                <a:gd name="connsiteY3-112" fmla="*/ 449580 h 1158240"/>
                <a:gd name="connsiteX4-113" fmla="*/ 497071 w 510257"/>
                <a:gd name="connsiteY4-114" fmla="*/ 0 h 1158240"/>
                <a:gd name="connsiteX0-115" fmla="*/ 15386 w 508632"/>
                <a:gd name="connsiteY0-116" fmla="*/ 1158240 h 1158240"/>
                <a:gd name="connsiteX1-117" fmla="*/ 1416 w 508632"/>
                <a:gd name="connsiteY1-118" fmla="*/ 675957 h 1158240"/>
                <a:gd name="connsiteX2-119" fmla="*/ 124606 w 508632"/>
                <a:gd name="connsiteY2-120" fmla="*/ 525780 h 1158240"/>
                <a:gd name="connsiteX3-121" fmla="*/ 457346 w 508632"/>
                <a:gd name="connsiteY3-122" fmla="*/ 449580 h 1158240"/>
                <a:gd name="connsiteX4-123" fmla="*/ 495446 w 508632"/>
                <a:gd name="connsiteY4-124" fmla="*/ 0 h 1158240"/>
                <a:gd name="connsiteX0-125" fmla="*/ 15386 w 508632"/>
                <a:gd name="connsiteY0-126" fmla="*/ 1158240 h 1158240"/>
                <a:gd name="connsiteX1-127" fmla="*/ 1416 w 508632"/>
                <a:gd name="connsiteY1-128" fmla="*/ 675957 h 1158240"/>
                <a:gd name="connsiteX2-129" fmla="*/ 124606 w 508632"/>
                <a:gd name="connsiteY2-130" fmla="*/ 525780 h 1158240"/>
                <a:gd name="connsiteX3-131" fmla="*/ 457346 w 508632"/>
                <a:gd name="connsiteY3-132" fmla="*/ 449580 h 1158240"/>
                <a:gd name="connsiteX4-133" fmla="*/ 495446 w 508632"/>
                <a:gd name="connsiteY4-134" fmla="*/ 0 h 1158240"/>
                <a:gd name="connsiteX0-135" fmla="*/ 15386 w 508632"/>
                <a:gd name="connsiteY0-136" fmla="*/ 1158240 h 1158240"/>
                <a:gd name="connsiteX1-137" fmla="*/ 1416 w 508632"/>
                <a:gd name="connsiteY1-138" fmla="*/ 675957 h 1158240"/>
                <a:gd name="connsiteX2-139" fmla="*/ 124606 w 508632"/>
                <a:gd name="connsiteY2-140" fmla="*/ 525780 h 1158240"/>
                <a:gd name="connsiteX3-141" fmla="*/ 457346 w 508632"/>
                <a:gd name="connsiteY3-142" fmla="*/ 449580 h 1158240"/>
                <a:gd name="connsiteX4-143" fmla="*/ 495446 w 508632"/>
                <a:gd name="connsiteY4-144" fmla="*/ 0 h 1158240"/>
                <a:gd name="connsiteX0-145" fmla="*/ 15664 w 513673"/>
                <a:gd name="connsiteY0-146" fmla="*/ 1158240 h 1158240"/>
                <a:gd name="connsiteX1-147" fmla="*/ 6457 w 513673"/>
                <a:gd name="connsiteY1-148" fmla="*/ 675957 h 1158240"/>
                <a:gd name="connsiteX2-149" fmla="*/ 129647 w 513673"/>
                <a:gd name="connsiteY2-150" fmla="*/ 525780 h 1158240"/>
                <a:gd name="connsiteX3-151" fmla="*/ 462387 w 513673"/>
                <a:gd name="connsiteY3-152" fmla="*/ 449580 h 1158240"/>
                <a:gd name="connsiteX4-153" fmla="*/ 500487 w 513673"/>
                <a:gd name="connsiteY4-154" fmla="*/ 0 h 1158240"/>
                <a:gd name="connsiteX0-155" fmla="*/ 17239 w 515248"/>
                <a:gd name="connsiteY0-156" fmla="*/ 1158240 h 1158240"/>
                <a:gd name="connsiteX1-157" fmla="*/ 8032 w 515248"/>
                <a:gd name="connsiteY1-158" fmla="*/ 675957 h 1158240"/>
                <a:gd name="connsiteX2-159" fmla="*/ 131222 w 515248"/>
                <a:gd name="connsiteY2-160" fmla="*/ 525780 h 1158240"/>
                <a:gd name="connsiteX3-161" fmla="*/ 463962 w 515248"/>
                <a:gd name="connsiteY3-162" fmla="*/ 449580 h 1158240"/>
                <a:gd name="connsiteX4-163" fmla="*/ 502062 w 515248"/>
                <a:gd name="connsiteY4-164" fmla="*/ 0 h 1158240"/>
                <a:gd name="connsiteX0-165" fmla="*/ 17239 w 515248"/>
                <a:gd name="connsiteY0-166" fmla="*/ 1158240 h 1158240"/>
                <a:gd name="connsiteX1-167" fmla="*/ 8032 w 515248"/>
                <a:gd name="connsiteY1-168" fmla="*/ 675957 h 1158240"/>
                <a:gd name="connsiteX2-169" fmla="*/ 131222 w 515248"/>
                <a:gd name="connsiteY2-170" fmla="*/ 525780 h 1158240"/>
                <a:gd name="connsiteX3-171" fmla="*/ 463962 w 515248"/>
                <a:gd name="connsiteY3-172" fmla="*/ 449580 h 1158240"/>
                <a:gd name="connsiteX4-173" fmla="*/ 502062 w 515248"/>
                <a:gd name="connsiteY4-174" fmla="*/ 0 h 1158240"/>
                <a:gd name="connsiteX0-175" fmla="*/ 10978 w 508987"/>
                <a:gd name="connsiteY0-176" fmla="*/ 1158240 h 1158240"/>
                <a:gd name="connsiteX1-177" fmla="*/ 1771 w 508987"/>
                <a:gd name="connsiteY1-178" fmla="*/ 675957 h 1158240"/>
                <a:gd name="connsiteX2-179" fmla="*/ 124961 w 508987"/>
                <a:gd name="connsiteY2-180" fmla="*/ 525780 h 1158240"/>
                <a:gd name="connsiteX3-181" fmla="*/ 457701 w 508987"/>
                <a:gd name="connsiteY3-182" fmla="*/ 449580 h 1158240"/>
                <a:gd name="connsiteX4-183" fmla="*/ 495801 w 508987"/>
                <a:gd name="connsiteY4-184" fmla="*/ 0 h 1158240"/>
                <a:gd name="connsiteX0-185" fmla="*/ 3620 w 501629"/>
                <a:gd name="connsiteY0-186" fmla="*/ 1158240 h 1158240"/>
                <a:gd name="connsiteX1-187" fmla="*/ 8700 w 501629"/>
                <a:gd name="connsiteY1-188" fmla="*/ 675957 h 1158240"/>
                <a:gd name="connsiteX2-189" fmla="*/ 117603 w 501629"/>
                <a:gd name="connsiteY2-190" fmla="*/ 525780 h 1158240"/>
                <a:gd name="connsiteX3-191" fmla="*/ 450343 w 501629"/>
                <a:gd name="connsiteY3-192" fmla="*/ 449580 h 1158240"/>
                <a:gd name="connsiteX4-193" fmla="*/ 488443 w 501629"/>
                <a:gd name="connsiteY4-194" fmla="*/ 0 h 1158240"/>
                <a:gd name="connsiteX0-195" fmla="*/ 7415 w 505424"/>
                <a:gd name="connsiteY0-196" fmla="*/ 1158240 h 1158240"/>
                <a:gd name="connsiteX1-197" fmla="*/ 2970 w 505424"/>
                <a:gd name="connsiteY1-198" fmla="*/ 680719 h 1158240"/>
                <a:gd name="connsiteX2-199" fmla="*/ 121398 w 505424"/>
                <a:gd name="connsiteY2-200" fmla="*/ 525780 h 1158240"/>
                <a:gd name="connsiteX3-201" fmla="*/ 454138 w 505424"/>
                <a:gd name="connsiteY3-202" fmla="*/ 449580 h 1158240"/>
                <a:gd name="connsiteX4-203" fmla="*/ 492238 w 505424"/>
                <a:gd name="connsiteY4-204" fmla="*/ 0 h 1158240"/>
                <a:gd name="connsiteX0-205" fmla="*/ 7415 w 505424"/>
                <a:gd name="connsiteY0-206" fmla="*/ 1158240 h 1158240"/>
                <a:gd name="connsiteX1-207" fmla="*/ 2970 w 505424"/>
                <a:gd name="connsiteY1-208" fmla="*/ 680719 h 1158240"/>
                <a:gd name="connsiteX2-209" fmla="*/ 121398 w 505424"/>
                <a:gd name="connsiteY2-210" fmla="*/ 525780 h 1158240"/>
                <a:gd name="connsiteX3-211" fmla="*/ 454138 w 505424"/>
                <a:gd name="connsiteY3-212" fmla="*/ 449580 h 1158240"/>
                <a:gd name="connsiteX4-213" fmla="*/ 492238 w 505424"/>
                <a:gd name="connsiteY4-214" fmla="*/ 0 h 1158240"/>
                <a:gd name="connsiteX0-215" fmla="*/ 7415 w 518817"/>
                <a:gd name="connsiteY0-216" fmla="*/ 1158240 h 1158240"/>
                <a:gd name="connsiteX1-217" fmla="*/ 2970 w 518817"/>
                <a:gd name="connsiteY1-218" fmla="*/ 680719 h 1158240"/>
                <a:gd name="connsiteX2-219" fmla="*/ 121398 w 518817"/>
                <a:gd name="connsiteY2-220" fmla="*/ 525780 h 1158240"/>
                <a:gd name="connsiteX3-221" fmla="*/ 482713 w 518817"/>
                <a:gd name="connsiteY3-222" fmla="*/ 487680 h 1158240"/>
                <a:gd name="connsiteX4-223" fmla="*/ 492238 w 518817"/>
                <a:gd name="connsiteY4-224" fmla="*/ 0 h 1158240"/>
                <a:gd name="connsiteX0-225" fmla="*/ 7415 w 518817"/>
                <a:gd name="connsiteY0-226" fmla="*/ 1158240 h 1158240"/>
                <a:gd name="connsiteX1-227" fmla="*/ 2970 w 518817"/>
                <a:gd name="connsiteY1-228" fmla="*/ 680719 h 1158240"/>
                <a:gd name="connsiteX2-229" fmla="*/ 121398 w 518817"/>
                <a:gd name="connsiteY2-230" fmla="*/ 525780 h 1158240"/>
                <a:gd name="connsiteX3-231" fmla="*/ 482713 w 518817"/>
                <a:gd name="connsiteY3-232" fmla="*/ 473392 h 1158240"/>
                <a:gd name="connsiteX4-233" fmla="*/ 492238 w 518817"/>
                <a:gd name="connsiteY4-234" fmla="*/ 0 h 1158240"/>
                <a:gd name="connsiteX0-235" fmla="*/ 7415 w 513005"/>
                <a:gd name="connsiteY0-236" fmla="*/ 1158240 h 1158240"/>
                <a:gd name="connsiteX1-237" fmla="*/ 2970 w 513005"/>
                <a:gd name="connsiteY1-238" fmla="*/ 680719 h 1158240"/>
                <a:gd name="connsiteX2-239" fmla="*/ 121398 w 513005"/>
                <a:gd name="connsiteY2-240" fmla="*/ 525780 h 1158240"/>
                <a:gd name="connsiteX3-241" fmla="*/ 482713 w 513005"/>
                <a:gd name="connsiteY3-242" fmla="*/ 473392 h 1158240"/>
                <a:gd name="connsiteX4-243" fmla="*/ 492238 w 513005"/>
                <a:gd name="connsiteY4-244" fmla="*/ 0 h 1158240"/>
                <a:gd name="connsiteX0-245" fmla="*/ 7415 w 506000"/>
                <a:gd name="connsiteY0-246" fmla="*/ 1158240 h 1158240"/>
                <a:gd name="connsiteX1-247" fmla="*/ 2970 w 506000"/>
                <a:gd name="connsiteY1-248" fmla="*/ 680719 h 1158240"/>
                <a:gd name="connsiteX2-249" fmla="*/ 121398 w 506000"/>
                <a:gd name="connsiteY2-250" fmla="*/ 525780 h 1158240"/>
                <a:gd name="connsiteX3-251" fmla="*/ 482713 w 506000"/>
                <a:gd name="connsiteY3-252" fmla="*/ 473392 h 1158240"/>
                <a:gd name="connsiteX4-253" fmla="*/ 492238 w 506000"/>
                <a:gd name="connsiteY4-254" fmla="*/ 0 h 1158240"/>
                <a:gd name="connsiteX0-255" fmla="*/ 7415 w 517650"/>
                <a:gd name="connsiteY0-256" fmla="*/ 1158240 h 1158240"/>
                <a:gd name="connsiteX1-257" fmla="*/ 2970 w 517650"/>
                <a:gd name="connsiteY1-258" fmla="*/ 680719 h 1158240"/>
                <a:gd name="connsiteX2-259" fmla="*/ 121398 w 517650"/>
                <a:gd name="connsiteY2-260" fmla="*/ 525780 h 1158240"/>
                <a:gd name="connsiteX3-261" fmla="*/ 482713 w 517650"/>
                <a:gd name="connsiteY3-262" fmla="*/ 473392 h 1158240"/>
                <a:gd name="connsiteX4-263" fmla="*/ 504621 w 517650"/>
                <a:gd name="connsiteY4-264" fmla="*/ 350520 h 1158240"/>
                <a:gd name="connsiteX5" fmla="*/ 492238 w 517650"/>
                <a:gd name="connsiteY5" fmla="*/ 0 h 1158240"/>
                <a:gd name="connsiteX0-265" fmla="*/ 7415 w 506303"/>
                <a:gd name="connsiteY0-266" fmla="*/ 1158240 h 1158240"/>
                <a:gd name="connsiteX1-267" fmla="*/ 2970 w 506303"/>
                <a:gd name="connsiteY1-268" fmla="*/ 680719 h 1158240"/>
                <a:gd name="connsiteX2-269" fmla="*/ 121398 w 506303"/>
                <a:gd name="connsiteY2-270" fmla="*/ 525780 h 1158240"/>
                <a:gd name="connsiteX3-271" fmla="*/ 458901 w 506303"/>
                <a:gd name="connsiteY3-272" fmla="*/ 482917 h 1158240"/>
                <a:gd name="connsiteX4-273" fmla="*/ 504621 w 506303"/>
                <a:gd name="connsiteY4-274" fmla="*/ 350520 h 1158240"/>
                <a:gd name="connsiteX5-275" fmla="*/ 492238 w 506303"/>
                <a:gd name="connsiteY5-276" fmla="*/ 0 h 1158240"/>
                <a:gd name="connsiteX0-277" fmla="*/ 7415 w 504766"/>
                <a:gd name="connsiteY0-278" fmla="*/ 1158240 h 1158240"/>
                <a:gd name="connsiteX1-279" fmla="*/ 2970 w 504766"/>
                <a:gd name="connsiteY1-280" fmla="*/ 680719 h 1158240"/>
                <a:gd name="connsiteX2-281" fmla="*/ 121398 w 504766"/>
                <a:gd name="connsiteY2-282" fmla="*/ 525780 h 1158240"/>
                <a:gd name="connsiteX3-283" fmla="*/ 444613 w 504766"/>
                <a:gd name="connsiteY3-284" fmla="*/ 482917 h 1158240"/>
                <a:gd name="connsiteX4-285" fmla="*/ 504621 w 504766"/>
                <a:gd name="connsiteY4-286" fmla="*/ 350520 h 1158240"/>
                <a:gd name="connsiteX5-287" fmla="*/ 492238 w 504766"/>
                <a:gd name="connsiteY5-288" fmla="*/ 0 h 1158240"/>
                <a:gd name="connsiteX0-289" fmla="*/ 7415 w 507328"/>
                <a:gd name="connsiteY0-290" fmla="*/ 1163003 h 1163003"/>
                <a:gd name="connsiteX1-291" fmla="*/ 2970 w 507328"/>
                <a:gd name="connsiteY1-292" fmla="*/ 685482 h 1163003"/>
                <a:gd name="connsiteX2-293" fmla="*/ 121398 w 507328"/>
                <a:gd name="connsiteY2-294" fmla="*/ 530543 h 1163003"/>
                <a:gd name="connsiteX3-295" fmla="*/ 444613 w 507328"/>
                <a:gd name="connsiteY3-296" fmla="*/ 487680 h 1163003"/>
                <a:gd name="connsiteX4-297" fmla="*/ 504621 w 507328"/>
                <a:gd name="connsiteY4-298" fmla="*/ 355283 h 1163003"/>
                <a:gd name="connsiteX5-299" fmla="*/ 506525 w 507328"/>
                <a:gd name="connsiteY5-300" fmla="*/ 0 h 1163003"/>
                <a:gd name="connsiteX0-301" fmla="*/ 7415 w 507328"/>
                <a:gd name="connsiteY0-302" fmla="*/ 1163003 h 1163003"/>
                <a:gd name="connsiteX1-303" fmla="*/ 2970 w 507328"/>
                <a:gd name="connsiteY1-304" fmla="*/ 685482 h 1163003"/>
                <a:gd name="connsiteX2-305" fmla="*/ 121398 w 507328"/>
                <a:gd name="connsiteY2-306" fmla="*/ 530543 h 1163003"/>
                <a:gd name="connsiteX3-307" fmla="*/ 444613 w 507328"/>
                <a:gd name="connsiteY3-308" fmla="*/ 487680 h 1163003"/>
                <a:gd name="connsiteX4-309" fmla="*/ 504621 w 507328"/>
                <a:gd name="connsiteY4-310" fmla="*/ 355283 h 1163003"/>
                <a:gd name="connsiteX5-311" fmla="*/ 506525 w 507328"/>
                <a:gd name="connsiteY5-312" fmla="*/ 0 h 1163003"/>
                <a:gd name="connsiteX0-313" fmla="*/ 7415 w 507328"/>
                <a:gd name="connsiteY0-314" fmla="*/ 1163003 h 1163003"/>
                <a:gd name="connsiteX1-315" fmla="*/ 2970 w 507328"/>
                <a:gd name="connsiteY1-316" fmla="*/ 685482 h 1163003"/>
                <a:gd name="connsiteX2-317" fmla="*/ 121398 w 507328"/>
                <a:gd name="connsiteY2-318" fmla="*/ 530543 h 1163003"/>
                <a:gd name="connsiteX3-319" fmla="*/ 444613 w 507328"/>
                <a:gd name="connsiteY3-320" fmla="*/ 487680 h 1163003"/>
                <a:gd name="connsiteX4-321" fmla="*/ 504621 w 507328"/>
                <a:gd name="connsiteY4-322" fmla="*/ 355283 h 1163003"/>
                <a:gd name="connsiteX5-323" fmla="*/ 506525 w 507328"/>
                <a:gd name="connsiteY5-324" fmla="*/ 0 h 1163003"/>
                <a:gd name="connsiteX0-325" fmla="*/ 7415 w 507328"/>
                <a:gd name="connsiteY0-326" fmla="*/ 1163003 h 1163003"/>
                <a:gd name="connsiteX1-327" fmla="*/ 2970 w 507328"/>
                <a:gd name="connsiteY1-328" fmla="*/ 685482 h 1163003"/>
                <a:gd name="connsiteX2-329" fmla="*/ 121398 w 507328"/>
                <a:gd name="connsiteY2-330" fmla="*/ 530543 h 1163003"/>
                <a:gd name="connsiteX3-331" fmla="*/ 444613 w 507328"/>
                <a:gd name="connsiteY3-332" fmla="*/ 516255 h 1163003"/>
                <a:gd name="connsiteX4-333" fmla="*/ 504621 w 507328"/>
                <a:gd name="connsiteY4-334" fmla="*/ 355283 h 1163003"/>
                <a:gd name="connsiteX5-335" fmla="*/ 506525 w 507328"/>
                <a:gd name="connsiteY5-336" fmla="*/ 0 h 1163003"/>
                <a:gd name="connsiteX0-337" fmla="*/ 7415 w 507328"/>
                <a:gd name="connsiteY0-338" fmla="*/ 1163003 h 1163003"/>
                <a:gd name="connsiteX1-339" fmla="*/ 2970 w 507328"/>
                <a:gd name="connsiteY1-340" fmla="*/ 685482 h 1163003"/>
                <a:gd name="connsiteX2-341" fmla="*/ 121398 w 507328"/>
                <a:gd name="connsiteY2-342" fmla="*/ 530543 h 1163003"/>
                <a:gd name="connsiteX3-343" fmla="*/ 444613 w 507328"/>
                <a:gd name="connsiteY3-344" fmla="*/ 516255 h 1163003"/>
                <a:gd name="connsiteX4-345" fmla="*/ 504621 w 507328"/>
                <a:gd name="connsiteY4-346" fmla="*/ 355283 h 1163003"/>
                <a:gd name="connsiteX5-347" fmla="*/ 506525 w 507328"/>
                <a:gd name="connsiteY5-348" fmla="*/ 0 h 1163003"/>
                <a:gd name="connsiteX0-349" fmla="*/ 7415 w 507328"/>
                <a:gd name="connsiteY0-350" fmla="*/ 1163003 h 1163003"/>
                <a:gd name="connsiteX1-351" fmla="*/ 2970 w 507328"/>
                <a:gd name="connsiteY1-352" fmla="*/ 685482 h 1163003"/>
                <a:gd name="connsiteX2-353" fmla="*/ 121398 w 507328"/>
                <a:gd name="connsiteY2-354" fmla="*/ 530543 h 1163003"/>
                <a:gd name="connsiteX3-355" fmla="*/ 411275 w 507328"/>
                <a:gd name="connsiteY3-356" fmla="*/ 511492 h 1163003"/>
                <a:gd name="connsiteX4-357" fmla="*/ 504621 w 507328"/>
                <a:gd name="connsiteY4-358" fmla="*/ 355283 h 1163003"/>
                <a:gd name="connsiteX5-359" fmla="*/ 506525 w 507328"/>
                <a:gd name="connsiteY5-360" fmla="*/ 0 h 1163003"/>
                <a:gd name="connsiteX0-361" fmla="*/ 7415 w 507328"/>
                <a:gd name="connsiteY0-362" fmla="*/ 1163003 h 1163003"/>
                <a:gd name="connsiteX1-363" fmla="*/ 2970 w 507328"/>
                <a:gd name="connsiteY1-364" fmla="*/ 666432 h 1163003"/>
                <a:gd name="connsiteX2-365" fmla="*/ 121398 w 507328"/>
                <a:gd name="connsiteY2-366" fmla="*/ 530543 h 1163003"/>
                <a:gd name="connsiteX3-367" fmla="*/ 411275 w 507328"/>
                <a:gd name="connsiteY3-368" fmla="*/ 511492 h 1163003"/>
                <a:gd name="connsiteX4-369" fmla="*/ 504621 w 507328"/>
                <a:gd name="connsiteY4-370" fmla="*/ 355283 h 1163003"/>
                <a:gd name="connsiteX5-371" fmla="*/ 506525 w 507328"/>
                <a:gd name="connsiteY5-372" fmla="*/ 0 h 1163003"/>
                <a:gd name="connsiteX0-373" fmla="*/ 4679 w 504592"/>
                <a:gd name="connsiteY0-374" fmla="*/ 1163003 h 1163003"/>
                <a:gd name="connsiteX1-375" fmla="*/ 234 w 504592"/>
                <a:gd name="connsiteY1-376" fmla="*/ 666432 h 1163003"/>
                <a:gd name="connsiteX2-377" fmla="*/ 118662 w 504592"/>
                <a:gd name="connsiteY2-378" fmla="*/ 530543 h 1163003"/>
                <a:gd name="connsiteX3-379" fmla="*/ 408539 w 504592"/>
                <a:gd name="connsiteY3-380" fmla="*/ 511492 h 1163003"/>
                <a:gd name="connsiteX4-381" fmla="*/ 501885 w 504592"/>
                <a:gd name="connsiteY4-382" fmla="*/ 355283 h 1163003"/>
                <a:gd name="connsiteX5-383" fmla="*/ 503789 w 504592"/>
                <a:gd name="connsiteY5-384" fmla="*/ 0 h 1163003"/>
                <a:gd name="connsiteX0-385" fmla="*/ 4679 w 504592"/>
                <a:gd name="connsiteY0-386" fmla="*/ 1163003 h 1163003"/>
                <a:gd name="connsiteX1-387" fmla="*/ 234 w 504592"/>
                <a:gd name="connsiteY1-388" fmla="*/ 666432 h 1163003"/>
                <a:gd name="connsiteX2-389" fmla="*/ 118662 w 504592"/>
                <a:gd name="connsiteY2-390" fmla="*/ 530543 h 1163003"/>
                <a:gd name="connsiteX3-391" fmla="*/ 408539 w 504592"/>
                <a:gd name="connsiteY3-392" fmla="*/ 511492 h 1163003"/>
                <a:gd name="connsiteX4-393" fmla="*/ 501885 w 504592"/>
                <a:gd name="connsiteY4-394" fmla="*/ 355283 h 1163003"/>
                <a:gd name="connsiteX5-395" fmla="*/ 503789 w 504592"/>
                <a:gd name="connsiteY5-396" fmla="*/ 0 h 1163003"/>
                <a:gd name="connsiteX0-397" fmla="*/ 4679 w 504592"/>
                <a:gd name="connsiteY0-398" fmla="*/ 1163003 h 1163003"/>
                <a:gd name="connsiteX1-399" fmla="*/ 234 w 504592"/>
                <a:gd name="connsiteY1-400" fmla="*/ 666432 h 1163003"/>
                <a:gd name="connsiteX2-401" fmla="*/ 118662 w 504592"/>
                <a:gd name="connsiteY2-402" fmla="*/ 530543 h 1163003"/>
                <a:gd name="connsiteX3-403" fmla="*/ 408539 w 504592"/>
                <a:gd name="connsiteY3-404" fmla="*/ 511492 h 1163003"/>
                <a:gd name="connsiteX4-405" fmla="*/ 501885 w 504592"/>
                <a:gd name="connsiteY4-406" fmla="*/ 355283 h 1163003"/>
                <a:gd name="connsiteX5-407" fmla="*/ 503789 w 504592"/>
                <a:gd name="connsiteY5-408" fmla="*/ 0 h 1163003"/>
                <a:gd name="connsiteX0-409" fmla="*/ 4679 w 504592"/>
                <a:gd name="connsiteY0-410" fmla="*/ 1163003 h 1163003"/>
                <a:gd name="connsiteX1-411" fmla="*/ 234 w 504592"/>
                <a:gd name="connsiteY1-412" fmla="*/ 666432 h 1163003"/>
                <a:gd name="connsiteX2-413" fmla="*/ 118662 w 504592"/>
                <a:gd name="connsiteY2-414" fmla="*/ 530543 h 1163003"/>
                <a:gd name="connsiteX3-415" fmla="*/ 408539 w 504592"/>
                <a:gd name="connsiteY3-416" fmla="*/ 535305 h 1163003"/>
                <a:gd name="connsiteX4-417" fmla="*/ 501885 w 504592"/>
                <a:gd name="connsiteY4-418" fmla="*/ 355283 h 1163003"/>
                <a:gd name="connsiteX5-419" fmla="*/ 503789 w 504592"/>
                <a:gd name="connsiteY5-420" fmla="*/ 0 h 1163003"/>
                <a:gd name="connsiteX0-421" fmla="*/ 4679 w 504592"/>
                <a:gd name="connsiteY0-422" fmla="*/ 1163003 h 1163003"/>
                <a:gd name="connsiteX1-423" fmla="*/ 234 w 504592"/>
                <a:gd name="connsiteY1-424" fmla="*/ 666432 h 1163003"/>
                <a:gd name="connsiteX2-425" fmla="*/ 118662 w 504592"/>
                <a:gd name="connsiteY2-426" fmla="*/ 530543 h 1163003"/>
                <a:gd name="connsiteX3-427" fmla="*/ 403777 w 504592"/>
                <a:gd name="connsiteY3-428" fmla="*/ 525780 h 1163003"/>
                <a:gd name="connsiteX4-429" fmla="*/ 501885 w 504592"/>
                <a:gd name="connsiteY4-430" fmla="*/ 355283 h 1163003"/>
                <a:gd name="connsiteX5-431" fmla="*/ 503789 w 504592"/>
                <a:gd name="connsiteY5-432" fmla="*/ 0 h 1163003"/>
                <a:gd name="connsiteX0-433" fmla="*/ 4679 w 504592"/>
                <a:gd name="connsiteY0-434" fmla="*/ 1163003 h 1163003"/>
                <a:gd name="connsiteX1-435" fmla="*/ 234 w 504592"/>
                <a:gd name="connsiteY1-436" fmla="*/ 666432 h 1163003"/>
                <a:gd name="connsiteX2-437" fmla="*/ 118662 w 504592"/>
                <a:gd name="connsiteY2-438" fmla="*/ 530543 h 1163003"/>
                <a:gd name="connsiteX3-439" fmla="*/ 403777 w 504592"/>
                <a:gd name="connsiteY3-440" fmla="*/ 525780 h 1163003"/>
                <a:gd name="connsiteX4-441" fmla="*/ 501885 w 504592"/>
                <a:gd name="connsiteY4-442" fmla="*/ 355283 h 1163003"/>
                <a:gd name="connsiteX5-443" fmla="*/ 503789 w 504592"/>
                <a:gd name="connsiteY5-444" fmla="*/ 0 h 1163003"/>
                <a:gd name="connsiteX0-445" fmla="*/ 7177 w 507090"/>
                <a:gd name="connsiteY0-446" fmla="*/ 1163003 h 1163003"/>
                <a:gd name="connsiteX1-447" fmla="*/ 2732 w 507090"/>
                <a:gd name="connsiteY1-448" fmla="*/ 666432 h 1163003"/>
                <a:gd name="connsiteX2-449" fmla="*/ 121160 w 507090"/>
                <a:gd name="connsiteY2-450" fmla="*/ 530543 h 1163003"/>
                <a:gd name="connsiteX3-451" fmla="*/ 406275 w 507090"/>
                <a:gd name="connsiteY3-452" fmla="*/ 525780 h 1163003"/>
                <a:gd name="connsiteX4-453" fmla="*/ 504383 w 507090"/>
                <a:gd name="connsiteY4-454" fmla="*/ 355283 h 1163003"/>
                <a:gd name="connsiteX5-455" fmla="*/ 506287 w 507090"/>
                <a:gd name="connsiteY5-456" fmla="*/ 0 h 1163003"/>
                <a:gd name="connsiteX0-457" fmla="*/ 7177 w 507090"/>
                <a:gd name="connsiteY0-458" fmla="*/ 1163003 h 1163003"/>
                <a:gd name="connsiteX1-459" fmla="*/ 2732 w 507090"/>
                <a:gd name="connsiteY1-460" fmla="*/ 666432 h 1163003"/>
                <a:gd name="connsiteX2-461" fmla="*/ 121160 w 507090"/>
                <a:gd name="connsiteY2-462" fmla="*/ 530543 h 1163003"/>
                <a:gd name="connsiteX3-463" fmla="*/ 406275 w 507090"/>
                <a:gd name="connsiteY3-464" fmla="*/ 525780 h 1163003"/>
                <a:gd name="connsiteX4-465" fmla="*/ 504383 w 507090"/>
                <a:gd name="connsiteY4-466" fmla="*/ 355283 h 1163003"/>
                <a:gd name="connsiteX5-467" fmla="*/ 506287 w 507090"/>
                <a:gd name="connsiteY5-468" fmla="*/ 0 h 1163003"/>
                <a:gd name="connsiteX0-469" fmla="*/ 7177 w 507090"/>
                <a:gd name="connsiteY0-470" fmla="*/ 1163003 h 1163003"/>
                <a:gd name="connsiteX1-471" fmla="*/ 2732 w 507090"/>
                <a:gd name="connsiteY1-472" fmla="*/ 666432 h 1163003"/>
                <a:gd name="connsiteX2-473" fmla="*/ 121160 w 507090"/>
                <a:gd name="connsiteY2-474" fmla="*/ 530543 h 1163003"/>
                <a:gd name="connsiteX3-475" fmla="*/ 406275 w 507090"/>
                <a:gd name="connsiteY3-476" fmla="*/ 525780 h 1163003"/>
                <a:gd name="connsiteX4-477" fmla="*/ 504383 w 507090"/>
                <a:gd name="connsiteY4-478" fmla="*/ 355283 h 1163003"/>
                <a:gd name="connsiteX5-479" fmla="*/ 506287 w 507090"/>
                <a:gd name="connsiteY5-480" fmla="*/ 0 h 1163003"/>
                <a:gd name="connsiteX0-481" fmla="*/ 7177 w 507090"/>
                <a:gd name="connsiteY0-482" fmla="*/ 1163003 h 1163003"/>
                <a:gd name="connsiteX1-483" fmla="*/ 2732 w 507090"/>
                <a:gd name="connsiteY1-484" fmla="*/ 666432 h 1163003"/>
                <a:gd name="connsiteX2-485" fmla="*/ 121160 w 507090"/>
                <a:gd name="connsiteY2-486" fmla="*/ 530543 h 1163003"/>
                <a:gd name="connsiteX3-487" fmla="*/ 406275 w 507090"/>
                <a:gd name="connsiteY3-488" fmla="*/ 525780 h 1163003"/>
                <a:gd name="connsiteX4-489" fmla="*/ 504383 w 507090"/>
                <a:gd name="connsiteY4-490" fmla="*/ 355283 h 1163003"/>
                <a:gd name="connsiteX5-491" fmla="*/ 506287 w 507090"/>
                <a:gd name="connsiteY5-492" fmla="*/ 0 h 1163003"/>
                <a:gd name="connsiteX0-493" fmla="*/ 10856 w 515532"/>
                <a:gd name="connsiteY0-494" fmla="*/ 1048703 h 1048703"/>
                <a:gd name="connsiteX1-495" fmla="*/ 11174 w 515532"/>
                <a:gd name="connsiteY1-496" fmla="*/ 666432 h 1048703"/>
                <a:gd name="connsiteX2-497" fmla="*/ 129602 w 515532"/>
                <a:gd name="connsiteY2-498" fmla="*/ 530543 h 1048703"/>
                <a:gd name="connsiteX3-499" fmla="*/ 414717 w 515532"/>
                <a:gd name="connsiteY3-500" fmla="*/ 525780 h 1048703"/>
                <a:gd name="connsiteX4-501" fmla="*/ 512825 w 515532"/>
                <a:gd name="connsiteY4-502" fmla="*/ 355283 h 1048703"/>
                <a:gd name="connsiteX5-503" fmla="*/ 514729 w 515532"/>
                <a:gd name="connsiteY5-504" fmla="*/ 0 h 1048703"/>
                <a:gd name="connsiteX0-505" fmla="*/ 3023 w 507699"/>
                <a:gd name="connsiteY0-506" fmla="*/ 1048703 h 1048703"/>
                <a:gd name="connsiteX1-507" fmla="*/ 3341 w 507699"/>
                <a:gd name="connsiteY1-508" fmla="*/ 666432 h 1048703"/>
                <a:gd name="connsiteX2-509" fmla="*/ 121769 w 507699"/>
                <a:gd name="connsiteY2-510" fmla="*/ 530543 h 1048703"/>
                <a:gd name="connsiteX3-511" fmla="*/ 406884 w 507699"/>
                <a:gd name="connsiteY3-512" fmla="*/ 525780 h 1048703"/>
                <a:gd name="connsiteX4-513" fmla="*/ 504992 w 507699"/>
                <a:gd name="connsiteY4-514" fmla="*/ 355283 h 1048703"/>
                <a:gd name="connsiteX5-515" fmla="*/ 506896 w 507699"/>
                <a:gd name="connsiteY5-516" fmla="*/ 0 h 1048703"/>
                <a:gd name="connsiteX0-517" fmla="*/ 10856 w 515532"/>
                <a:gd name="connsiteY0-518" fmla="*/ 1048703 h 1048703"/>
                <a:gd name="connsiteX1-519" fmla="*/ 11174 w 515532"/>
                <a:gd name="connsiteY1-520" fmla="*/ 666432 h 1048703"/>
                <a:gd name="connsiteX2-521" fmla="*/ 129602 w 515532"/>
                <a:gd name="connsiteY2-522" fmla="*/ 530543 h 1048703"/>
                <a:gd name="connsiteX3-523" fmla="*/ 414717 w 515532"/>
                <a:gd name="connsiteY3-524" fmla="*/ 525780 h 1048703"/>
                <a:gd name="connsiteX4-525" fmla="*/ 512825 w 515532"/>
                <a:gd name="connsiteY4-526" fmla="*/ 355283 h 1048703"/>
                <a:gd name="connsiteX5-527" fmla="*/ 514729 w 515532"/>
                <a:gd name="connsiteY5-528" fmla="*/ 0 h 1048703"/>
                <a:gd name="connsiteX0-529" fmla="*/ 5191 w 509867"/>
                <a:gd name="connsiteY0-530" fmla="*/ 1048703 h 1048703"/>
                <a:gd name="connsiteX1-531" fmla="*/ 5509 w 509867"/>
                <a:gd name="connsiteY1-532" fmla="*/ 666432 h 1048703"/>
                <a:gd name="connsiteX2-533" fmla="*/ 123937 w 509867"/>
                <a:gd name="connsiteY2-534" fmla="*/ 530543 h 1048703"/>
                <a:gd name="connsiteX3-535" fmla="*/ 409052 w 509867"/>
                <a:gd name="connsiteY3-536" fmla="*/ 525780 h 1048703"/>
                <a:gd name="connsiteX4-537" fmla="*/ 507160 w 509867"/>
                <a:gd name="connsiteY4-538" fmla="*/ 355283 h 1048703"/>
                <a:gd name="connsiteX5-539" fmla="*/ 509064 w 509867"/>
                <a:gd name="connsiteY5-540" fmla="*/ 0 h 1048703"/>
                <a:gd name="connsiteX0-541" fmla="*/ 15252 w 512784"/>
                <a:gd name="connsiteY0-542" fmla="*/ 1043940 h 1043940"/>
                <a:gd name="connsiteX1-543" fmla="*/ 8426 w 512784"/>
                <a:gd name="connsiteY1-544" fmla="*/ 666432 h 1043940"/>
                <a:gd name="connsiteX2-545" fmla="*/ 126854 w 512784"/>
                <a:gd name="connsiteY2-546" fmla="*/ 530543 h 1043940"/>
                <a:gd name="connsiteX3-547" fmla="*/ 411969 w 512784"/>
                <a:gd name="connsiteY3-548" fmla="*/ 525780 h 1043940"/>
                <a:gd name="connsiteX4-549" fmla="*/ 510077 w 512784"/>
                <a:gd name="connsiteY4-550" fmla="*/ 355283 h 1043940"/>
                <a:gd name="connsiteX5-551" fmla="*/ 511981 w 512784"/>
                <a:gd name="connsiteY5-552" fmla="*/ 0 h 1043940"/>
                <a:gd name="connsiteX0-553" fmla="*/ 6948 w 504480"/>
                <a:gd name="connsiteY0-554" fmla="*/ 1043940 h 1043940"/>
                <a:gd name="connsiteX1-555" fmla="*/ 122 w 504480"/>
                <a:gd name="connsiteY1-556" fmla="*/ 666432 h 1043940"/>
                <a:gd name="connsiteX2-557" fmla="*/ 118550 w 504480"/>
                <a:gd name="connsiteY2-558" fmla="*/ 530543 h 1043940"/>
                <a:gd name="connsiteX3-559" fmla="*/ 403665 w 504480"/>
                <a:gd name="connsiteY3-560" fmla="*/ 525780 h 1043940"/>
                <a:gd name="connsiteX4-561" fmla="*/ 501773 w 504480"/>
                <a:gd name="connsiteY4-562" fmla="*/ 355283 h 1043940"/>
                <a:gd name="connsiteX5-563" fmla="*/ 503677 w 504480"/>
                <a:gd name="connsiteY5-564" fmla="*/ 0 h 1043940"/>
                <a:gd name="connsiteX0-565" fmla="*/ 6830 w 504362"/>
                <a:gd name="connsiteY0-566" fmla="*/ 1043940 h 1043940"/>
                <a:gd name="connsiteX1-567" fmla="*/ 4 w 504362"/>
                <a:gd name="connsiteY1-568" fmla="*/ 666432 h 1043940"/>
                <a:gd name="connsiteX2-569" fmla="*/ 118432 w 504362"/>
                <a:gd name="connsiteY2-570" fmla="*/ 530543 h 1043940"/>
                <a:gd name="connsiteX3-571" fmla="*/ 403547 w 504362"/>
                <a:gd name="connsiteY3-572" fmla="*/ 525780 h 1043940"/>
                <a:gd name="connsiteX4-573" fmla="*/ 501655 w 504362"/>
                <a:gd name="connsiteY4-574" fmla="*/ 355283 h 1043940"/>
                <a:gd name="connsiteX5-575" fmla="*/ 503559 w 504362"/>
                <a:gd name="connsiteY5-576" fmla="*/ 0 h 1043940"/>
                <a:gd name="connsiteX0-577" fmla="*/ 6871 w 504403"/>
                <a:gd name="connsiteY0-578" fmla="*/ 1043940 h 1043940"/>
                <a:gd name="connsiteX1-579" fmla="*/ 45 w 504403"/>
                <a:gd name="connsiteY1-580" fmla="*/ 666432 h 1043940"/>
                <a:gd name="connsiteX2-581" fmla="*/ 118473 w 504403"/>
                <a:gd name="connsiteY2-582" fmla="*/ 530543 h 1043940"/>
                <a:gd name="connsiteX3-583" fmla="*/ 403588 w 504403"/>
                <a:gd name="connsiteY3-584" fmla="*/ 525780 h 1043940"/>
                <a:gd name="connsiteX4-585" fmla="*/ 501696 w 504403"/>
                <a:gd name="connsiteY4-586" fmla="*/ 355283 h 1043940"/>
                <a:gd name="connsiteX5-587" fmla="*/ 503600 w 504403"/>
                <a:gd name="connsiteY5-588" fmla="*/ 0 h 1043940"/>
              </a:gdLst>
              <a:ahLst/>
              <a:cxnLst>
                <a:cxn ang="0">
                  <a:pos x="connsiteX0-1" y="connsiteY0-2"/>
                </a:cxn>
                <a:cxn ang="0">
                  <a:pos x="connsiteX1-3" y="connsiteY1-4"/>
                </a:cxn>
                <a:cxn ang="0">
                  <a:pos x="connsiteX2-5" y="connsiteY2-6"/>
                </a:cxn>
                <a:cxn ang="0">
                  <a:pos x="connsiteX3-7" y="connsiteY3-8"/>
                </a:cxn>
                <a:cxn ang="0">
                  <a:pos x="connsiteX4-33" y="connsiteY4-34"/>
                </a:cxn>
                <a:cxn ang="0">
                  <a:pos x="connsiteX5-275" y="connsiteY5-276"/>
                </a:cxn>
              </a:cxnLst>
              <a:rect l="l" t="t" r="r" b="b"/>
              <a:pathLst>
                <a:path w="504403" h="1043940">
                  <a:moveTo>
                    <a:pt x="6871" y="1043940"/>
                  </a:moveTo>
                  <a:cubicBezTo>
                    <a:pt x="-1807" y="623041"/>
                    <a:pt x="318" y="751999"/>
                    <a:pt x="45" y="666432"/>
                  </a:cubicBezTo>
                  <a:cubicBezTo>
                    <a:pt x="-416" y="521719"/>
                    <a:pt x="46453" y="534935"/>
                    <a:pt x="118473" y="530543"/>
                  </a:cubicBezTo>
                  <a:cubicBezTo>
                    <a:pt x="190493" y="526151"/>
                    <a:pt x="315905" y="526415"/>
                    <a:pt x="403588" y="525780"/>
                  </a:cubicBezTo>
                  <a:cubicBezTo>
                    <a:pt x="491271" y="525145"/>
                    <a:pt x="504870" y="496095"/>
                    <a:pt x="501696" y="355283"/>
                  </a:cubicBezTo>
                  <a:cubicBezTo>
                    <a:pt x="503284" y="276384"/>
                    <a:pt x="505664" y="58420"/>
                    <a:pt x="503600" y="0"/>
                  </a:cubicBezTo>
                </a:path>
              </a:pathLst>
            </a:cu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grpSp>
      <p:grpSp>
        <p:nvGrpSpPr>
          <p:cNvPr id="86" name="组合 85"/>
          <p:cNvGrpSpPr/>
          <p:nvPr/>
        </p:nvGrpSpPr>
        <p:grpSpPr>
          <a:xfrm>
            <a:off x="7659538" y="2348880"/>
            <a:ext cx="590289" cy="1296144"/>
            <a:chOff x="7659538" y="2348880"/>
            <a:chExt cx="590289" cy="1296144"/>
          </a:xfrm>
        </p:grpSpPr>
        <p:sp>
          <p:nvSpPr>
            <p:cNvPr id="42" name="椭圆 41"/>
            <p:cNvSpPr/>
            <p:nvPr/>
          </p:nvSpPr>
          <p:spPr>
            <a:xfrm>
              <a:off x="7659538" y="3429000"/>
              <a:ext cx="216024" cy="216024"/>
            </a:xfrm>
            <a:prstGeom prst="ellipse">
              <a:avLst/>
            </a:prstGeom>
            <a:solidFill>
              <a:schemeClr val="bg1"/>
            </a:solidFill>
            <a:ln w="76200">
              <a:solidFill>
                <a:srgbClr val="47A7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2" name="任意多边形 61"/>
            <p:cNvSpPr/>
            <p:nvPr/>
          </p:nvSpPr>
          <p:spPr>
            <a:xfrm>
              <a:off x="7745424" y="2348880"/>
              <a:ext cx="504403" cy="1043940"/>
            </a:xfrm>
            <a:custGeom>
              <a:avLst/>
              <a:gdLst>
                <a:gd name="connsiteX0" fmla="*/ 36741 w 535207"/>
                <a:gd name="connsiteY0" fmla="*/ 1158240 h 1158240"/>
                <a:gd name="connsiteX1" fmla="*/ 44361 w 535207"/>
                <a:gd name="connsiteY1" fmla="*/ 525780 h 1158240"/>
                <a:gd name="connsiteX2" fmla="*/ 478701 w 535207"/>
                <a:gd name="connsiteY2" fmla="*/ 449580 h 1158240"/>
                <a:gd name="connsiteX3" fmla="*/ 516801 w 535207"/>
                <a:gd name="connsiteY3" fmla="*/ 0 h 1158240"/>
                <a:gd name="connsiteX0-1" fmla="*/ 15927 w 511653"/>
                <a:gd name="connsiteY0-2" fmla="*/ 1158240 h 1158240"/>
                <a:gd name="connsiteX1-3" fmla="*/ 74347 w 511653"/>
                <a:gd name="connsiteY1-4" fmla="*/ 525780 h 1158240"/>
                <a:gd name="connsiteX2-5" fmla="*/ 457887 w 511653"/>
                <a:gd name="connsiteY2-6" fmla="*/ 449580 h 1158240"/>
                <a:gd name="connsiteX3-7" fmla="*/ 495987 w 511653"/>
                <a:gd name="connsiteY3-8" fmla="*/ 0 h 1158240"/>
                <a:gd name="connsiteX0-9" fmla="*/ 15927 w 511653"/>
                <a:gd name="connsiteY0-10" fmla="*/ 1158240 h 1158240"/>
                <a:gd name="connsiteX1-11" fmla="*/ 74347 w 511653"/>
                <a:gd name="connsiteY1-12" fmla="*/ 525780 h 1158240"/>
                <a:gd name="connsiteX2-13" fmla="*/ 457887 w 511653"/>
                <a:gd name="connsiteY2-14" fmla="*/ 449580 h 1158240"/>
                <a:gd name="connsiteX3-15" fmla="*/ 495987 w 511653"/>
                <a:gd name="connsiteY3-16" fmla="*/ 0 h 1158240"/>
                <a:gd name="connsiteX0-17" fmla="*/ 796 w 496522"/>
                <a:gd name="connsiteY0-18" fmla="*/ 1158240 h 1158240"/>
                <a:gd name="connsiteX1-19" fmla="*/ 5876 w 496522"/>
                <a:gd name="connsiteY1-20" fmla="*/ 661670 h 1158240"/>
                <a:gd name="connsiteX2-21" fmla="*/ 59216 w 496522"/>
                <a:gd name="connsiteY2-22" fmla="*/ 525780 h 1158240"/>
                <a:gd name="connsiteX3-23" fmla="*/ 442756 w 496522"/>
                <a:gd name="connsiteY3-24" fmla="*/ 449580 h 1158240"/>
                <a:gd name="connsiteX4" fmla="*/ 480856 w 496522"/>
                <a:gd name="connsiteY4" fmla="*/ 0 h 1158240"/>
                <a:gd name="connsiteX0-25" fmla="*/ 796 w 496522"/>
                <a:gd name="connsiteY0-26" fmla="*/ 1158240 h 1158240"/>
                <a:gd name="connsiteX1-27" fmla="*/ 5876 w 496522"/>
                <a:gd name="connsiteY1-28" fmla="*/ 661670 h 1158240"/>
                <a:gd name="connsiteX2-29" fmla="*/ 59216 w 496522"/>
                <a:gd name="connsiteY2-30" fmla="*/ 525780 h 1158240"/>
                <a:gd name="connsiteX3-31" fmla="*/ 442756 w 496522"/>
                <a:gd name="connsiteY3-32" fmla="*/ 449580 h 1158240"/>
                <a:gd name="connsiteX4-33" fmla="*/ 480856 w 496522"/>
                <a:gd name="connsiteY4-34" fmla="*/ 0 h 1158240"/>
                <a:gd name="connsiteX0-35" fmla="*/ 4327 w 497573"/>
                <a:gd name="connsiteY0-36" fmla="*/ 1158240 h 1158240"/>
                <a:gd name="connsiteX1-37" fmla="*/ 9407 w 497573"/>
                <a:gd name="connsiteY1-38" fmla="*/ 661670 h 1158240"/>
                <a:gd name="connsiteX2-39" fmla="*/ 113547 w 497573"/>
                <a:gd name="connsiteY2-40" fmla="*/ 525780 h 1158240"/>
                <a:gd name="connsiteX3-41" fmla="*/ 446287 w 497573"/>
                <a:gd name="connsiteY3-42" fmla="*/ 449580 h 1158240"/>
                <a:gd name="connsiteX4-43" fmla="*/ 484387 w 497573"/>
                <a:gd name="connsiteY4-44" fmla="*/ 0 h 1158240"/>
                <a:gd name="connsiteX0-45" fmla="*/ 4327 w 497573"/>
                <a:gd name="connsiteY0-46" fmla="*/ 1158240 h 1158240"/>
                <a:gd name="connsiteX1-47" fmla="*/ 9407 w 497573"/>
                <a:gd name="connsiteY1-48" fmla="*/ 661670 h 1158240"/>
                <a:gd name="connsiteX2-49" fmla="*/ 113547 w 497573"/>
                <a:gd name="connsiteY2-50" fmla="*/ 525780 h 1158240"/>
                <a:gd name="connsiteX3-51" fmla="*/ 446287 w 497573"/>
                <a:gd name="connsiteY3-52" fmla="*/ 449580 h 1158240"/>
                <a:gd name="connsiteX4-53" fmla="*/ 484387 w 497573"/>
                <a:gd name="connsiteY4-54" fmla="*/ 0 h 1158240"/>
                <a:gd name="connsiteX0-55" fmla="*/ 4327 w 497573"/>
                <a:gd name="connsiteY0-56" fmla="*/ 1158240 h 1158240"/>
                <a:gd name="connsiteX1-57" fmla="*/ 9407 w 497573"/>
                <a:gd name="connsiteY1-58" fmla="*/ 661670 h 1158240"/>
                <a:gd name="connsiteX2-59" fmla="*/ 113547 w 497573"/>
                <a:gd name="connsiteY2-60" fmla="*/ 525780 h 1158240"/>
                <a:gd name="connsiteX3-61" fmla="*/ 446287 w 497573"/>
                <a:gd name="connsiteY3-62" fmla="*/ 449580 h 1158240"/>
                <a:gd name="connsiteX4-63" fmla="*/ 484387 w 497573"/>
                <a:gd name="connsiteY4-64" fmla="*/ 0 h 1158240"/>
                <a:gd name="connsiteX0-65" fmla="*/ 4327 w 497573"/>
                <a:gd name="connsiteY0-66" fmla="*/ 1158240 h 1158240"/>
                <a:gd name="connsiteX1-67" fmla="*/ 9407 w 497573"/>
                <a:gd name="connsiteY1-68" fmla="*/ 661670 h 1158240"/>
                <a:gd name="connsiteX2-69" fmla="*/ 113547 w 497573"/>
                <a:gd name="connsiteY2-70" fmla="*/ 525780 h 1158240"/>
                <a:gd name="connsiteX3-71" fmla="*/ 446287 w 497573"/>
                <a:gd name="connsiteY3-72" fmla="*/ 449580 h 1158240"/>
                <a:gd name="connsiteX4-73" fmla="*/ 484387 w 497573"/>
                <a:gd name="connsiteY4-74" fmla="*/ 0 h 1158240"/>
                <a:gd name="connsiteX0-75" fmla="*/ 4327 w 497573"/>
                <a:gd name="connsiteY0-76" fmla="*/ 1158240 h 1158240"/>
                <a:gd name="connsiteX1-77" fmla="*/ 9407 w 497573"/>
                <a:gd name="connsiteY1-78" fmla="*/ 661670 h 1158240"/>
                <a:gd name="connsiteX2-79" fmla="*/ 113547 w 497573"/>
                <a:gd name="connsiteY2-80" fmla="*/ 525780 h 1158240"/>
                <a:gd name="connsiteX3-81" fmla="*/ 446287 w 497573"/>
                <a:gd name="connsiteY3-82" fmla="*/ 449580 h 1158240"/>
                <a:gd name="connsiteX4-83" fmla="*/ 484387 w 497573"/>
                <a:gd name="connsiteY4-84" fmla="*/ 0 h 1158240"/>
                <a:gd name="connsiteX0-85" fmla="*/ 4327 w 497573"/>
                <a:gd name="connsiteY0-86" fmla="*/ 1158240 h 1158240"/>
                <a:gd name="connsiteX1-87" fmla="*/ 9407 w 497573"/>
                <a:gd name="connsiteY1-88" fmla="*/ 661670 h 1158240"/>
                <a:gd name="connsiteX2-89" fmla="*/ 113547 w 497573"/>
                <a:gd name="connsiteY2-90" fmla="*/ 525780 h 1158240"/>
                <a:gd name="connsiteX3-91" fmla="*/ 446287 w 497573"/>
                <a:gd name="connsiteY3-92" fmla="*/ 449580 h 1158240"/>
                <a:gd name="connsiteX4-93" fmla="*/ 484387 w 497573"/>
                <a:gd name="connsiteY4-94" fmla="*/ 0 h 1158240"/>
                <a:gd name="connsiteX0-95" fmla="*/ 1638 w 494884"/>
                <a:gd name="connsiteY0-96" fmla="*/ 1158240 h 1158240"/>
                <a:gd name="connsiteX1-97" fmla="*/ 6718 w 494884"/>
                <a:gd name="connsiteY1-98" fmla="*/ 661670 h 1158240"/>
                <a:gd name="connsiteX2-99" fmla="*/ 110858 w 494884"/>
                <a:gd name="connsiteY2-100" fmla="*/ 525780 h 1158240"/>
                <a:gd name="connsiteX3-101" fmla="*/ 443598 w 494884"/>
                <a:gd name="connsiteY3-102" fmla="*/ 449580 h 1158240"/>
                <a:gd name="connsiteX4-103" fmla="*/ 481698 w 494884"/>
                <a:gd name="connsiteY4-104" fmla="*/ 0 h 1158240"/>
                <a:gd name="connsiteX0-105" fmla="*/ 17011 w 510257"/>
                <a:gd name="connsiteY0-106" fmla="*/ 1158240 h 1158240"/>
                <a:gd name="connsiteX1-107" fmla="*/ 3041 w 510257"/>
                <a:gd name="connsiteY1-108" fmla="*/ 675957 h 1158240"/>
                <a:gd name="connsiteX2-109" fmla="*/ 126231 w 510257"/>
                <a:gd name="connsiteY2-110" fmla="*/ 525780 h 1158240"/>
                <a:gd name="connsiteX3-111" fmla="*/ 458971 w 510257"/>
                <a:gd name="connsiteY3-112" fmla="*/ 449580 h 1158240"/>
                <a:gd name="connsiteX4-113" fmla="*/ 497071 w 510257"/>
                <a:gd name="connsiteY4-114" fmla="*/ 0 h 1158240"/>
                <a:gd name="connsiteX0-115" fmla="*/ 15386 w 508632"/>
                <a:gd name="connsiteY0-116" fmla="*/ 1158240 h 1158240"/>
                <a:gd name="connsiteX1-117" fmla="*/ 1416 w 508632"/>
                <a:gd name="connsiteY1-118" fmla="*/ 675957 h 1158240"/>
                <a:gd name="connsiteX2-119" fmla="*/ 124606 w 508632"/>
                <a:gd name="connsiteY2-120" fmla="*/ 525780 h 1158240"/>
                <a:gd name="connsiteX3-121" fmla="*/ 457346 w 508632"/>
                <a:gd name="connsiteY3-122" fmla="*/ 449580 h 1158240"/>
                <a:gd name="connsiteX4-123" fmla="*/ 495446 w 508632"/>
                <a:gd name="connsiteY4-124" fmla="*/ 0 h 1158240"/>
                <a:gd name="connsiteX0-125" fmla="*/ 15386 w 508632"/>
                <a:gd name="connsiteY0-126" fmla="*/ 1158240 h 1158240"/>
                <a:gd name="connsiteX1-127" fmla="*/ 1416 w 508632"/>
                <a:gd name="connsiteY1-128" fmla="*/ 675957 h 1158240"/>
                <a:gd name="connsiteX2-129" fmla="*/ 124606 w 508632"/>
                <a:gd name="connsiteY2-130" fmla="*/ 525780 h 1158240"/>
                <a:gd name="connsiteX3-131" fmla="*/ 457346 w 508632"/>
                <a:gd name="connsiteY3-132" fmla="*/ 449580 h 1158240"/>
                <a:gd name="connsiteX4-133" fmla="*/ 495446 w 508632"/>
                <a:gd name="connsiteY4-134" fmla="*/ 0 h 1158240"/>
                <a:gd name="connsiteX0-135" fmla="*/ 15386 w 508632"/>
                <a:gd name="connsiteY0-136" fmla="*/ 1158240 h 1158240"/>
                <a:gd name="connsiteX1-137" fmla="*/ 1416 w 508632"/>
                <a:gd name="connsiteY1-138" fmla="*/ 675957 h 1158240"/>
                <a:gd name="connsiteX2-139" fmla="*/ 124606 w 508632"/>
                <a:gd name="connsiteY2-140" fmla="*/ 525780 h 1158240"/>
                <a:gd name="connsiteX3-141" fmla="*/ 457346 w 508632"/>
                <a:gd name="connsiteY3-142" fmla="*/ 449580 h 1158240"/>
                <a:gd name="connsiteX4-143" fmla="*/ 495446 w 508632"/>
                <a:gd name="connsiteY4-144" fmla="*/ 0 h 1158240"/>
                <a:gd name="connsiteX0-145" fmla="*/ 15664 w 513673"/>
                <a:gd name="connsiteY0-146" fmla="*/ 1158240 h 1158240"/>
                <a:gd name="connsiteX1-147" fmla="*/ 6457 w 513673"/>
                <a:gd name="connsiteY1-148" fmla="*/ 675957 h 1158240"/>
                <a:gd name="connsiteX2-149" fmla="*/ 129647 w 513673"/>
                <a:gd name="connsiteY2-150" fmla="*/ 525780 h 1158240"/>
                <a:gd name="connsiteX3-151" fmla="*/ 462387 w 513673"/>
                <a:gd name="connsiteY3-152" fmla="*/ 449580 h 1158240"/>
                <a:gd name="connsiteX4-153" fmla="*/ 500487 w 513673"/>
                <a:gd name="connsiteY4-154" fmla="*/ 0 h 1158240"/>
                <a:gd name="connsiteX0-155" fmla="*/ 17239 w 515248"/>
                <a:gd name="connsiteY0-156" fmla="*/ 1158240 h 1158240"/>
                <a:gd name="connsiteX1-157" fmla="*/ 8032 w 515248"/>
                <a:gd name="connsiteY1-158" fmla="*/ 675957 h 1158240"/>
                <a:gd name="connsiteX2-159" fmla="*/ 131222 w 515248"/>
                <a:gd name="connsiteY2-160" fmla="*/ 525780 h 1158240"/>
                <a:gd name="connsiteX3-161" fmla="*/ 463962 w 515248"/>
                <a:gd name="connsiteY3-162" fmla="*/ 449580 h 1158240"/>
                <a:gd name="connsiteX4-163" fmla="*/ 502062 w 515248"/>
                <a:gd name="connsiteY4-164" fmla="*/ 0 h 1158240"/>
                <a:gd name="connsiteX0-165" fmla="*/ 17239 w 515248"/>
                <a:gd name="connsiteY0-166" fmla="*/ 1158240 h 1158240"/>
                <a:gd name="connsiteX1-167" fmla="*/ 8032 w 515248"/>
                <a:gd name="connsiteY1-168" fmla="*/ 675957 h 1158240"/>
                <a:gd name="connsiteX2-169" fmla="*/ 131222 w 515248"/>
                <a:gd name="connsiteY2-170" fmla="*/ 525780 h 1158240"/>
                <a:gd name="connsiteX3-171" fmla="*/ 463962 w 515248"/>
                <a:gd name="connsiteY3-172" fmla="*/ 449580 h 1158240"/>
                <a:gd name="connsiteX4-173" fmla="*/ 502062 w 515248"/>
                <a:gd name="connsiteY4-174" fmla="*/ 0 h 1158240"/>
                <a:gd name="connsiteX0-175" fmla="*/ 10978 w 508987"/>
                <a:gd name="connsiteY0-176" fmla="*/ 1158240 h 1158240"/>
                <a:gd name="connsiteX1-177" fmla="*/ 1771 w 508987"/>
                <a:gd name="connsiteY1-178" fmla="*/ 675957 h 1158240"/>
                <a:gd name="connsiteX2-179" fmla="*/ 124961 w 508987"/>
                <a:gd name="connsiteY2-180" fmla="*/ 525780 h 1158240"/>
                <a:gd name="connsiteX3-181" fmla="*/ 457701 w 508987"/>
                <a:gd name="connsiteY3-182" fmla="*/ 449580 h 1158240"/>
                <a:gd name="connsiteX4-183" fmla="*/ 495801 w 508987"/>
                <a:gd name="connsiteY4-184" fmla="*/ 0 h 1158240"/>
                <a:gd name="connsiteX0-185" fmla="*/ 3620 w 501629"/>
                <a:gd name="connsiteY0-186" fmla="*/ 1158240 h 1158240"/>
                <a:gd name="connsiteX1-187" fmla="*/ 8700 w 501629"/>
                <a:gd name="connsiteY1-188" fmla="*/ 675957 h 1158240"/>
                <a:gd name="connsiteX2-189" fmla="*/ 117603 w 501629"/>
                <a:gd name="connsiteY2-190" fmla="*/ 525780 h 1158240"/>
                <a:gd name="connsiteX3-191" fmla="*/ 450343 w 501629"/>
                <a:gd name="connsiteY3-192" fmla="*/ 449580 h 1158240"/>
                <a:gd name="connsiteX4-193" fmla="*/ 488443 w 501629"/>
                <a:gd name="connsiteY4-194" fmla="*/ 0 h 1158240"/>
                <a:gd name="connsiteX0-195" fmla="*/ 7415 w 505424"/>
                <a:gd name="connsiteY0-196" fmla="*/ 1158240 h 1158240"/>
                <a:gd name="connsiteX1-197" fmla="*/ 2970 w 505424"/>
                <a:gd name="connsiteY1-198" fmla="*/ 680719 h 1158240"/>
                <a:gd name="connsiteX2-199" fmla="*/ 121398 w 505424"/>
                <a:gd name="connsiteY2-200" fmla="*/ 525780 h 1158240"/>
                <a:gd name="connsiteX3-201" fmla="*/ 454138 w 505424"/>
                <a:gd name="connsiteY3-202" fmla="*/ 449580 h 1158240"/>
                <a:gd name="connsiteX4-203" fmla="*/ 492238 w 505424"/>
                <a:gd name="connsiteY4-204" fmla="*/ 0 h 1158240"/>
                <a:gd name="connsiteX0-205" fmla="*/ 7415 w 505424"/>
                <a:gd name="connsiteY0-206" fmla="*/ 1158240 h 1158240"/>
                <a:gd name="connsiteX1-207" fmla="*/ 2970 w 505424"/>
                <a:gd name="connsiteY1-208" fmla="*/ 680719 h 1158240"/>
                <a:gd name="connsiteX2-209" fmla="*/ 121398 w 505424"/>
                <a:gd name="connsiteY2-210" fmla="*/ 525780 h 1158240"/>
                <a:gd name="connsiteX3-211" fmla="*/ 454138 w 505424"/>
                <a:gd name="connsiteY3-212" fmla="*/ 449580 h 1158240"/>
                <a:gd name="connsiteX4-213" fmla="*/ 492238 w 505424"/>
                <a:gd name="connsiteY4-214" fmla="*/ 0 h 1158240"/>
                <a:gd name="connsiteX0-215" fmla="*/ 7415 w 518817"/>
                <a:gd name="connsiteY0-216" fmla="*/ 1158240 h 1158240"/>
                <a:gd name="connsiteX1-217" fmla="*/ 2970 w 518817"/>
                <a:gd name="connsiteY1-218" fmla="*/ 680719 h 1158240"/>
                <a:gd name="connsiteX2-219" fmla="*/ 121398 w 518817"/>
                <a:gd name="connsiteY2-220" fmla="*/ 525780 h 1158240"/>
                <a:gd name="connsiteX3-221" fmla="*/ 482713 w 518817"/>
                <a:gd name="connsiteY3-222" fmla="*/ 487680 h 1158240"/>
                <a:gd name="connsiteX4-223" fmla="*/ 492238 w 518817"/>
                <a:gd name="connsiteY4-224" fmla="*/ 0 h 1158240"/>
                <a:gd name="connsiteX0-225" fmla="*/ 7415 w 518817"/>
                <a:gd name="connsiteY0-226" fmla="*/ 1158240 h 1158240"/>
                <a:gd name="connsiteX1-227" fmla="*/ 2970 w 518817"/>
                <a:gd name="connsiteY1-228" fmla="*/ 680719 h 1158240"/>
                <a:gd name="connsiteX2-229" fmla="*/ 121398 w 518817"/>
                <a:gd name="connsiteY2-230" fmla="*/ 525780 h 1158240"/>
                <a:gd name="connsiteX3-231" fmla="*/ 482713 w 518817"/>
                <a:gd name="connsiteY3-232" fmla="*/ 473392 h 1158240"/>
                <a:gd name="connsiteX4-233" fmla="*/ 492238 w 518817"/>
                <a:gd name="connsiteY4-234" fmla="*/ 0 h 1158240"/>
                <a:gd name="connsiteX0-235" fmla="*/ 7415 w 513005"/>
                <a:gd name="connsiteY0-236" fmla="*/ 1158240 h 1158240"/>
                <a:gd name="connsiteX1-237" fmla="*/ 2970 w 513005"/>
                <a:gd name="connsiteY1-238" fmla="*/ 680719 h 1158240"/>
                <a:gd name="connsiteX2-239" fmla="*/ 121398 w 513005"/>
                <a:gd name="connsiteY2-240" fmla="*/ 525780 h 1158240"/>
                <a:gd name="connsiteX3-241" fmla="*/ 482713 w 513005"/>
                <a:gd name="connsiteY3-242" fmla="*/ 473392 h 1158240"/>
                <a:gd name="connsiteX4-243" fmla="*/ 492238 w 513005"/>
                <a:gd name="connsiteY4-244" fmla="*/ 0 h 1158240"/>
                <a:gd name="connsiteX0-245" fmla="*/ 7415 w 506000"/>
                <a:gd name="connsiteY0-246" fmla="*/ 1158240 h 1158240"/>
                <a:gd name="connsiteX1-247" fmla="*/ 2970 w 506000"/>
                <a:gd name="connsiteY1-248" fmla="*/ 680719 h 1158240"/>
                <a:gd name="connsiteX2-249" fmla="*/ 121398 w 506000"/>
                <a:gd name="connsiteY2-250" fmla="*/ 525780 h 1158240"/>
                <a:gd name="connsiteX3-251" fmla="*/ 482713 w 506000"/>
                <a:gd name="connsiteY3-252" fmla="*/ 473392 h 1158240"/>
                <a:gd name="connsiteX4-253" fmla="*/ 492238 w 506000"/>
                <a:gd name="connsiteY4-254" fmla="*/ 0 h 1158240"/>
                <a:gd name="connsiteX0-255" fmla="*/ 7415 w 517650"/>
                <a:gd name="connsiteY0-256" fmla="*/ 1158240 h 1158240"/>
                <a:gd name="connsiteX1-257" fmla="*/ 2970 w 517650"/>
                <a:gd name="connsiteY1-258" fmla="*/ 680719 h 1158240"/>
                <a:gd name="connsiteX2-259" fmla="*/ 121398 w 517650"/>
                <a:gd name="connsiteY2-260" fmla="*/ 525780 h 1158240"/>
                <a:gd name="connsiteX3-261" fmla="*/ 482713 w 517650"/>
                <a:gd name="connsiteY3-262" fmla="*/ 473392 h 1158240"/>
                <a:gd name="connsiteX4-263" fmla="*/ 504621 w 517650"/>
                <a:gd name="connsiteY4-264" fmla="*/ 350520 h 1158240"/>
                <a:gd name="connsiteX5" fmla="*/ 492238 w 517650"/>
                <a:gd name="connsiteY5" fmla="*/ 0 h 1158240"/>
                <a:gd name="connsiteX0-265" fmla="*/ 7415 w 506303"/>
                <a:gd name="connsiteY0-266" fmla="*/ 1158240 h 1158240"/>
                <a:gd name="connsiteX1-267" fmla="*/ 2970 w 506303"/>
                <a:gd name="connsiteY1-268" fmla="*/ 680719 h 1158240"/>
                <a:gd name="connsiteX2-269" fmla="*/ 121398 w 506303"/>
                <a:gd name="connsiteY2-270" fmla="*/ 525780 h 1158240"/>
                <a:gd name="connsiteX3-271" fmla="*/ 458901 w 506303"/>
                <a:gd name="connsiteY3-272" fmla="*/ 482917 h 1158240"/>
                <a:gd name="connsiteX4-273" fmla="*/ 504621 w 506303"/>
                <a:gd name="connsiteY4-274" fmla="*/ 350520 h 1158240"/>
                <a:gd name="connsiteX5-275" fmla="*/ 492238 w 506303"/>
                <a:gd name="connsiteY5-276" fmla="*/ 0 h 1158240"/>
                <a:gd name="connsiteX0-277" fmla="*/ 7415 w 504766"/>
                <a:gd name="connsiteY0-278" fmla="*/ 1158240 h 1158240"/>
                <a:gd name="connsiteX1-279" fmla="*/ 2970 w 504766"/>
                <a:gd name="connsiteY1-280" fmla="*/ 680719 h 1158240"/>
                <a:gd name="connsiteX2-281" fmla="*/ 121398 w 504766"/>
                <a:gd name="connsiteY2-282" fmla="*/ 525780 h 1158240"/>
                <a:gd name="connsiteX3-283" fmla="*/ 444613 w 504766"/>
                <a:gd name="connsiteY3-284" fmla="*/ 482917 h 1158240"/>
                <a:gd name="connsiteX4-285" fmla="*/ 504621 w 504766"/>
                <a:gd name="connsiteY4-286" fmla="*/ 350520 h 1158240"/>
                <a:gd name="connsiteX5-287" fmla="*/ 492238 w 504766"/>
                <a:gd name="connsiteY5-288" fmla="*/ 0 h 1158240"/>
                <a:gd name="connsiteX0-289" fmla="*/ 7415 w 507328"/>
                <a:gd name="connsiteY0-290" fmla="*/ 1163003 h 1163003"/>
                <a:gd name="connsiteX1-291" fmla="*/ 2970 w 507328"/>
                <a:gd name="connsiteY1-292" fmla="*/ 685482 h 1163003"/>
                <a:gd name="connsiteX2-293" fmla="*/ 121398 w 507328"/>
                <a:gd name="connsiteY2-294" fmla="*/ 530543 h 1163003"/>
                <a:gd name="connsiteX3-295" fmla="*/ 444613 w 507328"/>
                <a:gd name="connsiteY3-296" fmla="*/ 487680 h 1163003"/>
                <a:gd name="connsiteX4-297" fmla="*/ 504621 w 507328"/>
                <a:gd name="connsiteY4-298" fmla="*/ 355283 h 1163003"/>
                <a:gd name="connsiteX5-299" fmla="*/ 506525 w 507328"/>
                <a:gd name="connsiteY5-300" fmla="*/ 0 h 1163003"/>
                <a:gd name="connsiteX0-301" fmla="*/ 7415 w 507328"/>
                <a:gd name="connsiteY0-302" fmla="*/ 1163003 h 1163003"/>
                <a:gd name="connsiteX1-303" fmla="*/ 2970 w 507328"/>
                <a:gd name="connsiteY1-304" fmla="*/ 685482 h 1163003"/>
                <a:gd name="connsiteX2-305" fmla="*/ 121398 w 507328"/>
                <a:gd name="connsiteY2-306" fmla="*/ 530543 h 1163003"/>
                <a:gd name="connsiteX3-307" fmla="*/ 444613 w 507328"/>
                <a:gd name="connsiteY3-308" fmla="*/ 487680 h 1163003"/>
                <a:gd name="connsiteX4-309" fmla="*/ 504621 w 507328"/>
                <a:gd name="connsiteY4-310" fmla="*/ 355283 h 1163003"/>
                <a:gd name="connsiteX5-311" fmla="*/ 506525 w 507328"/>
                <a:gd name="connsiteY5-312" fmla="*/ 0 h 1163003"/>
                <a:gd name="connsiteX0-313" fmla="*/ 7415 w 507328"/>
                <a:gd name="connsiteY0-314" fmla="*/ 1163003 h 1163003"/>
                <a:gd name="connsiteX1-315" fmla="*/ 2970 w 507328"/>
                <a:gd name="connsiteY1-316" fmla="*/ 685482 h 1163003"/>
                <a:gd name="connsiteX2-317" fmla="*/ 121398 w 507328"/>
                <a:gd name="connsiteY2-318" fmla="*/ 530543 h 1163003"/>
                <a:gd name="connsiteX3-319" fmla="*/ 444613 w 507328"/>
                <a:gd name="connsiteY3-320" fmla="*/ 487680 h 1163003"/>
                <a:gd name="connsiteX4-321" fmla="*/ 504621 w 507328"/>
                <a:gd name="connsiteY4-322" fmla="*/ 355283 h 1163003"/>
                <a:gd name="connsiteX5-323" fmla="*/ 506525 w 507328"/>
                <a:gd name="connsiteY5-324" fmla="*/ 0 h 1163003"/>
                <a:gd name="connsiteX0-325" fmla="*/ 7415 w 507328"/>
                <a:gd name="connsiteY0-326" fmla="*/ 1163003 h 1163003"/>
                <a:gd name="connsiteX1-327" fmla="*/ 2970 w 507328"/>
                <a:gd name="connsiteY1-328" fmla="*/ 685482 h 1163003"/>
                <a:gd name="connsiteX2-329" fmla="*/ 121398 w 507328"/>
                <a:gd name="connsiteY2-330" fmla="*/ 530543 h 1163003"/>
                <a:gd name="connsiteX3-331" fmla="*/ 444613 w 507328"/>
                <a:gd name="connsiteY3-332" fmla="*/ 516255 h 1163003"/>
                <a:gd name="connsiteX4-333" fmla="*/ 504621 w 507328"/>
                <a:gd name="connsiteY4-334" fmla="*/ 355283 h 1163003"/>
                <a:gd name="connsiteX5-335" fmla="*/ 506525 w 507328"/>
                <a:gd name="connsiteY5-336" fmla="*/ 0 h 1163003"/>
                <a:gd name="connsiteX0-337" fmla="*/ 7415 w 507328"/>
                <a:gd name="connsiteY0-338" fmla="*/ 1163003 h 1163003"/>
                <a:gd name="connsiteX1-339" fmla="*/ 2970 w 507328"/>
                <a:gd name="connsiteY1-340" fmla="*/ 685482 h 1163003"/>
                <a:gd name="connsiteX2-341" fmla="*/ 121398 w 507328"/>
                <a:gd name="connsiteY2-342" fmla="*/ 530543 h 1163003"/>
                <a:gd name="connsiteX3-343" fmla="*/ 444613 w 507328"/>
                <a:gd name="connsiteY3-344" fmla="*/ 516255 h 1163003"/>
                <a:gd name="connsiteX4-345" fmla="*/ 504621 w 507328"/>
                <a:gd name="connsiteY4-346" fmla="*/ 355283 h 1163003"/>
                <a:gd name="connsiteX5-347" fmla="*/ 506525 w 507328"/>
                <a:gd name="connsiteY5-348" fmla="*/ 0 h 1163003"/>
                <a:gd name="connsiteX0-349" fmla="*/ 7415 w 507328"/>
                <a:gd name="connsiteY0-350" fmla="*/ 1163003 h 1163003"/>
                <a:gd name="connsiteX1-351" fmla="*/ 2970 w 507328"/>
                <a:gd name="connsiteY1-352" fmla="*/ 685482 h 1163003"/>
                <a:gd name="connsiteX2-353" fmla="*/ 121398 w 507328"/>
                <a:gd name="connsiteY2-354" fmla="*/ 530543 h 1163003"/>
                <a:gd name="connsiteX3-355" fmla="*/ 411275 w 507328"/>
                <a:gd name="connsiteY3-356" fmla="*/ 511492 h 1163003"/>
                <a:gd name="connsiteX4-357" fmla="*/ 504621 w 507328"/>
                <a:gd name="connsiteY4-358" fmla="*/ 355283 h 1163003"/>
                <a:gd name="connsiteX5-359" fmla="*/ 506525 w 507328"/>
                <a:gd name="connsiteY5-360" fmla="*/ 0 h 1163003"/>
                <a:gd name="connsiteX0-361" fmla="*/ 7415 w 507328"/>
                <a:gd name="connsiteY0-362" fmla="*/ 1163003 h 1163003"/>
                <a:gd name="connsiteX1-363" fmla="*/ 2970 w 507328"/>
                <a:gd name="connsiteY1-364" fmla="*/ 666432 h 1163003"/>
                <a:gd name="connsiteX2-365" fmla="*/ 121398 w 507328"/>
                <a:gd name="connsiteY2-366" fmla="*/ 530543 h 1163003"/>
                <a:gd name="connsiteX3-367" fmla="*/ 411275 w 507328"/>
                <a:gd name="connsiteY3-368" fmla="*/ 511492 h 1163003"/>
                <a:gd name="connsiteX4-369" fmla="*/ 504621 w 507328"/>
                <a:gd name="connsiteY4-370" fmla="*/ 355283 h 1163003"/>
                <a:gd name="connsiteX5-371" fmla="*/ 506525 w 507328"/>
                <a:gd name="connsiteY5-372" fmla="*/ 0 h 1163003"/>
                <a:gd name="connsiteX0-373" fmla="*/ 4679 w 504592"/>
                <a:gd name="connsiteY0-374" fmla="*/ 1163003 h 1163003"/>
                <a:gd name="connsiteX1-375" fmla="*/ 234 w 504592"/>
                <a:gd name="connsiteY1-376" fmla="*/ 666432 h 1163003"/>
                <a:gd name="connsiteX2-377" fmla="*/ 118662 w 504592"/>
                <a:gd name="connsiteY2-378" fmla="*/ 530543 h 1163003"/>
                <a:gd name="connsiteX3-379" fmla="*/ 408539 w 504592"/>
                <a:gd name="connsiteY3-380" fmla="*/ 511492 h 1163003"/>
                <a:gd name="connsiteX4-381" fmla="*/ 501885 w 504592"/>
                <a:gd name="connsiteY4-382" fmla="*/ 355283 h 1163003"/>
                <a:gd name="connsiteX5-383" fmla="*/ 503789 w 504592"/>
                <a:gd name="connsiteY5-384" fmla="*/ 0 h 1163003"/>
                <a:gd name="connsiteX0-385" fmla="*/ 4679 w 504592"/>
                <a:gd name="connsiteY0-386" fmla="*/ 1163003 h 1163003"/>
                <a:gd name="connsiteX1-387" fmla="*/ 234 w 504592"/>
                <a:gd name="connsiteY1-388" fmla="*/ 666432 h 1163003"/>
                <a:gd name="connsiteX2-389" fmla="*/ 118662 w 504592"/>
                <a:gd name="connsiteY2-390" fmla="*/ 530543 h 1163003"/>
                <a:gd name="connsiteX3-391" fmla="*/ 408539 w 504592"/>
                <a:gd name="connsiteY3-392" fmla="*/ 511492 h 1163003"/>
                <a:gd name="connsiteX4-393" fmla="*/ 501885 w 504592"/>
                <a:gd name="connsiteY4-394" fmla="*/ 355283 h 1163003"/>
                <a:gd name="connsiteX5-395" fmla="*/ 503789 w 504592"/>
                <a:gd name="connsiteY5-396" fmla="*/ 0 h 1163003"/>
                <a:gd name="connsiteX0-397" fmla="*/ 4679 w 504592"/>
                <a:gd name="connsiteY0-398" fmla="*/ 1163003 h 1163003"/>
                <a:gd name="connsiteX1-399" fmla="*/ 234 w 504592"/>
                <a:gd name="connsiteY1-400" fmla="*/ 666432 h 1163003"/>
                <a:gd name="connsiteX2-401" fmla="*/ 118662 w 504592"/>
                <a:gd name="connsiteY2-402" fmla="*/ 530543 h 1163003"/>
                <a:gd name="connsiteX3-403" fmla="*/ 408539 w 504592"/>
                <a:gd name="connsiteY3-404" fmla="*/ 511492 h 1163003"/>
                <a:gd name="connsiteX4-405" fmla="*/ 501885 w 504592"/>
                <a:gd name="connsiteY4-406" fmla="*/ 355283 h 1163003"/>
                <a:gd name="connsiteX5-407" fmla="*/ 503789 w 504592"/>
                <a:gd name="connsiteY5-408" fmla="*/ 0 h 1163003"/>
                <a:gd name="connsiteX0-409" fmla="*/ 4679 w 504592"/>
                <a:gd name="connsiteY0-410" fmla="*/ 1163003 h 1163003"/>
                <a:gd name="connsiteX1-411" fmla="*/ 234 w 504592"/>
                <a:gd name="connsiteY1-412" fmla="*/ 666432 h 1163003"/>
                <a:gd name="connsiteX2-413" fmla="*/ 118662 w 504592"/>
                <a:gd name="connsiteY2-414" fmla="*/ 530543 h 1163003"/>
                <a:gd name="connsiteX3-415" fmla="*/ 408539 w 504592"/>
                <a:gd name="connsiteY3-416" fmla="*/ 535305 h 1163003"/>
                <a:gd name="connsiteX4-417" fmla="*/ 501885 w 504592"/>
                <a:gd name="connsiteY4-418" fmla="*/ 355283 h 1163003"/>
                <a:gd name="connsiteX5-419" fmla="*/ 503789 w 504592"/>
                <a:gd name="connsiteY5-420" fmla="*/ 0 h 1163003"/>
                <a:gd name="connsiteX0-421" fmla="*/ 4679 w 504592"/>
                <a:gd name="connsiteY0-422" fmla="*/ 1163003 h 1163003"/>
                <a:gd name="connsiteX1-423" fmla="*/ 234 w 504592"/>
                <a:gd name="connsiteY1-424" fmla="*/ 666432 h 1163003"/>
                <a:gd name="connsiteX2-425" fmla="*/ 118662 w 504592"/>
                <a:gd name="connsiteY2-426" fmla="*/ 530543 h 1163003"/>
                <a:gd name="connsiteX3-427" fmla="*/ 403777 w 504592"/>
                <a:gd name="connsiteY3-428" fmla="*/ 525780 h 1163003"/>
                <a:gd name="connsiteX4-429" fmla="*/ 501885 w 504592"/>
                <a:gd name="connsiteY4-430" fmla="*/ 355283 h 1163003"/>
                <a:gd name="connsiteX5-431" fmla="*/ 503789 w 504592"/>
                <a:gd name="connsiteY5-432" fmla="*/ 0 h 1163003"/>
                <a:gd name="connsiteX0-433" fmla="*/ 4679 w 504592"/>
                <a:gd name="connsiteY0-434" fmla="*/ 1163003 h 1163003"/>
                <a:gd name="connsiteX1-435" fmla="*/ 234 w 504592"/>
                <a:gd name="connsiteY1-436" fmla="*/ 666432 h 1163003"/>
                <a:gd name="connsiteX2-437" fmla="*/ 118662 w 504592"/>
                <a:gd name="connsiteY2-438" fmla="*/ 530543 h 1163003"/>
                <a:gd name="connsiteX3-439" fmla="*/ 403777 w 504592"/>
                <a:gd name="connsiteY3-440" fmla="*/ 525780 h 1163003"/>
                <a:gd name="connsiteX4-441" fmla="*/ 501885 w 504592"/>
                <a:gd name="connsiteY4-442" fmla="*/ 355283 h 1163003"/>
                <a:gd name="connsiteX5-443" fmla="*/ 503789 w 504592"/>
                <a:gd name="connsiteY5-444" fmla="*/ 0 h 1163003"/>
                <a:gd name="connsiteX0-445" fmla="*/ 7177 w 507090"/>
                <a:gd name="connsiteY0-446" fmla="*/ 1163003 h 1163003"/>
                <a:gd name="connsiteX1-447" fmla="*/ 2732 w 507090"/>
                <a:gd name="connsiteY1-448" fmla="*/ 666432 h 1163003"/>
                <a:gd name="connsiteX2-449" fmla="*/ 121160 w 507090"/>
                <a:gd name="connsiteY2-450" fmla="*/ 530543 h 1163003"/>
                <a:gd name="connsiteX3-451" fmla="*/ 406275 w 507090"/>
                <a:gd name="connsiteY3-452" fmla="*/ 525780 h 1163003"/>
                <a:gd name="connsiteX4-453" fmla="*/ 504383 w 507090"/>
                <a:gd name="connsiteY4-454" fmla="*/ 355283 h 1163003"/>
                <a:gd name="connsiteX5-455" fmla="*/ 506287 w 507090"/>
                <a:gd name="connsiteY5-456" fmla="*/ 0 h 1163003"/>
                <a:gd name="connsiteX0-457" fmla="*/ 7177 w 507090"/>
                <a:gd name="connsiteY0-458" fmla="*/ 1163003 h 1163003"/>
                <a:gd name="connsiteX1-459" fmla="*/ 2732 w 507090"/>
                <a:gd name="connsiteY1-460" fmla="*/ 666432 h 1163003"/>
                <a:gd name="connsiteX2-461" fmla="*/ 121160 w 507090"/>
                <a:gd name="connsiteY2-462" fmla="*/ 530543 h 1163003"/>
                <a:gd name="connsiteX3-463" fmla="*/ 406275 w 507090"/>
                <a:gd name="connsiteY3-464" fmla="*/ 525780 h 1163003"/>
                <a:gd name="connsiteX4-465" fmla="*/ 504383 w 507090"/>
                <a:gd name="connsiteY4-466" fmla="*/ 355283 h 1163003"/>
                <a:gd name="connsiteX5-467" fmla="*/ 506287 w 507090"/>
                <a:gd name="connsiteY5-468" fmla="*/ 0 h 1163003"/>
                <a:gd name="connsiteX0-469" fmla="*/ 7177 w 507090"/>
                <a:gd name="connsiteY0-470" fmla="*/ 1163003 h 1163003"/>
                <a:gd name="connsiteX1-471" fmla="*/ 2732 w 507090"/>
                <a:gd name="connsiteY1-472" fmla="*/ 666432 h 1163003"/>
                <a:gd name="connsiteX2-473" fmla="*/ 121160 w 507090"/>
                <a:gd name="connsiteY2-474" fmla="*/ 530543 h 1163003"/>
                <a:gd name="connsiteX3-475" fmla="*/ 406275 w 507090"/>
                <a:gd name="connsiteY3-476" fmla="*/ 525780 h 1163003"/>
                <a:gd name="connsiteX4-477" fmla="*/ 504383 w 507090"/>
                <a:gd name="connsiteY4-478" fmla="*/ 355283 h 1163003"/>
                <a:gd name="connsiteX5-479" fmla="*/ 506287 w 507090"/>
                <a:gd name="connsiteY5-480" fmla="*/ 0 h 1163003"/>
                <a:gd name="connsiteX0-481" fmla="*/ 7177 w 507090"/>
                <a:gd name="connsiteY0-482" fmla="*/ 1163003 h 1163003"/>
                <a:gd name="connsiteX1-483" fmla="*/ 2732 w 507090"/>
                <a:gd name="connsiteY1-484" fmla="*/ 666432 h 1163003"/>
                <a:gd name="connsiteX2-485" fmla="*/ 121160 w 507090"/>
                <a:gd name="connsiteY2-486" fmla="*/ 530543 h 1163003"/>
                <a:gd name="connsiteX3-487" fmla="*/ 406275 w 507090"/>
                <a:gd name="connsiteY3-488" fmla="*/ 525780 h 1163003"/>
                <a:gd name="connsiteX4-489" fmla="*/ 504383 w 507090"/>
                <a:gd name="connsiteY4-490" fmla="*/ 355283 h 1163003"/>
                <a:gd name="connsiteX5-491" fmla="*/ 506287 w 507090"/>
                <a:gd name="connsiteY5-492" fmla="*/ 0 h 1163003"/>
                <a:gd name="connsiteX0-493" fmla="*/ 10856 w 515532"/>
                <a:gd name="connsiteY0-494" fmla="*/ 1048703 h 1048703"/>
                <a:gd name="connsiteX1-495" fmla="*/ 11174 w 515532"/>
                <a:gd name="connsiteY1-496" fmla="*/ 666432 h 1048703"/>
                <a:gd name="connsiteX2-497" fmla="*/ 129602 w 515532"/>
                <a:gd name="connsiteY2-498" fmla="*/ 530543 h 1048703"/>
                <a:gd name="connsiteX3-499" fmla="*/ 414717 w 515532"/>
                <a:gd name="connsiteY3-500" fmla="*/ 525780 h 1048703"/>
                <a:gd name="connsiteX4-501" fmla="*/ 512825 w 515532"/>
                <a:gd name="connsiteY4-502" fmla="*/ 355283 h 1048703"/>
                <a:gd name="connsiteX5-503" fmla="*/ 514729 w 515532"/>
                <a:gd name="connsiteY5-504" fmla="*/ 0 h 1048703"/>
                <a:gd name="connsiteX0-505" fmla="*/ 3023 w 507699"/>
                <a:gd name="connsiteY0-506" fmla="*/ 1048703 h 1048703"/>
                <a:gd name="connsiteX1-507" fmla="*/ 3341 w 507699"/>
                <a:gd name="connsiteY1-508" fmla="*/ 666432 h 1048703"/>
                <a:gd name="connsiteX2-509" fmla="*/ 121769 w 507699"/>
                <a:gd name="connsiteY2-510" fmla="*/ 530543 h 1048703"/>
                <a:gd name="connsiteX3-511" fmla="*/ 406884 w 507699"/>
                <a:gd name="connsiteY3-512" fmla="*/ 525780 h 1048703"/>
                <a:gd name="connsiteX4-513" fmla="*/ 504992 w 507699"/>
                <a:gd name="connsiteY4-514" fmla="*/ 355283 h 1048703"/>
                <a:gd name="connsiteX5-515" fmla="*/ 506896 w 507699"/>
                <a:gd name="connsiteY5-516" fmla="*/ 0 h 1048703"/>
                <a:gd name="connsiteX0-517" fmla="*/ 10856 w 515532"/>
                <a:gd name="connsiteY0-518" fmla="*/ 1048703 h 1048703"/>
                <a:gd name="connsiteX1-519" fmla="*/ 11174 w 515532"/>
                <a:gd name="connsiteY1-520" fmla="*/ 666432 h 1048703"/>
                <a:gd name="connsiteX2-521" fmla="*/ 129602 w 515532"/>
                <a:gd name="connsiteY2-522" fmla="*/ 530543 h 1048703"/>
                <a:gd name="connsiteX3-523" fmla="*/ 414717 w 515532"/>
                <a:gd name="connsiteY3-524" fmla="*/ 525780 h 1048703"/>
                <a:gd name="connsiteX4-525" fmla="*/ 512825 w 515532"/>
                <a:gd name="connsiteY4-526" fmla="*/ 355283 h 1048703"/>
                <a:gd name="connsiteX5-527" fmla="*/ 514729 w 515532"/>
                <a:gd name="connsiteY5-528" fmla="*/ 0 h 1048703"/>
                <a:gd name="connsiteX0-529" fmla="*/ 5191 w 509867"/>
                <a:gd name="connsiteY0-530" fmla="*/ 1048703 h 1048703"/>
                <a:gd name="connsiteX1-531" fmla="*/ 5509 w 509867"/>
                <a:gd name="connsiteY1-532" fmla="*/ 666432 h 1048703"/>
                <a:gd name="connsiteX2-533" fmla="*/ 123937 w 509867"/>
                <a:gd name="connsiteY2-534" fmla="*/ 530543 h 1048703"/>
                <a:gd name="connsiteX3-535" fmla="*/ 409052 w 509867"/>
                <a:gd name="connsiteY3-536" fmla="*/ 525780 h 1048703"/>
                <a:gd name="connsiteX4-537" fmla="*/ 507160 w 509867"/>
                <a:gd name="connsiteY4-538" fmla="*/ 355283 h 1048703"/>
                <a:gd name="connsiteX5-539" fmla="*/ 509064 w 509867"/>
                <a:gd name="connsiteY5-540" fmla="*/ 0 h 1048703"/>
                <a:gd name="connsiteX0-541" fmla="*/ 15252 w 512784"/>
                <a:gd name="connsiteY0-542" fmla="*/ 1043940 h 1043940"/>
                <a:gd name="connsiteX1-543" fmla="*/ 8426 w 512784"/>
                <a:gd name="connsiteY1-544" fmla="*/ 666432 h 1043940"/>
                <a:gd name="connsiteX2-545" fmla="*/ 126854 w 512784"/>
                <a:gd name="connsiteY2-546" fmla="*/ 530543 h 1043940"/>
                <a:gd name="connsiteX3-547" fmla="*/ 411969 w 512784"/>
                <a:gd name="connsiteY3-548" fmla="*/ 525780 h 1043940"/>
                <a:gd name="connsiteX4-549" fmla="*/ 510077 w 512784"/>
                <a:gd name="connsiteY4-550" fmla="*/ 355283 h 1043940"/>
                <a:gd name="connsiteX5-551" fmla="*/ 511981 w 512784"/>
                <a:gd name="connsiteY5-552" fmla="*/ 0 h 1043940"/>
                <a:gd name="connsiteX0-553" fmla="*/ 6948 w 504480"/>
                <a:gd name="connsiteY0-554" fmla="*/ 1043940 h 1043940"/>
                <a:gd name="connsiteX1-555" fmla="*/ 122 w 504480"/>
                <a:gd name="connsiteY1-556" fmla="*/ 666432 h 1043940"/>
                <a:gd name="connsiteX2-557" fmla="*/ 118550 w 504480"/>
                <a:gd name="connsiteY2-558" fmla="*/ 530543 h 1043940"/>
                <a:gd name="connsiteX3-559" fmla="*/ 403665 w 504480"/>
                <a:gd name="connsiteY3-560" fmla="*/ 525780 h 1043940"/>
                <a:gd name="connsiteX4-561" fmla="*/ 501773 w 504480"/>
                <a:gd name="connsiteY4-562" fmla="*/ 355283 h 1043940"/>
                <a:gd name="connsiteX5-563" fmla="*/ 503677 w 504480"/>
                <a:gd name="connsiteY5-564" fmla="*/ 0 h 1043940"/>
                <a:gd name="connsiteX0-565" fmla="*/ 6830 w 504362"/>
                <a:gd name="connsiteY0-566" fmla="*/ 1043940 h 1043940"/>
                <a:gd name="connsiteX1-567" fmla="*/ 4 w 504362"/>
                <a:gd name="connsiteY1-568" fmla="*/ 666432 h 1043940"/>
                <a:gd name="connsiteX2-569" fmla="*/ 118432 w 504362"/>
                <a:gd name="connsiteY2-570" fmla="*/ 530543 h 1043940"/>
                <a:gd name="connsiteX3-571" fmla="*/ 403547 w 504362"/>
                <a:gd name="connsiteY3-572" fmla="*/ 525780 h 1043940"/>
                <a:gd name="connsiteX4-573" fmla="*/ 501655 w 504362"/>
                <a:gd name="connsiteY4-574" fmla="*/ 355283 h 1043940"/>
                <a:gd name="connsiteX5-575" fmla="*/ 503559 w 504362"/>
                <a:gd name="connsiteY5-576" fmla="*/ 0 h 1043940"/>
                <a:gd name="connsiteX0-577" fmla="*/ 6871 w 504403"/>
                <a:gd name="connsiteY0-578" fmla="*/ 1043940 h 1043940"/>
                <a:gd name="connsiteX1-579" fmla="*/ 45 w 504403"/>
                <a:gd name="connsiteY1-580" fmla="*/ 666432 h 1043940"/>
                <a:gd name="connsiteX2-581" fmla="*/ 118473 w 504403"/>
                <a:gd name="connsiteY2-582" fmla="*/ 530543 h 1043940"/>
                <a:gd name="connsiteX3-583" fmla="*/ 403588 w 504403"/>
                <a:gd name="connsiteY3-584" fmla="*/ 525780 h 1043940"/>
                <a:gd name="connsiteX4-585" fmla="*/ 501696 w 504403"/>
                <a:gd name="connsiteY4-586" fmla="*/ 355283 h 1043940"/>
                <a:gd name="connsiteX5-587" fmla="*/ 503600 w 504403"/>
                <a:gd name="connsiteY5-588" fmla="*/ 0 h 1043940"/>
              </a:gdLst>
              <a:ahLst/>
              <a:cxnLst>
                <a:cxn ang="0">
                  <a:pos x="connsiteX0-1" y="connsiteY0-2"/>
                </a:cxn>
                <a:cxn ang="0">
                  <a:pos x="connsiteX1-3" y="connsiteY1-4"/>
                </a:cxn>
                <a:cxn ang="0">
                  <a:pos x="connsiteX2-5" y="connsiteY2-6"/>
                </a:cxn>
                <a:cxn ang="0">
                  <a:pos x="connsiteX3-7" y="connsiteY3-8"/>
                </a:cxn>
                <a:cxn ang="0">
                  <a:pos x="connsiteX4-33" y="connsiteY4-34"/>
                </a:cxn>
                <a:cxn ang="0">
                  <a:pos x="connsiteX5-275" y="connsiteY5-276"/>
                </a:cxn>
              </a:cxnLst>
              <a:rect l="l" t="t" r="r" b="b"/>
              <a:pathLst>
                <a:path w="504403" h="1043940">
                  <a:moveTo>
                    <a:pt x="6871" y="1043940"/>
                  </a:moveTo>
                  <a:cubicBezTo>
                    <a:pt x="-1807" y="623041"/>
                    <a:pt x="318" y="751999"/>
                    <a:pt x="45" y="666432"/>
                  </a:cubicBezTo>
                  <a:cubicBezTo>
                    <a:pt x="-416" y="521719"/>
                    <a:pt x="46453" y="534935"/>
                    <a:pt x="118473" y="530543"/>
                  </a:cubicBezTo>
                  <a:cubicBezTo>
                    <a:pt x="190493" y="526151"/>
                    <a:pt x="315905" y="526415"/>
                    <a:pt x="403588" y="525780"/>
                  </a:cubicBezTo>
                  <a:cubicBezTo>
                    <a:pt x="491271" y="525145"/>
                    <a:pt x="504870" y="496095"/>
                    <a:pt x="501696" y="355283"/>
                  </a:cubicBezTo>
                  <a:cubicBezTo>
                    <a:pt x="503284" y="276384"/>
                    <a:pt x="505664" y="58420"/>
                    <a:pt x="503600" y="0"/>
                  </a:cubicBezTo>
                </a:path>
              </a:pathLst>
            </a:cu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grpSp>
      <p:grpSp>
        <p:nvGrpSpPr>
          <p:cNvPr id="77" name="组合 76"/>
          <p:cNvGrpSpPr/>
          <p:nvPr/>
        </p:nvGrpSpPr>
        <p:grpSpPr>
          <a:xfrm>
            <a:off x="5159102" y="1556792"/>
            <a:ext cx="792088" cy="792088"/>
            <a:chOff x="5159102" y="1556792"/>
            <a:chExt cx="792088" cy="792088"/>
          </a:xfrm>
        </p:grpSpPr>
        <p:sp>
          <p:nvSpPr>
            <p:cNvPr id="55" name="椭圆 54"/>
            <p:cNvSpPr/>
            <p:nvPr/>
          </p:nvSpPr>
          <p:spPr>
            <a:xfrm>
              <a:off x="5159102" y="1556792"/>
              <a:ext cx="792088" cy="792088"/>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2" name="心形 51"/>
            <p:cNvSpPr/>
            <p:nvPr/>
          </p:nvSpPr>
          <p:spPr>
            <a:xfrm>
              <a:off x="5303118" y="1755307"/>
              <a:ext cx="504056" cy="449557"/>
            </a:xfrm>
            <a:prstGeom prst="hear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78" name="组合 77"/>
          <p:cNvGrpSpPr/>
          <p:nvPr/>
        </p:nvGrpSpPr>
        <p:grpSpPr>
          <a:xfrm>
            <a:off x="7841553" y="1556792"/>
            <a:ext cx="792088" cy="792088"/>
            <a:chOff x="7841553" y="1556792"/>
            <a:chExt cx="792088" cy="792088"/>
          </a:xfrm>
        </p:grpSpPr>
        <p:sp>
          <p:nvSpPr>
            <p:cNvPr id="61" name="椭圆 60"/>
            <p:cNvSpPr/>
            <p:nvPr/>
          </p:nvSpPr>
          <p:spPr>
            <a:xfrm>
              <a:off x="7841553" y="1556792"/>
              <a:ext cx="792088" cy="792088"/>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3" name="椭圆形标注 62"/>
            <p:cNvSpPr/>
            <p:nvPr/>
          </p:nvSpPr>
          <p:spPr>
            <a:xfrm>
              <a:off x="8015954" y="1759353"/>
              <a:ext cx="443286" cy="385963"/>
            </a:xfrm>
            <a:prstGeom prst="wedgeEllipseCallou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81" name="组合 80"/>
          <p:cNvGrpSpPr/>
          <p:nvPr/>
        </p:nvGrpSpPr>
        <p:grpSpPr>
          <a:xfrm>
            <a:off x="3919678" y="4719630"/>
            <a:ext cx="792088" cy="792088"/>
            <a:chOff x="3919678" y="4719630"/>
            <a:chExt cx="792088" cy="792088"/>
          </a:xfrm>
        </p:grpSpPr>
        <p:sp>
          <p:nvSpPr>
            <p:cNvPr id="50" name="椭圆 49"/>
            <p:cNvSpPr/>
            <p:nvPr/>
          </p:nvSpPr>
          <p:spPr>
            <a:xfrm flipV="1">
              <a:off x="3919678" y="4719630"/>
              <a:ext cx="792088" cy="792088"/>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65" name="组合 64"/>
            <p:cNvGrpSpPr/>
            <p:nvPr/>
          </p:nvGrpSpPr>
          <p:grpSpPr>
            <a:xfrm>
              <a:off x="4158358" y="4886644"/>
              <a:ext cx="314729" cy="458061"/>
              <a:chOff x="5690315" y="3674507"/>
              <a:chExt cx="314729" cy="458061"/>
            </a:xfrm>
          </p:grpSpPr>
          <p:sp>
            <p:nvSpPr>
              <p:cNvPr id="66" name="Freeform 36"/>
              <p:cNvSpPr/>
              <p:nvPr/>
            </p:nvSpPr>
            <p:spPr bwMode="auto">
              <a:xfrm flipH="1">
                <a:off x="5782528" y="4054387"/>
                <a:ext cx="130302" cy="78181"/>
              </a:xfrm>
              <a:custGeom>
                <a:avLst/>
                <a:gdLst>
                  <a:gd name="T0" fmla="*/ 73 w 80"/>
                  <a:gd name="T1" fmla="*/ 2 h 48"/>
                  <a:gd name="T2" fmla="*/ 44 w 80"/>
                  <a:gd name="T3" fmla="*/ 8 h 48"/>
                  <a:gd name="T4" fmla="*/ 40 w 80"/>
                  <a:gd name="T5" fmla="*/ 8 h 48"/>
                  <a:gd name="T6" fmla="*/ 36 w 80"/>
                  <a:gd name="T7" fmla="*/ 8 h 48"/>
                  <a:gd name="T8" fmla="*/ 7 w 80"/>
                  <a:gd name="T9" fmla="*/ 2 h 48"/>
                  <a:gd name="T10" fmla="*/ 0 w 80"/>
                  <a:gd name="T11" fmla="*/ 0 h 48"/>
                  <a:gd name="T12" fmla="*/ 0 w 80"/>
                  <a:gd name="T13" fmla="*/ 0 h 48"/>
                  <a:gd name="T14" fmla="*/ 40 w 80"/>
                  <a:gd name="T15" fmla="*/ 48 h 48"/>
                  <a:gd name="T16" fmla="*/ 80 w 80"/>
                  <a:gd name="T17" fmla="*/ 0 h 48"/>
                  <a:gd name="T18" fmla="*/ 80 w 80"/>
                  <a:gd name="T19" fmla="*/ 0 h 48"/>
                  <a:gd name="T20" fmla="*/ 73 w 80"/>
                  <a:gd name="T21" fmla="*/ 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0" h="48">
                    <a:moveTo>
                      <a:pt x="73" y="2"/>
                    </a:moveTo>
                    <a:cubicBezTo>
                      <a:pt x="65" y="5"/>
                      <a:pt x="55" y="7"/>
                      <a:pt x="44" y="8"/>
                    </a:cubicBezTo>
                    <a:cubicBezTo>
                      <a:pt x="42" y="8"/>
                      <a:pt x="41" y="8"/>
                      <a:pt x="40" y="8"/>
                    </a:cubicBezTo>
                    <a:cubicBezTo>
                      <a:pt x="39" y="8"/>
                      <a:pt x="38" y="8"/>
                      <a:pt x="36" y="8"/>
                    </a:cubicBezTo>
                    <a:cubicBezTo>
                      <a:pt x="25" y="7"/>
                      <a:pt x="15" y="5"/>
                      <a:pt x="7" y="2"/>
                    </a:cubicBezTo>
                    <a:cubicBezTo>
                      <a:pt x="3" y="1"/>
                      <a:pt x="0" y="0"/>
                      <a:pt x="0" y="0"/>
                    </a:cubicBezTo>
                    <a:cubicBezTo>
                      <a:pt x="0" y="0"/>
                      <a:pt x="0" y="0"/>
                      <a:pt x="0" y="0"/>
                    </a:cubicBezTo>
                    <a:cubicBezTo>
                      <a:pt x="0" y="27"/>
                      <a:pt x="13" y="48"/>
                      <a:pt x="40" y="48"/>
                    </a:cubicBezTo>
                    <a:cubicBezTo>
                      <a:pt x="67" y="48"/>
                      <a:pt x="80" y="27"/>
                      <a:pt x="80" y="0"/>
                    </a:cubicBezTo>
                    <a:cubicBezTo>
                      <a:pt x="80" y="0"/>
                      <a:pt x="80" y="0"/>
                      <a:pt x="80" y="0"/>
                    </a:cubicBezTo>
                    <a:cubicBezTo>
                      <a:pt x="80" y="0"/>
                      <a:pt x="77" y="1"/>
                      <a:pt x="73" y="2"/>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ysClr val="windowText" lastClr="000000"/>
                  </a:solidFill>
                  <a:effectLst/>
                  <a:uLnTx/>
                  <a:uFillTx/>
                  <a:latin typeface="Calibri" panose="020F0502020204030204"/>
                  <a:ea typeface="宋体" panose="02010600030101010101" pitchFamily="2" charset="-122"/>
                </a:endParaRPr>
              </a:p>
            </p:txBody>
          </p:sp>
          <p:sp>
            <p:nvSpPr>
              <p:cNvPr id="67" name="Freeform 37"/>
              <p:cNvSpPr>
                <a:spLocks noEditPoints="1"/>
              </p:cNvSpPr>
              <p:nvPr/>
            </p:nvSpPr>
            <p:spPr bwMode="auto">
              <a:xfrm flipH="1">
                <a:off x="5690315" y="3674507"/>
                <a:ext cx="314729" cy="366849"/>
              </a:xfrm>
              <a:custGeom>
                <a:avLst/>
                <a:gdLst>
                  <a:gd name="T0" fmla="*/ 96 w 192"/>
                  <a:gd name="T1" fmla="*/ 0 h 224"/>
                  <a:gd name="T2" fmla="*/ 0 w 192"/>
                  <a:gd name="T3" fmla="*/ 96 h 224"/>
                  <a:gd name="T4" fmla="*/ 48 w 192"/>
                  <a:gd name="T5" fmla="*/ 200 h 224"/>
                  <a:gd name="T6" fmla="*/ 67 w 192"/>
                  <a:gd name="T7" fmla="*/ 219 h 224"/>
                  <a:gd name="T8" fmla="*/ 90 w 192"/>
                  <a:gd name="T9" fmla="*/ 224 h 224"/>
                  <a:gd name="T10" fmla="*/ 96 w 192"/>
                  <a:gd name="T11" fmla="*/ 224 h 224"/>
                  <a:gd name="T12" fmla="*/ 125 w 192"/>
                  <a:gd name="T13" fmla="*/ 218 h 224"/>
                  <a:gd name="T14" fmla="*/ 144 w 192"/>
                  <a:gd name="T15" fmla="*/ 200 h 224"/>
                  <a:gd name="T16" fmla="*/ 192 w 192"/>
                  <a:gd name="T17" fmla="*/ 96 h 224"/>
                  <a:gd name="T18" fmla="*/ 96 w 192"/>
                  <a:gd name="T19" fmla="*/ 0 h 224"/>
                  <a:gd name="T20" fmla="*/ 113 w 192"/>
                  <a:gd name="T21" fmla="*/ 40 h 224"/>
                  <a:gd name="T22" fmla="*/ 31 w 192"/>
                  <a:gd name="T23" fmla="*/ 121 h 224"/>
                  <a:gd name="T24" fmla="*/ 31 w 192"/>
                  <a:gd name="T25" fmla="*/ 128 h 224"/>
                  <a:gd name="T26" fmla="*/ 24 w 192"/>
                  <a:gd name="T27" fmla="*/ 98 h 224"/>
                  <a:gd name="T28" fmla="*/ 99 w 192"/>
                  <a:gd name="T29" fmla="*/ 24 h 224"/>
                  <a:gd name="T30" fmla="*/ 160 w 192"/>
                  <a:gd name="T31" fmla="*/ 54 h 224"/>
                  <a:gd name="T32" fmla="*/ 113 w 192"/>
                  <a:gd name="T33" fmla="*/ 40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92" h="224">
                    <a:moveTo>
                      <a:pt x="96" y="0"/>
                    </a:moveTo>
                    <a:cubicBezTo>
                      <a:pt x="43" y="0"/>
                      <a:pt x="0" y="43"/>
                      <a:pt x="0" y="96"/>
                    </a:cubicBezTo>
                    <a:cubicBezTo>
                      <a:pt x="0" y="144"/>
                      <a:pt x="48" y="184"/>
                      <a:pt x="48" y="200"/>
                    </a:cubicBezTo>
                    <a:cubicBezTo>
                      <a:pt x="48" y="205"/>
                      <a:pt x="54" y="213"/>
                      <a:pt x="67" y="219"/>
                    </a:cubicBezTo>
                    <a:cubicBezTo>
                      <a:pt x="73" y="220"/>
                      <a:pt x="82" y="223"/>
                      <a:pt x="90" y="224"/>
                    </a:cubicBezTo>
                    <a:cubicBezTo>
                      <a:pt x="92" y="224"/>
                      <a:pt x="94" y="224"/>
                      <a:pt x="96" y="224"/>
                    </a:cubicBezTo>
                    <a:cubicBezTo>
                      <a:pt x="103" y="224"/>
                      <a:pt x="113" y="222"/>
                      <a:pt x="125" y="218"/>
                    </a:cubicBezTo>
                    <a:cubicBezTo>
                      <a:pt x="138" y="213"/>
                      <a:pt x="144" y="205"/>
                      <a:pt x="144" y="200"/>
                    </a:cubicBezTo>
                    <a:cubicBezTo>
                      <a:pt x="144" y="184"/>
                      <a:pt x="192" y="144"/>
                      <a:pt x="192" y="96"/>
                    </a:cubicBezTo>
                    <a:cubicBezTo>
                      <a:pt x="192" y="43"/>
                      <a:pt x="149" y="0"/>
                      <a:pt x="96" y="0"/>
                    </a:cubicBezTo>
                    <a:close/>
                    <a:moveTo>
                      <a:pt x="113" y="40"/>
                    </a:moveTo>
                    <a:cubicBezTo>
                      <a:pt x="68" y="40"/>
                      <a:pt x="31" y="76"/>
                      <a:pt x="31" y="121"/>
                    </a:cubicBezTo>
                    <a:cubicBezTo>
                      <a:pt x="31" y="123"/>
                      <a:pt x="31" y="126"/>
                      <a:pt x="31" y="128"/>
                    </a:cubicBezTo>
                    <a:cubicBezTo>
                      <a:pt x="27" y="119"/>
                      <a:pt x="24" y="109"/>
                      <a:pt x="24" y="98"/>
                    </a:cubicBezTo>
                    <a:cubicBezTo>
                      <a:pt x="24" y="57"/>
                      <a:pt x="58" y="24"/>
                      <a:pt x="99" y="24"/>
                    </a:cubicBezTo>
                    <a:cubicBezTo>
                      <a:pt x="124" y="24"/>
                      <a:pt x="146" y="36"/>
                      <a:pt x="160" y="54"/>
                    </a:cubicBezTo>
                    <a:cubicBezTo>
                      <a:pt x="147" y="45"/>
                      <a:pt x="131" y="40"/>
                      <a:pt x="113" y="40"/>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ysClr val="windowText" lastClr="000000"/>
                  </a:solidFill>
                  <a:effectLst/>
                  <a:uLnTx/>
                  <a:uFillTx/>
                  <a:latin typeface="Calibri" panose="020F0502020204030204"/>
                  <a:ea typeface="宋体" panose="02010600030101010101" pitchFamily="2" charset="-122"/>
                </a:endParaRPr>
              </a:p>
            </p:txBody>
          </p:sp>
        </p:grpSp>
      </p:grpSp>
      <p:grpSp>
        <p:nvGrpSpPr>
          <p:cNvPr id="64" name="组合 63"/>
          <p:cNvGrpSpPr/>
          <p:nvPr/>
        </p:nvGrpSpPr>
        <p:grpSpPr>
          <a:xfrm>
            <a:off x="3200028" y="1556792"/>
            <a:ext cx="792088" cy="792088"/>
            <a:chOff x="3200028" y="1556792"/>
            <a:chExt cx="792088" cy="792088"/>
          </a:xfrm>
        </p:grpSpPr>
        <p:sp>
          <p:nvSpPr>
            <p:cNvPr id="27" name="椭圆 26"/>
            <p:cNvSpPr/>
            <p:nvPr/>
          </p:nvSpPr>
          <p:spPr>
            <a:xfrm>
              <a:off x="3200028" y="1556792"/>
              <a:ext cx="792088" cy="792088"/>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68" name="组合 67"/>
            <p:cNvGrpSpPr/>
            <p:nvPr/>
          </p:nvGrpSpPr>
          <p:grpSpPr>
            <a:xfrm>
              <a:off x="3360527" y="1717291"/>
              <a:ext cx="471090" cy="471090"/>
              <a:chOff x="4334131" y="1343733"/>
              <a:chExt cx="471090" cy="471090"/>
            </a:xfrm>
          </p:grpSpPr>
          <p:sp>
            <p:nvSpPr>
              <p:cNvPr id="69" name="Freeform 17"/>
              <p:cNvSpPr>
                <a:spLocks noEditPoints="1"/>
              </p:cNvSpPr>
              <p:nvPr/>
            </p:nvSpPr>
            <p:spPr bwMode="auto">
              <a:xfrm flipH="1">
                <a:off x="4468442" y="1477042"/>
                <a:ext cx="202468" cy="203471"/>
              </a:xfrm>
              <a:custGeom>
                <a:avLst/>
                <a:gdLst>
                  <a:gd name="T0" fmla="*/ 124 w 124"/>
                  <a:gd name="T1" fmla="*/ 0 h 124"/>
                  <a:gd name="T2" fmla="*/ 39 w 124"/>
                  <a:gd name="T3" fmla="*/ 39 h 124"/>
                  <a:gd name="T4" fmla="*/ 0 w 124"/>
                  <a:gd name="T5" fmla="*/ 124 h 124"/>
                  <a:gd name="T6" fmla="*/ 85 w 124"/>
                  <a:gd name="T7" fmla="*/ 85 h 124"/>
                  <a:gd name="T8" fmla="*/ 124 w 124"/>
                  <a:gd name="T9" fmla="*/ 0 h 124"/>
                  <a:gd name="T10" fmla="*/ 62 w 124"/>
                  <a:gd name="T11" fmla="*/ 78 h 124"/>
                  <a:gd name="T12" fmla="*/ 46 w 124"/>
                  <a:gd name="T13" fmla="*/ 62 h 124"/>
                  <a:gd name="T14" fmla="*/ 62 w 124"/>
                  <a:gd name="T15" fmla="*/ 46 h 124"/>
                  <a:gd name="T16" fmla="*/ 78 w 124"/>
                  <a:gd name="T17" fmla="*/ 62 h 124"/>
                  <a:gd name="T18" fmla="*/ 62 w 124"/>
                  <a:gd name="T19" fmla="*/ 78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4" h="124">
                    <a:moveTo>
                      <a:pt x="124" y="0"/>
                    </a:moveTo>
                    <a:cubicBezTo>
                      <a:pt x="39" y="39"/>
                      <a:pt x="39" y="39"/>
                      <a:pt x="39" y="39"/>
                    </a:cubicBezTo>
                    <a:cubicBezTo>
                      <a:pt x="0" y="124"/>
                      <a:pt x="0" y="124"/>
                      <a:pt x="0" y="124"/>
                    </a:cubicBezTo>
                    <a:cubicBezTo>
                      <a:pt x="85" y="85"/>
                      <a:pt x="85" y="85"/>
                      <a:pt x="85" y="85"/>
                    </a:cubicBezTo>
                    <a:lnTo>
                      <a:pt x="124" y="0"/>
                    </a:lnTo>
                    <a:close/>
                    <a:moveTo>
                      <a:pt x="62" y="78"/>
                    </a:moveTo>
                    <a:cubicBezTo>
                      <a:pt x="53" y="78"/>
                      <a:pt x="46" y="71"/>
                      <a:pt x="46" y="62"/>
                    </a:cubicBezTo>
                    <a:cubicBezTo>
                      <a:pt x="46" y="53"/>
                      <a:pt x="53" y="46"/>
                      <a:pt x="62" y="46"/>
                    </a:cubicBezTo>
                    <a:cubicBezTo>
                      <a:pt x="71" y="46"/>
                      <a:pt x="78" y="53"/>
                      <a:pt x="78" y="62"/>
                    </a:cubicBezTo>
                    <a:cubicBezTo>
                      <a:pt x="78" y="71"/>
                      <a:pt x="71" y="78"/>
                      <a:pt x="62" y="78"/>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ysClr val="windowText" lastClr="000000"/>
                  </a:solidFill>
                  <a:effectLst/>
                  <a:uLnTx/>
                  <a:uFillTx/>
                  <a:latin typeface="Calibri" panose="020F0502020204030204"/>
                  <a:ea typeface="宋体" panose="02010600030101010101" pitchFamily="2" charset="-122"/>
                </a:endParaRPr>
              </a:p>
            </p:txBody>
          </p:sp>
          <p:sp>
            <p:nvSpPr>
              <p:cNvPr id="70" name="Freeform 18"/>
              <p:cNvSpPr>
                <a:spLocks noEditPoints="1"/>
              </p:cNvSpPr>
              <p:nvPr/>
            </p:nvSpPr>
            <p:spPr bwMode="auto">
              <a:xfrm flipH="1">
                <a:off x="4334131" y="1343733"/>
                <a:ext cx="471090" cy="471090"/>
              </a:xfrm>
              <a:custGeom>
                <a:avLst/>
                <a:gdLst>
                  <a:gd name="T0" fmla="*/ 144 w 288"/>
                  <a:gd name="T1" fmla="*/ 0 h 288"/>
                  <a:gd name="T2" fmla="*/ 0 w 288"/>
                  <a:gd name="T3" fmla="*/ 144 h 288"/>
                  <a:gd name="T4" fmla="*/ 144 w 288"/>
                  <a:gd name="T5" fmla="*/ 288 h 288"/>
                  <a:gd name="T6" fmla="*/ 288 w 288"/>
                  <a:gd name="T7" fmla="*/ 144 h 288"/>
                  <a:gd name="T8" fmla="*/ 144 w 288"/>
                  <a:gd name="T9" fmla="*/ 0 h 288"/>
                  <a:gd name="T10" fmla="*/ 144 w 288"/>
                  <a:gd name="T11" fmla="*/ 256 h 288"/>
                  <a:gd name="T12" fmla="*/ 32 w 288"/>
                  <a:gd name="T13" fmla="*/ 144 h 288"/>
                  <a:gd name="T14" fmla="*/ 144 w 288"/>
                  <a:gd name="T15" fmla="*/ 32 h 288"/>
                  <a:gd name="T16" fmla="*/ 256 w 288"/>
                  <a:gd name="T17" fmla="*/ 144 h 288"/>
                  <a:gd name="T18" fmla="*/ 144 w 288"/>
                  <a:gd name="T19" fmla="*/ 256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8" h="288">
                    <a:moveTo>
                      <a:pt x="144" y="0"/>
                    </a:moveTo>
                    <a:cubicBezTo>
                      <a:pt x="64" y="0"/>
                      <a:pt x="0" y="64"/>
                      <a:pt x="0" y="144"/>
                    </a:cubicBezTo>
                    <a:cubicBezTo>
                      <a:pt x="0" y="224"/>
                      <a:pt x="64" y="288"/>
                      <a:pt x="144" y="288"/>
                    </a:cubicBezTo>
                    <a:cubicBezTo>
                      <a:pt x="224" y="288"/>
                      <a:pt x="288" y="224"/>
                      <a:pt x="288" y="144"/>
                    </a:cubicBezTo>
                    <a:cubicBezTo>
                      <a:pt x="288" y="64"/>
                      <a:pt x="224" y="0"/>
                      <a:pt x="144" y="0"/>
                    </a:cubicBezTo>
                    <a:close/>
                    <a:moveTo>
                      <a:pt x="144" y="256"/>
                    </a:moveTo>
                    <a:cubicBezTo>
                      <a:pt x="82" y="256"/>
                      <a:pt x="32" y="206"/>
                      <a:pt x="32" y="144"/>
                    </a:cubicBezTo>
                    <a:cubicBezTo>
                      <a:pt x="32" y="82"/>
                      <a:pt x="82" y="32"/>
                      <a:pt x="144" y="32"/>
                    </a:cubicBezTo>
                    <a:cubicBezTo>
                      <a:pt x="206" y="32"/>
                      <a:pt x="256" y="82"/>
                      <a:pt x="256" y="144"/>
                    </a:cubicBezTo>
                    <a:cubicBezTo>
                      <a:pt x="256" y="206"/>
                      <a:pt x="206" y="256"/>
                      <a:pt x="144" y="256"/>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ysClr val="windowText" lastClr="000000"/>
                  </a:solidFill>
                  <a:effectLst/>
                  <a:uLnTx/>
                  <a:uFillTx/>
                  <a:latin typeface="Calibri" panose="020F0502020204030204"/>
                  <a:ea typeface="宋体" panose="02010600030101010101" pitchFamily="2" charset="-122"/>
                </a:endParaRPr>
              </a:p>
            </p:txBody>
          </p:sp>
        </p:grpSp>
      </p:grpSp>
      <p:grpSp>
        <p:nvGrpSpPr>
          <p:cNvPr id="79" name="组合 78"/>
          <p:cNvGrpSpPr/>
          <p:nvPr/>
        </p:nvGrpSpPr>
        <p:grpSpPr>
          <a:xfrm>
            <a:off x="6203218" y="4719630"/>
            <a:ext cx="792088" cy="792088"/>
            <a:chOff x="6203218" y="4719630"/>
            <a:chExt cx="792088" cy="792088"/>
          </a:xfrm>
        </p:grpSpPr>
        <p:sp>
          <p:nvSpPr>
            <p:cNvPr id="57" name="椭圆 56"/>
            <p:cNvSpPr/>
            <p:nvPr/>
          </p:nvSpPr>
          <p:spPr>
            <a:xfrm flipV="1">
              <a:off x="6203218" y="4719630"/>
              <a:ext cx="792088" cy="792088"/>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1" name="Freeform 45"/>
            <p:cNvSpPr/>
            <p:nvPr/>
          </p:nvSpPr>
          <p:spPr bwMode="auto">
            <a:xfrm flipH="1">
              <a:off x="6389777" y="4906189"/>
              <a:ext cx="418970" cy="418970"/>
            </a:xfrm>
            <a:custGeom>
              <a:avLst/>
              <a:gdLst>
                <a:gd name="T0" fmla="*/ 240 w 256"/>
                <a:gd name="T1" fmla="*/ 88 h 256"/>
                <a:gd name="T2" fmla="*/ 168 w 256"/>
                <a:gd name="T3" fmla="*/ 88 h 256"/>
                <a:gd name="T4" fmla="*/ 168 w 256"/>
                <a:gd name="T5" fmla="*/ 16 h 256"/>
                <a:gd name="T6" fmla="*/ 152 w 256"/>
                <a:gd name="T7" fmla="*/ 0 h 256"/>
                <a:gd name="T8" fmla="*/ 104 w 256"/>
                <a:gd name="T9" fmla="*/ 0 h 256"/>
                <a:gd name="T10" fmla="*/ 88 w 256"/>
                <a:gd name="T11" fmla="*/ 16 h 256"/>
                <a:gd name="T12" fmla="*/ 88 w 256"/>
                <a:gd name="T13" fmla="*/ 88 h 256"/>
                <a:gd name="T14" fmla="*/ 16 w 256"/>
                <a:gd name="T15" fmla="*/ 88 h 256"/>
                <a:gd name="T16" fmla="*/ 0 w 256"/>
                <a:gd name="T17" fmla="*/ 104 h 256"/>
                <a:gd name="T18" fmla="*/ 0 w 256"/>
                <a:gd name="T19" fmla="*/ 152 h 256"/>
                <a:gd name="T20" fmla="*/ 16 w 256"/>
                <a:gd name="T21" fmla="*/ 168 h 256"/>
                <a:gd name="T22" fmla="*/ 88 w 256"/>
                <a:gd name="T23" fmla="*/ 168 h 256"/>
                <a:gd name="T24" fmla="*/ 88 w 256"/>
                <a:gd name="T25" fmla="*/ 240 h 256"/>
                <a:gd name="T26" fmla="*/ 104 w 256"/>
                <a:gd name="T27" fmla="*/ 256 h 256"/>
                <a:gd name="T28" fmla="*/ 152 w 256"/>
                <a:gd name="T29" fmla="*/ 256 h 256"/>
                <a:gd name="T30" fmla="*/ 168 w 256"/>
                <a:gd name="T31" fmla="*/ 240 h 256"/>
                <a:gd name="T32" fmla="*/ 168 w 256"/>
                <a:gd name="T33" fmla="*/ 168 h 256"/>
                <a:gd name="T34" fmla="*/ 240 w 256"/>
                <a:gd name="T35" fmla="*/ 168 h 256"/>
                <a:gd name="T36" fmla="*/ 256 w 256"/>
                <a:gd name="T37" fmla="*/ 152 h 256"/>
                <a:gd name="T38" fmla="*/ 256 w 256"/>
                <a:gd name="T39" fmla="*/ 104 h 256"/>
                <a:gd name="T40" fmla="*/ 240 w 256"/>
                <a:gd name="T41" fmla="*/ 88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56" h="256">
                  <a:moveTo>
                    <a:pt x="240" y="88"/>
                  </a:moveTo>
                  <a:cubicBezTo>
                    <a:pt x="168" y="88"/>
                    <a:pt x="168" y="88"/>
                    <a:pt x="168" y="88"/>
                  </a:cubicBezTo>
                  <a:cubicBezTo>
                    <a:pt x="168" y="16"/>
                    <a:pt x="168" y="16"/>
                    <a:pt x="168" y="16"/>
                  </a:cubicBezTo>
                  <a:cubicBezTo>
                    <a:pt x="168" y="7"/>
                    <a:pt x="161" y="0"/>
                    <a:pt x="152" y="0"/>
                  </a:cubicBezTo>
                  <a:cubicBezTo>
                    <a:pt x="104" y="0"/>
                    <a:pt x="104" y="0"/>
                    <a:pt x="104" y="0"/>
                  </a:cubicBezTo>
                  <a:cubicBezTo>
                    <a:pt x="95" y="0"/>
                    <a:pt x="88" y="7"/>
                    <a:pt x="88" y="16"/>
                  </a:cubicBezTo>
                  <a:cubicBezTo>
                    <a:pt x="88" y="88"/>
                    <a:pt x="88" y="88"/>
                    <a:pt x="88" y="88"/>
                  </a:cubicBezTo>
                  <a:cubicBezTo>
                    <a:pt x="16" y="88"/>
                    <a:pt x="16" y="88"/>
                    <a:pt x="16" y="88"/>
                  </a:cubicBezTo>
                  <a:cubicBezTo>
                    <a:pt x="7" y="88"/>
                    <a:pt x="0" y="95"/>
                    <a:pt x="0" y="104"/>
                  </a:cubicBezTo>
                  <a:cubicBezTo>
                    <a:pt x="0" y="152"/>
                    <a:pt x="0" y="152"/>
                    <a:pt x="0" y="152"/>
                  </a:cubicBezTo>
                  <a:cubicBezTo>
                    <a:pt x="0" y="161"/>
                    <a:pt x="7" y="168"/>
                    <a:pt x="16" y="168"/>
                  </a:cubicBezTo>
                  <a:cubicBezTo>
                    <a:pt x="88" y="168"/>
                    <a:pt x="88" y="168"/>
                    <a:pt x="88" y="168"/>
                  </a:cubicBezTo>
                  <a:cubicBezTo>
                    <a:pt x="88" y="240"/>
                    <a:pt x="88" y="240"/>
                    <a:pt x="88" y="240"/>
                  </a:cubicBezTo>
                  <a:cubicBezTo>
                    <a:pt x="88" y="249"/>
                    <a:pt x="95" y="256"/>
                    <a:pt x="104" y="256"/>
                  </a:cubicBezTo>
                  <a:cubicBezTo>
                    <a:pt x="152" y="256"/>
                    <a:pt x="152" y="256"/>
                    <a:pt x="152" y="256"/>
                  </a:cubicBezTo>
                  <a:cubicBezTo>
                    <a:pt x="161" y="256"/>
                    <a:pt x="168" y="249"/>
                    <a:pt x="168" y="240"/>
                  </a:cubicBezTo>
                  <a:cubicBezTo>
                    <a:pt x="168" y="168"/>
                    <a:pt x="168" y="168"/>
                    <a:pt x="168" y="168"/>
                  </a:cubicBezTo>
                  <a:cubicBezTo>
                    <a:pt x="240" y="168"/>
                    <a:pt x="240" y="168"/>
                    <a:pt x="240" y="168"/>
                  </a:cubicBezTo>
                  <a:cubicBezTo>
                    <a:pt x="249" y="168"/>
                    <a:pt x="256" y="161"/>
                    <a:pt x="256" y="152"/>
                  </a:cubicBezTo>
                  <a:cubicBezTo>
                    <a:pt x="256" y="104"/>
                    <a:pt x="256" y="104"/>
                    <a:pt x="256" y="104"/>
                  </a:cubicBezTo>
                  <a:cubicBezTo>
                    <a:pt x="256" y="95"/>
                    <a:pt x="249" y="88"/>
                    <a:pt x="240" y="88"/>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ysClr val="windowText" lastClr="000000"/>
                </a:solidFill>
                <a:effectLst/>
                <a:uLnTx/>
                <a:uFillTx/>
                <a:latin typeface="Calibri" panose="020F0502020204030204"/>
                <a:ea typeface="宋体" panose="02010600030101010101" pitchFamily="2" charset="-122"/>
              </a:endParaRPr>
            </a:p>
          </p:txBody>
        </p:sp>
      </p:grpSp>
      <p:grpSp>
        <p:nvGrpSpPr>
          <p:cNvPr id="80" name="组合 79"/>
          <p:cNvGrpSpPr/>
          <p:nvPr/>
        </p:nvGrpSpPr>
        <p:grpSpPr>
          <a:xfrm>
            <a:off x="8687494" y="4719630"/>
            <a:ext cx="792088" cy="792088"/>
            <a:chOff x="8687494" y="4719630"/>
            <a:chExt cx="792088" cy="792088"/>
          </a:xfrm>
        </p:grpSpPr>
        <p:sp>
          <p:nvSpPr>
            <p:cNvPr id="59" name="椭圆 58"/>
            <p:cNvSpPr/>
            <p:nvPr/>
          </p:nvSpPr>
          <p:spPr>
            <a:xfrm flipV="1">
              <a:off x="8687494" y="4719630"/>
              <a:ext cx="792088" cy="792088"/>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73" name="组合 72"/>
            <p:cNvGrpSpPr/>
            <p:nvPr/>
          </p:nvGrpSpPr>
          <p:grpSpPr>
            <a:xfrm>
              <a:off x="8847965" y="4984723"/>
              <a:ext cx="471147" cy="261902"/>
              <a:chOff x="6864264" y="1408669"/>
              <a:chExt cx="471147" cy="261902"/>
            </a:xfrm>
          </p:grpSpPr>
          <p:sp>
            <p:nvSpPr>
              <p:cNvPr id="74" name="Freeform 98"/>
              <p:cNvSpPr/>
              <p:nvPr/>
            </p:nvSpPr>
            <p:spPr bwMode="auto">
              <a:xfrm flipH="1">
                <a:off x="6968886" y="1526456"/>
                <a:ext cx="313867" cy="92151"/>
              </a:xfrm>
              <a:custGeom>
                <a:avLst/>
                <a:gdLst>
                  <a:gd name="T0" fmla="*/ 192 w 192"/>
                  <a:gd name="T1" fmla="*/ 18 h 56"/>
                  <a:gd name="T2" fmla="*/ 80 w 192"/>
                  <a:gd name="T3" fmla="*/ 40 h 56"/>
                  <a:gd name="T4" fmla="*/ 88 w 192"/>
                  <a:gd name="T5" fmla="*/ 0 h 56"/>
                  <a:gd name="T6" fmla="*/ 82 w 192"/>
                  <a:gd name="T7" fmla="*/ 0 h 56"/>
                  <a:gd name="T8" fmla="*/ 3 w 192"/>
                  <a:gd name="T9" fmla="*/ 16 h 56"/>
                  <a:gd name="T10" fmla="*/ 0 w 192"/>
                  <a:gd name="T11" fmla="*/ 16 h 56"/>
                  <a:gd name="T12" fmla="*/ 0 w 192"/>
                  <a:gd name="T13" fmla="*/ 56 h 56"/>
                  <a:gd name="T14" fmla="*/ 192 w 192"/>
                  <a:gd name="T15" fmla="*/ 56 h 56"/>
                  <a:gd name="T16" fmla="*/ 192 w 192"/>
                  <a:gd name="T17" fmla="*/ 1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2" h="56">
                    <a:moveTo>
                      <a:pt x="192" y="18"/>
                    </a:moveTo>
                    <a:cubicBezTo>
                      <a:pt x="80" y="40"/>
                      <a:pt x="80" y="40"/>
                      <a:pt x="80" y="40"/>
                    </a:cubicBezTo>
                    <a:cubicBezTo>
                      <a:pt x="88" y="0"/>
                      <a:pt x="88" y="0"/>
                      <a:pt x="88" y="0"/>
                    </a:cubicBezTo>
                    <a:cubicBezTo>
                      <a:pt x="82" y="0"/>
                      <a:pt x="82" y="0"/>
                      <a:pt x="82" y="0"/>
                    </a:cubicBezTo>
                    <a:cubicBezTo>
                      <a:pt x="3" y="16"/>
                      <a:pt x="3" y="16"/>
                      <a:pt x="3" y="16"/>
                    </a:cubicBezTo>
                    <a:cubicBezTo>
                      <a:pt x="2" y="16"/>
                      <a:pt x="1" y="16"/>
                      <a:pt x="0" y="16"/>
                    </a:cubicBezTo>
                    <a:cubicBezTo>
                      <a:pt x="0" y="56"/>
                      <a:pt x="0" y="56"/>
                      <a:pt x="0" y="56"/>
                    </a:cubicBezTo>
                    <a:cubicBezTo>
                      <a:pt x="192" y="56"/>
                      <a:pt x="192" y="56"/>
                      <a:pt x="192" y="56"/>
                    </a:cubicBezTo>
                    <a:lnTo>
                      <a:pt x="192" y="18"/>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ysClr val="windowText" lastClr="000000"/>
                  </a:solidFill>
                  <a:effectLst/>
                  <a:uLnTx/>
                  <a:uFillTx/>
                  <a:latin typeface="Calibri" panose="020F0502020204030204"/>
                  <a:ea typeface="宋体" panose="02010600030101010101" pitchFamily="2" charset="-122"/>
                </a:endParaRPr>
              </a:p>
            </p:txBody>
          </p:sp>
          <p:sp>
            <p:nvSpPr>
              <p:cNvPr id="75" name="Freeform 99"/>
              <p:cNvSpPr>
                <a:spLocks noEditPoints="1"/>
              </p:cNvSpPr>
              <p:nvPr/>
            </p:nvSpPr>
            <p:spPr bwMode="auto">
              <a:xfrm flipH="1">
                <a:off x="6864264" y="1408669"/>
                <a:ext cx="471147" cy="261902"/>
              </a:xfrm>
              <a:custGeom>
                <a:avLst/>
                <a:gdLst>
                  <a:gd name="T0" fmla="*/ 272 w 288"/>
                  <a:gd name="T1" fmla="*/ 40 h 160"/>
                  <a:gd name="T2" fmla="*/ 256 w 288"/>
                  <a:gd name="T3" fmla="*/ 40 h 160"/>
                  <a:gd name="T4" fmla="*/ 256 w 288"/>
                  <a:gd name="T5" fmla="*/ 16 h 160"/>
                  <a:gd name="T6" fmla="*/ 240 w 288"/>
                  <a:gd name="T7" fmla="*/ 0 h 160"/>
                  <a:gd name="T8" fmla="*/ 16 w 288"/>
                  <a:gd name="T9" fmla="*/ 0 h 160"/>
                  <a:gd name="T10" fmla="*/ 0 w 288"/>
                  <a:gd name="T11" fmla="*/ 16 h 160"/>
                  <a:gd name="T12" fmla="*/ 0 w 288"/>
                  <a:gd name="T13" fmla="*/ 144 h 160"/>
                  <a:gd name="T14" fmla="*/ 16 w 288"/>
                  <a:gd name="T15" fmla="*/ 160 h 160"/>
                  <a:gd name="T16" fmla="*/ 240 w 288"/>
                  <a:gd name="T17" fmla="*/ 160 h 160"/>
                  <a:gd name="T18" fmla="*/ 256 w 288"/>
                  <a:gd name="T19" fmla="*/ 144 h 160"/>
                  <a:gd name="T20" fmla="*/ 256 w 288"/>
                  <a:gd name="T21" fmla="*/ 120 h 160"/>
                  <a:gd name="T22" fmla="*/ 272 w 288"/>
                  <a:gd name="T23" fmla="*/ 120 h 160"/>
                  <a:gd name="T24" fmla="*/ 288 w 288"/>
                  <a:gd name="T25" fmla="*/ 104 h 160"/>
                  <a:gd name="T26" fmla="*/ 288 w 288"/>
                  <a:gd name="T27" fmla="*/ 56 h 160"/>
                  <a:gd name="T28" fmla="*/ 272 w 288"/>
                  <a:gd name="T29" fmla="*/ 40 h 160"/>
                  <a:gd name="T30" fmla="*/ 240 w 288"/>
                  <a:gd name="T31" fmla="*/ 144 h 160"/>
                  <a:gd name="T32" fmla="*/ 16 w 288"/>
                  <a:gd name="T33" fmla="*/ 144 h 160"/>
                  <a:gd name="T34" fmla="*/ 16 w 288"/>
                  <a:gd name="T35" fmla="*/ 16 h 160"/>
                  <a:gd name="T36" fmla="*/ 240 w 288"/>
                  <a:gd name="T37" fmla="*/ 16 h 160"/>
                  <a:gd name="T38" fmla="*/ 240 w 288"/>
                  <a:gd name="T39" fmla="*/ 144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88" h="160">
                    <a:moveTo>
                      <a:pt x="272" y="40"/>
                    </a:moveTo>
                    <a:cubicBezTo>
                      <a:pt x="256" y="40"/>
                      <a:pt x="256" y="40"/>
                      <a:pt x="256" y="40"/>
                    </a:cubicBezTo>
                    <a:cubicBezTo>
                      <a:pt x="256" y="16"/>
                      <a:pt x="256" y="16"/>
                      <a:pt x="256" y="16"/>
                    </a:cubicBezTo>
                    <a:cubicBezTo>
                      <a:pt x="256" y="7"/>
                      <a:pt x="249" y="0"/>
                      <a:pt x="240" y="0"/>
                    </a:cubicBezTo>
                    <a:cubicBezTo>
                      <a:pt x="16" y="0"/>
                      <a:pt x="16" y="0"/>
                      <a:pt x="16" y="0"/>
                    </a:cubicBezTo>
                    <a:cubicBezTo>
                      <a:pt x="7" y="0"/>
                      <a:pt x="0" y="7"/>
                      <a:pt x="0" y="16"/>
                    </a:cubicBezTo>
                    <a:cubicBezTo>
                      <a:pt x="0" y="144"/>
                      <a:pt x="0" y="144"/>
                      <a:pt x="0" y="144"/>
                    </a:cubicBezTo>
                    <a:cubicBezTo>
                      <a:pt x="0" y="153"/>
                      <a:pt x="7" y="160"/>
                      <a:pt x="16" y="160"/>
                    </a:cubicBezTo>
                    <a:cubicBezTo>
                      <a:pt x="240" y="160"/>
                      <a:pt x="240" y="160"/>
                      <a:pt x="240" y="160"/>
                    </a:cubicBezTo>
                    <a:cubicBezTo>
                      <a:pt x="249" y="160"/>
                      <a:pt x="256" y="153"/>
                      <a:pt x="256" y="144"/>
                    </a:cubicBezTo>
                    <a:cubicBezTo>
                      <a:pt x="256" y="120"/>
                      <a:pt x="256" y="120"/>
                      <a:pt x="256" y="120"/>
                    </a:cubicBezTo>
                    <a:cubicBezTo>
                      <a:pt x="272" y="120"/>
                      <a:pt x="272" y="120"/>
                      <a:pt x="272" y="120"/>
                    </a:cubicBezTo>
                    <a:cubicBezTo>
                      <a:pt x="281" y="120"/>
                      <a:pt x="288" y="113"/>
                      <a:pt x="288" y="104"/>
                    </a:cubicBezTo>
                    <a:cubicBezTo>
                      <a:pt x="288" y="56"/>
                      <a:pt x="288" y="56"/>
                      <a:pt x="288" y="56"/>
                    </a:cubicBezTo>
                    <a:cubicBezTo>
                      <a:pt x="288" y="47"/>
                      <a:pt x="281" y="40"/>
                      <a:pt x="272" y="40"/>
                    </a:cubicBezTo>
                    <a:close/>
                    <a:moveTo>
                      <a:pt x="240" y="144"/>
                    </a:moveTo>
                    <a:cubicBezTo>
                      <a:pt x="16" y="144"/>
                      <a:pt x="16" y="144"/>
                      <a:pt x="16" y="144"/>
                    </a:cubicBezTo>
                    <a:cubicBezTo>
                      <a:pt x="16" y="16"/>
                      <a:pt x="16" y="16"/>
                      <a:pt x="16" y="16"/>
                    </a:cubicBezTo>
                    <a:cubicBezTo>
                      <a:pt x="240" y="16"/>
                      <a:pt x="240" y="16"/>
                      <a:pt x="240" y="16"/>
                    </a:cubicBezTo>
                    <a:lnTo>
                      <a:pt x="240" y="144"/>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ysClr val="windowText" lastClr="000000"/>
                  </a:solidFill>
                  <a:effectLst/>
                  <a:uLnTx/>
                  <a:uFillTx/>
                  <a:latin typeface="Calibri" panose="020F0502020204030204"/>
                  <a:ea typeface="宋体" panose="02010600030101010101" pitchFamily="2" charset="-122"/>
                </a:endParaRPr>
              </a:p>
            </p:txBody>
          </p:sp>
          <p:sp>
            <p:nvSpPr>
              <p:cNvPr id="76" name="Freeform 100"/>
              <p:cNvSpPr/>
              <p:nvPr/>
            </p:nvSpPr>
            <p:spPr bwMode="auto">
              <a:xfrm flipH="1">
                <a:off x="6968886" y="1461326"/>
                <a:ext cx="313867" cy="91458"/>
              </a:xfrm>
              <a:custGeom>
                <a:avLst/>
                <a:gdLst>
                  <a:gd name="T0" fmla="*/ 112 w 192"/>
                  <a:gd name="T1" fmla="*/ 56 h 56"/>
                  <a:gd name="T2" fmla="*/ 118 w 192"/>
                  <a:gd name="T3" fmla="*/ 56 h 56"/>
                  <a:gd name="T4" fmla="*/ 189 w 192"/>
                  <a:gd name="T5" fmla="*/ 42 h 56"/>
                  <a:gd name="T6" fmla="*/ 192 w 192"/>
                  <a:gd name="T7" fmla="*/ 42 h 56"/>
                  <a:gd name="T8" fmla="*/ 192 w 192"/>
                  <a:gd name="T9" fmla="*/ 0 h 56"/>
                  <a:gd name="T10" fmla="*/ 0 w 192"/>
                  <a:gd name="T11" fmla="*/ 0 h 56"/>
                  <a:gd name="T12" fmla="*/ 0 w 192"/>
                  <a:gd name="T13" fmla="*/ 40 h 56"/>
                  <a:gd name="T14" fmla="*/ 120 w 192"/>
                  <a:gd name="T15" fmla="*/ 16 h 56"/>
                  <a:gd name="T16" fmla="*/ 112 w 192"/>
                  <a:gd name="T1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2" h="56">
                    <a:moveTo>
                      <a:pt x="112" y="56"/>
                    </a:moveTo>
                    <a:cubicBezTo>
                      <a:pt x="118" y="56"/>
                      <a:pt x="118" y="56"/>
                      <a:pt x="118" y="56"/>
                    </a:cubicBezTo>
                    <a:cubicBezTo>
                      <a:pt x="189" y="42"/>
                      <a:pt x="189" y="42"/>
                      <a:pt x="189" y="42"/>
                    </a:cubicBezTo>
                    <a:cubicBezTo>
                      <a:pt x="190" y="42"/>
                      <a:pt x="191" y="42"/>
                      <a:pt x="192" y="42"/>
                    </a:cubicBezTo>
                    <a:cubicBezTo>
                      <a:pt x="192" y="0"/>
                      <a:pt x="192" y="0"/>
                      <a:pt x="192" y="0"/>
                    </a:cubicBezTo>
                    <a:cubicBezTo>
                      <a:pt x="0" y="0"/>
                      <a:pt x="0" y="0"/>
                      <a:pt x="0" y="0"/>
                    </a:cubicBezTo>
                    <a:cubicBezTo>
                      <a:pt x="0" y="40"/>
                      <a:pt x="0" y="40"/>
                      <a:pt x="0" y="40"/>
                    </a:cubicBezTo>
                    <a:cubicBezTo>
                      <a:pt x="120" y="16"/>
                      <a:pt x="120" y="16"/>
                      <a:pt x="120" y="16"/>
                    </a:cubicBezTo>
                    <a:lnTo>
                      <a:pt x="112" y="56"/>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ysClr val="windowText" lastClr="000000"/>
                  </a:solidFill>
                  <a:effectLst/>
                  <a:uLnTx/>
                  <a:uFillTx/>
                  <a:latin typeface="Calibri" panose="020F0502020204030204"/>
                  <a:ea typeface="宋体" panose="02010600030101010101" pitchFamily="2" charset="-122"/>
                </a:endParaRPr>
              </a:p>
            </p:txBody>
          </p:sp>
        </p:grpSp>
      </p:grpSp>
      <p:sp>
        <p:nvSpPr>
          <p:cNvPr id="89" name="TextBox 88"/>
          <p:cNvSpPr txBox="1"/>
          <p:nvPr/>
        </p:nvSpPr>
        <p:spPr>
          <a:xfrm>
            <a:off x="1375707" y="1980085"/>
            <a:ext cx="1728192" cy="584775"/>
          </a:xfrm>
          <a:prstGeom prst="rect">
            <a:avLst/>
          </a:prstGeom>
          <a:noFill/>
        </p:spPr>
        <p:txBody>
          <a:bodyPr wrap="square" rtlCol="0">
            <a:spAutoFit/>
          </a:bodyPr>
          <a:lstStyle/>
          <a:p>
            <a:r>
              <a:rPr lang="zh-CN" altLang="en-US" sz="1600" smtClean="0">
                <a:solidFill>
                  <a:schemeClr val="bg1"/>
                </a:solidFill>
                <a:latin typeface="华文细黑" panose="02010600040101010101" pitchFamily="2" charset="-122"/>
                <a:ea typeface="华文细黑" panose="02010600040101010101" pitchFamily="2" charset="-122"/>
                <a:cs typeface="华文黑体" pitchFamily="2" charset="-122"/>
              </a:rPr>
              <a:t>单击添加文本单击添加文本</a:t>
            </a:r>
            <a:endParaRPr lang="zh-CN" altLang="en-US" sz="1600">
              <a:solidFill>
                <a:schemeClr val="bg1"/>
              </a:solidFill>
              <a:latin typeface="华文细黑" panose="02010600040101010101" pitchFamily="2" charset="-122"/>
              <a:ea typeface="华文细黑" panose="02010600040101010101" pitchFamily="2" charset="-122"/>
              <a:cs typeface="华文黑体" pitchFamily="2" charset="-122"/>
            </a:endParaRPr>
          </a:p>
        </p:txBody>
      </p:sp>
      <p:sp>
        <p:nvSpPr>
          <p:cNvPr id="91" name="TextBox 90"/>
          <p:cNvSpPr txBox="1"/>
          <p:nvPr/>
        </p:nvSpPr>
        <p:spPr>
          <a:xfrm>
            <a:off x="2103425" y="4692335"/>
            <a:ext cx="1728192" cy="584775"/>
          </a:xfrm>
          <a:prstGeom prst="rect">
            <a:avLst/>
          </a:prstGeom>
          <a:noFill/>
        </p:spPr>
        <p:txBody>
          <a:bodyPr wrap="square" rtlCol="0">
            <a:spAutoFit/>
          </a:bodyPr>
          <a:lstStyle/>
          <a:p>
            <a:r>
              <a:rPr lang="zh-CN" altLang="en-US" sz="1600" smtClean="0">
                <a:solidFill>
                  <a:schemeClr val="bg1"/>
                </a:solidFill>
                <a:latin typeface="华文细黑" panose="02010600040101010101" pitchFamily="2" charset="-122"/>
                <a:ea typeface="华文细黑" panose="02010600040101010101" pitchFamily="2" charset="-122"/>
                <a:cs typeface="华文黑体" pitchFamily="2" charset="-122"/>
              </a:rPr>
              <a:t>单击添加文本单击添加文本</a:t>
            </a:r>
            <a:endParaRPr lang="zh-CN" altLang="en-US" sz="1600">
              <a:solidFill>
                <a:schemeClr val="bg1"/>
              </a:solidFill>
              <a:latin typeface="华文细黑" panose="02010600040101010101" pitchFamily="2" charset="-122"/>
              <a:ea typeface="华文细黑" panose="02010600040101010101" pitchFamily="2" charset="-122"/>
              <a:cs typeface="华文黑体" pitchFamily="2" charset="-122"/>
            </a:endParaRPr>
          </a:p>
        </p:txBody>
      </p:sp>
      <p:sp>
        <p:nvSpPr>
          <p:cNvPr id="92" name="TextBox 91"/>
          <p:cNvSpPr txBox="1"/>
          <p:nvPr/>
        </p:nvSpPr>
        <p:spPr>
          <a:xfrm>
            <a:off x="5951190" y="2050742"/>
            <a:ext cx="1728192" cy="584775"/>
          </a:xfrm>
          <a:prstGeom prst="rect">
            <a:avLst/>
          </a:prstGeom>
          <a:noFill/>
        </p:spPr>
        <p:txBody>
          <a:bodyPr wrap="square" rtlCol="0">
            <a:spAutoFit/>
          </a:bodyPr>
          <a:lstStyle/>
          <a:p>
            <a:r>
              <a:rPr lang="zh-CN" altLang="en-US" sz="1600" smtClean="0">
                <a:solidFill>
                  <a:schemeClr val="bg1"/>
                </a:solidFill>
                <a:latin typeface="华文细黑" panose="02010600040101010101" pitchFamily="2" charset="-122"/>
                <a:ea typeface="华文细黑" panose="02010600040101010101" pitchFamily="2" charset="-122"/>
                <a:cs typeface="华文黑体" pitchFamily="2" charset="-122"/>
              </a:rPr>
              <a:t>单击添加文本单击添加文本</a:t>
            </a:r>
            <a:endParaRPr lang="zh-CN" altLang="en-US" sz="1600">
              <a:solidFill>
                <a:schemeClr val="bg1"/>
              </a:solidFill>
              <a:latin typeface="华文细黑" panose="02010600040101010101" pitchFamily="2" charset="-122"/>
              <a:ea typeface="华文细黑" panose="02010600040101010101" pitchFamily="2" charset="-122"/>
              <a:cs typeface="华文黑体" pitchFamily="2" charset="-122"/>
            </a:endParaRPr>
          </a:p>
        </p:txBody>
      </p:sp>
      <p:sp>
        <p:nvSpPr>
          <p:cNvPr id="93" name="TextBox 92"/>
          <p:cNvSpPr txBox="1"/>
          <p:nvPr/>
        </p:nvSpPr>
        <p:spPr>
          <a:xfrm>
            <a:off x="6689851" y="4107560"/>
            <a:ext cx="1728192" cy="584775"/>
          </a:xfrm>
          <a:prstGeom prst="rect">
            <a:avLst/>
          </a:prstGeom>
          <a:noFill/>
        </p:spPr>
        <p:txBody>
          <a:bodyPr wrap="square" rtlCol="0">
            <a:spAutoFit/>
          </a:bodyPr>
          <a:lstStyle/>
          <a:p>
            <a:r>
              <a:rPr lang="zh-CN" altLang="en-US" sz="1600" smtClean="0">
                <a:solidFill>
                  <a:schemeClr val="bg1"/>
                </a:solidFill>
                <a:latin typeface="华文细黑" panose="02010600040101010101" pitchFamily="2" charset="-122"/>
                <a:ea typeface="华文细黑" panose="02010600040101010101" pitchFamily="2" charset="-122"/>
                <a:cs typeface="华文黑体" pitchFamily="2" charset="-122"/>
              </a:rPr>
              <a:t>单击添加文本单击添加文本</a:t>
            </a:r>
            <a:endParaRPr lang="zh-CN" altLang="en-US" sz="1600">
              <a:solidFill>
                <a:schemeClr val="bg1"/>
              </a:solidFill>
              <a:latin typeface="华文细黑" panose="02010600040101010101" pitchFamily="2" charset="-122"/>
              <a:ea typeface="华文细黑" panose="02010600040101010101" pitchFamily="2" charset="-122"/>
              <a:cs typeface="华文黑体" pitchFamily="2" charset="-122"/>
            </a:endParaRPr>
          </a:p>
        </p:txBody>
      </p:sp>
      <p:sp>
        <p:nvSpPr>
          <p:cNvPr id="94" name="TextBox 93"/>
          <p:cNvSpPr txBox="1"/>
          <p:nvPr/>
        </p:nvSpPr>
        <p:spPr>
          <a:xfrm>
            <a:off x="8615486" y="2050742"/>
            <a:ext cx="1728192" cy="584775"/>
          </a:xfrm>
          <a:prstGeom prst="rect">
            <a:avLst/>
          </a:prstGeom>
          <a:noFill/>
        </p:spPr>
        <p:txBody>
          <a:bodyPr wrap="square" rtlCol="0">
            <a:spAutoFit/>
          </a:bodyPr>
          <a:lstStyle/>
          <a:p>
            <a:r>
              <a:rPr lang="zh-CN" altLang="en-US" sz="1600" smtClean="0">
                <a:solidFill>
                  <a:schemeClr val="bg1"/>
                </a:solidFill>
                <a:latin typeface="华文细黑" panose="02010600040101010101" pitchFamily="2" charset="-122"/>
                <a:ea typeface="华文细黑" panose="02010600040101010101" pitchFamily="2" charset="-122"/>
                <a:cs typeface="华文黑体" pitchFamily="2" charset="-122"/>
              </a:rPr>
              <a:t>单击添加文本单击添加文本</a:t>
            </a:r>
            <a:endParaRPr lang="zh-CN" altLang="en-US" sz="1600">
              <a:solidFill>
                <a:schemeClr val="bg1"/>
              </a:solidFill>
              <a:latin typeface="华文细黑" panose="02010600040101010101" pitchFamily="2" charset="-122"/>
              <a:ea typeface="华文细黑" panose="02010600040101010101" pitchFamily="2" charset="-122"/>
              <a:cs typeface="华文黑体" pitchFamily="2" charset="-122"/>
            </a:endParaRPr>
          </a:p>
        </p:txBody>
      </p:sp>
      <p:sp>
        <p:nvSpPr>
          <p:cNvPr id="95" name="TextBox 94"/>
          <p:cNvSpPr txBox="1"/>
          <p:nvPr/>
        </p:nvSpPr>
        <p:spPr>
          <a:xfrm>
            <a:off x="9263558" y="4107560"/>
            <a:ext cx="1728192" cy="584775"/>
          </a:xfrm>
          <a:prstGeom prst="rect">
            <a:avLst/>
          </a:prstGeom>
          <a:noFill/>
        </p:spPr>
        <p:txBody>
          <a:bodyPr wrap="square" rtlCol="0">
            <a:spAutoFit/>
          </a:bodyPr>
          <a:lstStyle/>
          <a:p>
            <a:r>
              <a:rPr lang="zh-CN" altLang="en-US" sz="1600" smtClean="0">
                <a:solidFill>
                  <a:schemeClr val="bg1"/>
                </a:solidFill>
                <a:latin typeface="华文细黑" panose="02010600040101010101" pitchFamily="2" charset="-122"/>
                <a:ea typeface="华文细黑" panose="02010600040101010101" pitchFamily="2" charset="-122"/>
                <a:cs typeface="华文黑体" pitchFamily="2" charset="-122"/>
              </a:rPr>
              <a:t>单击添加文本单击添加文本</a:t>
            </a:r>
            <a:endParaRPr lang="zh-CN" altLang="en-US" sz="1600">
              <a:solidFill>
                <a:schemeClr val="bg1"/>
              </a:solidFill>
              <a:latin typeface="华文细黑" panose="02010600040101010101" pitchFamily="2" charset="-122"/>
              <a:ea typeface="华文细黑" panose="02010600040101010101" pitchFamily="2" charset="-122"/>
              <a:cs typeface="华文黑体" pitchFamily="2" charset="-122"/>
            </a:endParaRPr>
          </a:p>
        </p:txBody>
      </p:sp>
      <p:sp>
        <p:nvSpPr>
          <p:cNvPr id="72" name="圆角矩形 71"/>
          <p:cNvSpPr/>
          <p:nvPr/>
        </p:nvSpPr>
        <p:spPr>
          <a:xfrm>
            <a:off x="8894702" y="260648"/>
            <a:ext cx="2673112" cy="600163"/>
          </a:xfrm>
          <a:prstGeom prst="roundRect">
            <a:avLst/>
          </a:prstGeom>
          <a:solidFill>
            <a:srgbClr val="FFFFFF"/>
          </a:solidFill>
          <a:ln>
            <a:noFill/>
          </a:ln>
          <a:effectLst>
            <a:reflection blurRad="6350" stA="25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8" name="TextBox 87"/>
          <p:cNvSpPr txBox="1"/>
          <p:nvPr/>
        </p:nvSpPr>
        <p:spPr>
          <a:xfrm>
            <a:off x="9061707" y="260648"/>
            <a:ext cx="2339102" cy="523220"/>
          </a:xfrm>
          <a:prstGeom prst="rect">
            <a:avLst/>
          </a:prstGeom>
          <a:noFill/>
        </p:spPr>
        <p:txBody>
          <a:bodyPr wrap="none" rtlCol="0" anchor="ctr">
            <a:spAutoFit/>
          </a:bodyPr>
          <a:lstStyle>
            <a:defPPr>
              <a:defRPr lang="zh-CN"/>
            </a:defPPr>
            <a:lvl1pPr algn="ctr">
              <a:defRPr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anose="02010600040101010101" pitchFamily="2" charset="-122"/>
                <a:cs typeface="华文黑体" pitchFamily="2" charset="-122"/>
              </a:defRPr>
            </a:lvl1pPr>
          </a:lstStyle>
          <a:p>
            <a:r>
              <a:rPr lang="zh-CN" altLang="en-US" sz="2800"/>
              <a:t>点击添加标题</a:t>
            </a:r>
            <a:endParaRPr lang="zh-CN" altLang="en-US" sz="2800"/>
          </a:p>
        </p:txBody>
      </p:sp>
    </p:spTree>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72"/>
                                        </p:tgtEl>
                                        <p:attrNameLst>
                                          <p:attrName>style.visibility</p:attrName>
                                        </p:attrNameLst>
                                      </p:cBhvr>
                                      <p:to>
                                        <p:strVal val="visible"/>
                                      </p:to>
                                    </p:set>
                                    <p:animEffect transition="in" filter="fade">
                                      <p:cBhvr>
                                        <p:cTn id="7" dur="300"/>
                                        <p:tgtEl>
                                          <p:spTgt spid="72"/>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8"/>
                                        </p:tgtEl>
                                        <p:attrNameLst>
                                          <p:attrName>style.visibility</p:attrName>
                                        </p:attrNameLst>
                                      </p:cBhvr>
                                      <p:to>
                                        <p:strVal val="visible"/>
                                      </p:to>
                                    </p:set>
                                    <p:animEffect transition="in" filter="fade">
                                      <p:cBhvr>
                                        <p:cTn id="10" dur="300"/>
                                        <p:tgtEl>
                                          <p:spTgt spid="88"/>
                                        </p:tgtEl>
                                      </p:cBhvr>
                                    </p:animEffect>
                                  </p:childTnLst>
                                </p:cTn>
                              </p:par>
                            </p:childTnLst>
                          </p:cTn>
                        </p:par>
                        <p:par>
                          <p:cTn id="11" fill="hold">
                            <p:stCondLst>
                              <p:cond delay="500"/>
                            </p:stCondLst>
                            <p:childTnLst>
                              <p:par>
                                <p:cTn id="12" presetID="22" presetClass="entr" presetSubtype="8" fill="hold" nodeType="afterEffect">
                                  <p:stCondLst>
                                    <p:cond delay="0"/>
                                  </p:stCondLst>
                                  <p:childTnLst>
                                    <p:set>
                                      <p:cBhvr>
                                        <p:cTn id="13" dur="1" fill="hold">
                                          <p:stCondLst>
                                            <p:cond delay="0"/>
                                          </p:stCondLst>
                                        </p:cTn>
                                        <p:tgtEl>
                                          <p:spTgt spid="6"/>
                                        </p:tgtEl>
                                        <p:attrNameLst>
                                          <p:attrName>style.visibility</p:attrName>
                                        </p:attrNameLst>
                                      </p:cBhvr>
                                      <p:to>
                                        <p:strVal val="visible"/>
                                      </p:to>
                                    </p:set>
                                    <p:animEffect transition="in" filter="wipe(left)">
                                      <p:cBhvr>
                                        <p:cTn id="14" dur="500"/>
                                        <p:tgtEl>
                                          <p:spTgt spid="6"/>
                                        </p:tgtEl>
                                      </p:cBhvr>
                                    </p:animEffect>
                                  </p:childTnLst>
                                </p:cTn>
                              </p:par>
                            </p:childTnLst>
                          </p:cTn>
                        </p:par>
                        <p:par>
                          <p:cTn id="15" fill="hold">
                            <p:stCondLst>
                              <p:cond delay="1000"/>
                            </p:stCondLst>
                            <p:childTnLst>
                              <p:par>
                                <p:cTn id="16" presetID="22" presetClass="entr" presetSubtype="4" fill="hold" nodeType="afterEffect">
                                  <p:stCondLst>
                                    <p:cond delay="0"/>
                                  </p:stCondLst>
                                  <p:childTnLst>
                                    <p:set>
                                      <p:cBhvr>
                                        <p:cTn id="17" dur="1" fill="hold">
                                          <p:stCondLst>
                                            <p:cond delay="0"/>
                                          </p:stCondLst>
                                        </p:cTn>
                                        <p:tgtEl>
                                          <p:spTgt spid="82"/>
                                        </p:tgtEl>
                                        <p:attrNameLst>
                                          <p:attrName>style.visibility</p:attrName>
                                        </p:attrNameLst>
                                      </p:cBhvr>
                                      <p:to>
                                        <p:strVal val="visible"/>
                                      </p:to>
                                    </p:set>
                                    <p:animEffect transition="in" filter="wipe(down)">
                                      <p:cBhvr>
                                        <p:cTn id="18" dur="500"/>
                                        <p:tgtEl>
                                          <p:spTgt spid="82"/>
                                        </p:tgtEl>
                                      </p:cBhvr>
                                    </p:animEffect>
                                  </p:childTnLst>
                                </p:cTn>
                              </p:par>
                            </p:childTnLst>
                          </p:cTn>
                        </p:par>
                        <p:par>
                          <p:cTn id="19" fill="hold">
                            <p:stCondLst>
                              <p:cond delay="1500"/>
                            </p:stCondLst>
                            <p:childTnLst>
                              <p:par>
                                <p:cTn id="20" presetID="10" presetClass="entr" presetSubtype="0" fill="hold" nodeType="afterEffect">
                                  <p:stCondLst>
                                    <p:cond delay="0"/>
                                  </p:stCondLst>
                                  <p:childTnLst>
                                    <p:set>
                                      <p:cBhvr>
                                        <p:cTn id="21" dur="1" fill="hold">
                                          <p:stCondLst>
                                            <p:cond delay="0"/>
                                          </p:stCondLst>
                                        </p:cTn>
                                        <p:tgtEl>
                                          <p:spTgt spid="64"/>
                                        </p:tgtEl>
                                        <p:attrNameLst>
                                          <p:attrName>style.visibility</p:attrName>
                                        </p:attrNameLst>
                                      </p:cBhvr>
                                      <p:to>
                                        <p:strVal val="visible"/>
                                      </p:to>
                                    </p:set>
                                    <p:animEffect transition="in" filter="fade">
                                      <p:cBhvr>
                                        <p:cTn id="22" dur="500"/>
                                        <p:tgtEl>
                                          <p:spTgt spid="64"/>
                                        </p:tgtEl>
                                      </p:cBhvr>
                                    </p:animEffect>
                                  </p:childTnLst>
                                </p:cTn>
                              </p:par>
                            </p:childTnLst>
                          </p:cTn>
                        </p:par>
                        <p:par>
                          <p:cTn id="23" fill="hold">
                            <p:stCondLst>
                              <p:cond delay="2000"/>
                            </p:stCondLst>
                            <p:childTnLst>
                              <p:par>
                                <p:cTn id="24" presetID="22" presetClass="entr" presetSubtype="2" fill="hold" grpId="0" nodeType="afterEffect">
                                  <p:stCondLst>
                                    <p:cond delay="0"/>
                                  </p:stCondLst>
                                  <p:childTnLst>
                                    <p:set>
                                      <p:cBhvr>
                                        <p:cTn id="25" dur="1" fill="hold">
                                          <p:stCondLst>
                                            <p:cond delay="0"/>
                                          </p:stCondLst>
                                        </p:cTn>
                                        <p:tgtEl>
                                          <p:spTgt spid="89"/>
                                        </p:tgtEl>
                                        <p:attrNameLst>
                                          <p:attrName>style.visibility</p:attrName>
                                        </p:attrNameLst>
                                      </p:cBhvr>
                                      <p:to>
                                        <p:strVal val="visible"/>
                                      </p:to>
                                    </p:set>
                                    <p:animEffect transition="in" filter="wipe(right)">
                                      <p:cBhvr>
                                        <p:cTn id="26" dur="500"/>
                                        <p:tgtEl>
                                          <p:spTgt spid="89"/>
                                        </p:tgtEl>
                                      </p:cBhvr>
                                    </p:animEffect>
                                  </p:childTnLst>
                                </p:cTn>
                              </p:par>
                            </p:childTnLst>
                          </p:cTn>
                        </p:par>
                        <p:par>
                          <p:cTn id="27" fill="hold">
                            <p:stCondLst>
                              <p:cond delay="2500"/>
                            </p:stCondLst>
                            <p:childTnLst>
                              <p:par>
                                <p:cTn id="28" presetID="22" presetClass="entr" presetSubtype="1" fill="hold" nodeType="afterEffect">
                                  <p:stCondLst>
                                    <p:cond delay="0"/>
                                  </p:stCondLst>
                                  <p:childTnLst>
                                    <p:set>
                                      <p:cBhvr>
                                        <p:cTn id="29" dur="1" fill="hold">
                                          <p:stCondLst>
                                            <p:cond delay="0"/>
                                          </p:stCondLst>
                                        </p:cTn>
                                        <p:tgtEl>
                                          <p:spTgt spid="83"/>
                                        </p:tgtEl>
                                        <p:attrNameLst>
                                          <p:attrName>style.visibility</p:attrName>
                                        </p:attrNameLst>
                                      </p:cBhvr>
                                      <p:to>
                                        <p:strVal val="visible"/>
                                      </p:to>
                                    </p:set>
                                    <p:animEffect transition="in" filter="wipe(up)">
                                      <p:cBhvr>
                                        <p:cTn id="30" dur="500"/>
                                        <p:tgtEl>
                                          <p:spTgt spid="83"/>
                                        </p:tgtEl>
                                      </p:cBhvr>
                                    </p:animEffect>
                                  </p:childTnLst>
                                </p:cTn>
                              </p:par>
                            </p:childTnLst>
                          </p:cTn>
                        </p:par>
                        <p:par>
                          <p:cTn id="31" fill="hold">
                            <p:stCondLst>
                              <p:cond delay="3000"/>
                            </p:stCondLst>
                            <p:childTnLst>
                              <p:par>
                                <p:cTn id="32" presetID="10" presetClass="entr" presetSubtype="0" fill="hold" nodeType="afterEffect">
                                  <p:stCondLst>
                                    <p:cond delay="0"/>
                                  </p:stCondLst>
                                  <p:childTnLst>
                                    <p:set>
                                      <p:cBhvr>
                                        <p:cTn id="33" dur="1" fill="hold">
                                          <p:stCondLst>
                                            <p:cond delay="0"/>
                                          </p:stCondLst>
                                        </p:cTn>
                                        <p:tgtEl>
                                          <p:spTgt spid="81"/>
                                        </p:tgtEl>
                                        <p:attrNameLst>
                                          <p:attrName>style.visibility</p:attrName>
                                        </p:attrNameLst>
                                      </p:cBhvr>
                                      <p:to>
                                        <p:strVal val="visible"/>
                                      </p:to>
                                    </p:set>
                                    <p:animEffect transition="in" filter="fade">
                                      <p:cBhvr>
                                        <p:cTn id="34" dur="500"/>
                                        <p:tgtEl>
                                          <p:spTgt spid="81"/>
                                        </p:tgtEl>
                                      </p:cBhvr>
                                    </p:animEffect>
                                  </p:childTnLst>
                                </p:cTn>
                              </p:par>
                            </p:childTnLst>
                          </p:cTn>
                        </p:par>
                        <p:par>
                          <p:cTn id="35" fill="hold">
                            <p:stCondLst>
                              <p:cond delay="3500"/>
                            </p:stCondLst>
                            <p:childTnLst>
                              <p:par>
                                <p:cTn id="36" presetID="22" presetClass="entr" presetSubtype="2" fill="hold" grpId="0" nodeType="afterEffect">
                                  <p:stCondLst>
                                    <p:cond delay="0"/>
                                  </p:stCondLst>
                                  <p:childTnLst>
                                    <p:set>
                                      <p:cBhvr>
                                        <p:cTn id="37" dur="1" fill="hold">
                                          <p:stCondLst>
                                            <p:cond delay="0"/>
                                          </p:stCondLst>
                                        </p:cTn>
                                        <p:tgtEl>
                                          <p:spTgt spid="91"/>
                                        </p:tgtEl>
                                        <p:attrNameLst>
                                          <p:attrName>style.visibility</p:attrName>
                                        </p:attrNameLst>
                                      </p:cBhvr>
                                      <p:to>
                                        <p:strVal val="visible"/>
                                      </p:to>
                                    </p:set>
                                    <p:animEffect transition="in" filter="wipe(right)">
                                      <p:cBhvr>
                                        <p:cTn id="38" dur="500"/>
                                        <p:tgtEl>
                                          <p:spTgt spid="91"/>
                                        </p:tgtEl>
                                      </p:cBhvr>
                                    </p:animEffect>
                                  </p:childTnLst>
                                </p:cTn>
                              </p:par>
                            </p:childTnLst>
                          </p:cTn>
                        </p:par>
                        <p:par>
                          <p:cTn id="39" fill="hold">
                            <p:stCondLst>
                              <p:cond delay="4000"/>
                            </p:stCondLst>
                            <p:childTnLst>
                              <p:par>
                                <p:cTn id="40" presetID="22" presetClass="entr" presetSubtype="4" fill="hold" nodeType="afterEffect">
                                  <p:stCondLst>
                                    <p:cond delay="0"/>
                                  </p:stCondLst>
                                  <p:childTnLst>
                                    <p:set>
                                      <p:cBhvr>
                                        <p:cTn id="41" dur="1" fill="hold">
                                          <p:stCondLst>
                                            <p:cond delay="0"/>
                                          </p:stCondLst>
                                        </p:cTn>
                                        <p:tgtEl>
                                          <p:spTgt spid="84"/>
                                        </p:tgtEl>
                                        <p:attrNameLst>
                                          <p:attrName>style.visibility</p:attrName>
                                        </p:attrNameLst>
                                      </p:cBhvr>
                                      <p:to>
                                        <p:strVal val="visible"/>
                                      </p:to>
                                    </p:set>
                                    <p:animEffect transition="in" filter="wipe(down)">
                                      <p:cBhvr>
                                        <p:cTn id="42" dur="500"/>
                                        <p:tgtEl>
                                          <p:spTgt spid="84"/>
                                        </p:tgtEl>
                                      </p:cBhvr>
                                    </p:animEffect>
                                  </p:childTnLst>
                                </p:cTn>
                              </p:par>
                            </p:childTnLst>
                          </p:cTn>
                        </p:par>
                        <p:par>
                          <p:cTn id="43" fill="hold">
                            <p:stCondLst>
                              <p:cond delay="4500"/>
                            </p:stCondLst>
                            <p:childTnLst>
                              <p:par>
                                <p:cTn id="44" presetID="10" presetClass="entr" presetSubtype="0" fill="hold" nodeType="afterEffect">
                                  <p:stCondLst>
                                    <p:cond delay="0"/>
                                  </p:stCondLst>
                                  <p:childTnLst>
                                    <p:set>
                                      <p:cBhvr>
                                        <p:cTn id="45" dur="1" fill="hold">
                                          <p:stCondLst>
                                            <p:cond delay="0"/>
                                          </p:stCondLst>
                                        </p:cTn>
                                        <p:tgtEl>
                                          <p:spTgt spid="77"/>
                                        </p:tgtEl>
                                        <p:attrNameLst>
                                          <p:attrName>style.visibility</p:attrName>
                                        </p:attrNameLst>
                                      </p:cBhvr>
                                      <p:to>
                                        <p:strVal val="visible"/>
                                      </p:to>
                                    </p:set>
                                    <p:animEffect transition="in" filter="fade">
                                      <p:cBhvr>
                                        <p:cTn id="46" dur="500"/>
                                        <p:tgtEl>
                                          <p:spTgt spid="77"/>
                                        </p:tgtEl>
                                      </p:cBhvr>
                                    </p:animEffect>
                                  </p:childTnLst>
                                </p:cTn>
                              </p:par>
                            </p:childTnLst>
                          </p:cTn>
                        </p:par>
                        <p:par>
                          <p:cTn id="47" fill="hold">
                            <p:stCondLst>
                              <p:cond delay="5000"/>
                            </p:stCondLst>
                            <p:childTnLst>
                              <p:par>
                                <p:cTn id="48" presetID="22" presetClass="entr" presetSubtype="8" fill="hold" grpId="0" nodeType="afterEffect">
                                  <p:stCondLst>
                                    <p:cond delay="0"/>
                                  </p:stCondLst>
                                  <p:childTnLst>
                                    <p:set>
                                      <p:cBhvr>
                                        <p:cTn id="49" dur="1" fill="hold">
                                          <p:stCondLst>
                                            <p:cond delay="0"/>
                                          </p:stCondLst>
                                        </p:cTn>
                                        <p:tgtEl>
                                          <p:spTgt spid="92"/>
                                        </p:tgtEl>
                                        <p:attrNameLst>
                                          <p:attrName>style.visibility</p:attrName>
                                        </p:attrNameLst>
                                      </p:cBhvr>
                                      <p:to>
                                        <p:strVal val="visible"/>
                                      </p:to>
                                    </p:set>
                                    <p:animEffect transition="in" filter="wipe(left)">
                                      <p:cBhvr>
                                        <p:cTn id="50" dur="500"/>
                                        <p:tgtEl>
                                          <p:spTgt spid="92"/>
                                        </p:tgtEl>
                                      </p:cBhvr>
                                    </p:animEffect>
                                  </p:childTnLst>
                                </p:cTn>
                              </p:par>
                            </p:childTnLst>
                          </p:cTn>
                        </p:par>
                        <p:par>
                          <p:cTn id="51" fill="hold">
                            <p:stCondLst>
                              <p:cond delay="5500"/>
                            </p:stCondLst>
                            <p:childTnLst>
                              <p:par>
                                <p:cTn id="52" presetID="22" presetClass="entr" presetSubtype="1" fill="hold" nodeType="afterEffect">
                                  <p:stCondLst>
                                    <p:cond delay="0"/>
                                  </p:stCondLst>
                                  <p:childTnLst>
                                    <p:set>
                                      <p:cBhvr>
                                        <p:cTn id="53" dur="1" fill="hold">
                                          <p:stCondLst>
                                            <p:cond delay="0"/>
                                          </p:stCondLst>
                                        </p:cTn>
                                        <p:tgtEl>
                                          <p:spTgt spid="85"/>
                                        </p:tgtEl>
                                        <p:attrNameLst>
                                          <p:attrName>style.visibility</p:attrName>
                                        </p:attrNameLst>
                                      </p:cBhvr>
                                      <p:to>
                                        <p:strVal val="visible"/>
                                      </p:to>
                                    </p:set>
                                    <p:animEffect transition="in" filter="wipe(up)">
                                      <p:cBhvr>
                                        <p:cTn id="54" dur="500"/>
                                        <p:tgtEl>
                                          <p:spTgt spid="85"/>
                                        </p:tgtEl>
                                      </p:cBhvr>
                                    </p:animEffect>
                                  </p:childTnLst>
                                </p:cTn>
                              </p:par>
                            </p:childTnLst>
                          </p:cTn>
                        </p:par>
                        <p:par>
                          <p:cTn id="55" fill="hold">
                            <p:stCondLst>
                              <p:cond delay="6000"/>
                            </p:stCondLst>
                            <p:childTnLst>
                              <p:par>
                                <p:cTn id="56" presetID="10" presetClass="entr" presetSubtype="0" fill="hold" nodeType="afterEffect">
                                  <p:stCondLst>
                                    <p:cond delay="0"/>
                                  </p:stCondLst>
                                  <p:childTnLst>
                                    <p:set>
                                      <p:cBhvr>
                                        <p:cTn id="57" dur="1" fill="hold">
                                          <p:stCondLst>
                                            <p:cond delay="0"/>
                                          </p:stCondLst>
                                        </p:cTn>
                                        <p:tgtEl>
                                          <p:spTgt spid="79"/>
                                        </p:tgtEl>
                                        <p:attrNameLst>
                                          <p:attrName>style.visibility</p:attrName>
                                        </p:attrNameLst>
                                      </p:cBhvr>
                                      <p:to>
                                        <p:strVal val="visible"/>
                                      </p:to>
                                    </p:set>
                                    <p:animEffect transition="in" filter="fade">
                                      <p:cBhvr>
                                        <p:cTn id="58" dur="500"/>
                                        <p:tgtEl>
                                          <p:spTgt spid="79"/>
                                        </p:tgtEl>
                                      </p:cBhvr>
                                    </p:animEffect>
                                  </p:childTnLst>
                                </p:cTn>
                              </p:par>
                            </p:childTnLst>
                          </p:cTn>
                        </p:par>
                        <p:par>
                          <p:cTn id="59" fill="hold">
                            <p:stCondLst>
                              <p:cond delay="6500"/>
                            </p:stCondLst>
                            <p:childTnLst>
                              <p:par>
                                <p:cTn id="60" presetID="22" presetClass="entr" presetSubtype="8" fill="hold" grpId="0" nodeType="afterEffect">
                                  <p:stCondLst>
                                    <p:cond delay="0"/>
                                  </p:stCondLst>
                                  <p:childTnLst>
                                    <p:set>
                                      <p:cBhvr>
                                        <p:cTn id="61" dur="1" fill="hold">
                                          <p:stCondLst>
                                            <p:cond delay="0"/>
                                          </p:stCondLst>
                                        </p:cTn>
                                        <p:tgtEl>
                                          <p:spTgt spid="93"/>
                                        </p:tgtEl>
                                        <p:attrNameLst>
                                          <p:attrName>style.visibility</p:attrName>
                                        </p:attrNameLst>
                                      </p:cBhvr>
                                      <p:to>
                                        <p:strVal val="visible"/>
                                      </p:to>
                                    </p:set>
                                    <p:animEffect transition="in" filter="wipe(left)">
                                      <p:cBhvr>
                                        <p:cTn id="62" dur="500"/>
                                        <p:tgtEl>
                                          <p:spTgt spid="93"/>
                                        </p:tgtEl>
                                      </p:cBhvr>
                                    </p:animEffect>
                                  </p:childTnLst>
                                </p:cTn>
                              </p:par>
                            </p:childTnLst>
                          </p:cTn>
                        </p:par>
                        <p:par>
                          <p:cTn id="63" fill="hold">
                            <p:stCondLst>
                              <p:cond delay="7000"/>
                            </p:stCondLst>
                            <p:childTnLst>
                              <p:par>
                                <p:cTn id="64" presetID="22" presetClass="entr" presetSubtype="4" fill="hold" nodeType="afterEffect">
                                  <p:stCondLst>
                                    <p:cond delay="0"/>
                                  </p:stCondLst>
                                  <p:childTnLst>
                                    <p:set>
                                      <p:cBhvr>
                                        <p:cTn id="65" dur="1" fill="hold">
                                          <p:stCondLst>
                                            <p:cond delay="0"/>
                                          </p:stCondLst>
                                        </p:cTn>
                                        <p:tgtEl>
                                          <p:spTgt spid="86"/>
                                        </p:tgtEl>
                                        <p:attrNameLst>
                                          <p:attrName>style.visibility</p:attrName>
                                        </p:attrNameLst>
                                      </p:cBhvr>
                                      <p:to>
                                        <p:strVal val="visible"/>
                                      </p:to>
                                    </p:set>
                                    <p:animEffect transition="in" filter="wipe(down)">
                                      <p:cBhvr>
                                        <p:cTn id="66" dur="500"/>
                                        <p:tgtEl>
                                          <p:spTgt spid="86"/>
                                        </p:tgtEl>
                                      </p:cBhvr>
                                    </p:animEffect>
                                  </p:childTnLst>
                                </p:cTn>
                              </p:par>
                            </p:childTnLst>
                          </p:cTn>
                        </p:par>
                        <p:par>
                          <p:cTn id="67" fill="hold">
                            <p:stCondLst>
                              <p:cond delay="7500"/>
                            </p:stCondLst>
                            <p:childTnLst>
                              <p:par>
                                <p:cTn id="68" presetID="10" presetClass="entr" presetSubtype="0" fill="hold" nodeType="afterEffect">
                                  <p:stCondLst>
                                    <p:cond delay="0"/>
                                  </p:stCondLst>
                                  <p:childTnLst>
                                    <p:set>
                                      <p:cBhvr>
                                        <p:cTn id="69" dur="1" fill="hold">
                                          <p:stCondLst>
                                            <p:cond delay="0"/>
                                          </p:stCondLst>
                                        </p:cTn>
                                        <p:tgtEl>
                                          <p:spTgt spid="78"/>
                                        </p:tgtEl>
                                        <p:attrNameLst>
                                          <p:attrName>style.visibility</p:attrName>
                                        </p:attrNameLst>
                                      </p:cBhvr>
                                      <p:to>
                                        <p:strVal val="visible"/>
                                      </p:to>
                                    </p:set>
                                    <p:animEffect transition="in" filter="fade">
                                      <p:cBhvr>
                                        <p:cTn id="70" dur="500"/>
                                        <p:tgtEl>
                                          <p:spTgt spid="78"/>
                                        </p:tgtEl>
                                      </p:cBhvr>
                                    </p:animEffect>
                                  </p:childTnLst>
                                </p:cTn>
                              </p:par>
                            </p:childTnLst>
                          </p:cTn>
                        </p:par>
                        <p:par>
                          <p:cTn id="71" fill="hold">
                            <p:stCondLst>
                              <p:cond delay="8000"/>
                            </p:stCondLst>
                            <p:childTnLst>
                              <p:par>
                                <p:cTn id="72" presetID="22" presetClass="entr" presetSubtype="8" fill="hold" grpId="0" nodeType="afterEffect">
                                  <p:stCondLst>
                                    <p:cond delay="0"/>
                                  </p:stCondLst>
                                  <p:childTnLst>
                                    <p:set>
                                      <p:cBhvr>
                                        <p:cTn id="73" dur="1" fill="hold">
                                          <p:stCondLst>
                                            <p:cond delay="0"/>
                                          </p:stCondLst>
                                        </p:cTn>
                                        <p:tgtEl>
                                          <p:spTgt spid="94"/>
                                        </p:tgtEl>
                                        <p:attrNameLst>
                                          <p:attrName>style.visibility</p:attrName>
                                        </p:attrNameLst>
                                      </p:cBhvr>
                                      <p:to>
                                        <p:strVal val="visible"/>
                                      </p:to>
                                    </p:set>
                                    <p:animEffect transition="in" filter="wipe(left)">
                                      <p:cBhvr>
                                        <p:cTn id="74" dur="500"/>
                                        <p:tgtEl>
                                          <p:spTgt spid="94"/>
                                        </p:tgtEl>
                                      </p:cBhvr>
                                    </p:animEffect>
                                  </p:childTnLst>
                                </p:cTn>
                              </p:par>
                            </p:childTnLst>
                          </p:cTn>
                        </p:par>
                        <p:par>
                          <p:cTn id="75" fill="hold">
                            <p:stCondLst>
                              <p:cond delay="8500"/>
                            </p:stCondLst>
                            <p:childTnLst>
                              <p:par>
                                <p:cTn id="76" presetID="22" presetClass="entr" presetSubtype="1" fill="hold" nodeType="afterEffect">
                                  <p:stCondLst>
                                    <p:cond delay="0"/>
                                  </p:stCondLst>
                                  <p:childTnLst>
                                    <p:set>
                                      <p:cBhvr>
                                        <p:cTn id="77" dur="1" fill="hold">
                                          <p:stCondLst>
                                            <p:cond delay="0"/>
                                          </p:stCondLst>
                                        </p:cTn>
                                        <p:tgtEl>
                                          <p:spTgt spid="87"/>
                                        </p:tgtEl>
                                        <p:attrNameLst>
                                          <p:attrName>style.visibility</p:attrName>
                                        </p:attrNameLst>
                                      </p:cBhvr>
                                      <p:to>
                                        <p:strVal val="visible"/>
                                      </p:to>
                                    </p:set>
                                    <p:animEffect transition="in" filter="wipe(up)">
                                      <p:cBhvr>
                                        <p:cTn id="78" dur="500"/>
                                        <p:tgtEl>
                                          <p:spTgt spid="87"/>
                                        </p:tgtEl>
                                      </p:cBhvr>
                                    </p:animEffect>
                                  </p:childTnLst>
                                </p:cTn>
                              </p:par>
                            </p:childTnLst>
                          </p:cTn>
                        </p:par>
                        <p:par>
                          <p:cTn id="79" fill="hold">
                            <p:stCondLst>
                              <p:cond delay="9000"/>
                            </p:stCondLst>
                            <p:childTnLst>
                              <p:par>
                                <p:cTn id="80" presetID="10" presetClass="entr" presetSubtype="0" fill="hold" nodeType="afterEffect">
                                  <p:stCondLst>
                                    <p:cond delay="0"/>
                                  </p:stCondLst>
                                  <p:childTnLst>
                                    <p:set>
                                      <p:cBhvr>
                                        <p:cTn id="81" dur="1" fill="hold">
                                          <p:stCondLst>
                                            <p:cond delay="0"/>
                                          </p:stCondLst>
                                        </p:cTn>
                                        <p:tgtEl>
                                          <p:spTgt spid="80"/>
                                        </p:tgtEl>
                                        <p:attrNameLst>
                                          <p:attrName>style.visibility</p:attrName>
                                        </p:attrNameLst>
                                      </p:cBhvr>
                                      <p:to>
                                        <p:strVal val="visible"/>
                                      </p:to>
                                    </p:set>
                                    <p:animEffect transition="in" filter="fade">
                                      <p:cBhvr>
                                        <p:cTn id="82" dur="500"/>
                                        <p:tgtEl>
                                          <p:spTgt spid="80"/>
                                        </p:tgtEl>
                                      </p:cBhvr>
                                    </p:animEffect>
                                  </p:childTnLst>
                                </p:cTn>
                              </p:par>
                            </p:childTnLst>
                          </p:cTn>
                        </p:par>
                        <p:par>
                          <p:cTn id="83" fill="hold">
                            <p:stCondLst>
                              <p:cond delay="9500"/>
                            </p:stCondLst>
                            <p:childTnLst>
                              <p:par>
                                <p:cTn id="84" presetID="22" presetClass="entr" presetSubtype="8" fill="hold" grpId="0" nodeType="afterEffect">
                                  <p:stCondLst>
                                    <p:cond delay="0"/>
                                  </p:stCondLst>
                                  <p:childTnLst>
                                    <p:set>
                                      <p:cBhvr>
                                        <p:cTn id="85" dur="1" fill="hold">
                                          <p:stCondLst>
                                            <p:cond delay="0"/>
                                          </p:stCondLst>
                                        </p:cTn>
                                        <p:tgtEl>
                                          <p:spTgt spid="95"/>
                                        </p:tgtEl>
                                        <p:attrNameLst>
                                          <p:attrName>style.visibility</p:attrName>
                                        </p:attrNameLst>
                                      </p:cBhvr>
                                      <p:to>
                                        <p:strVal val="visible"/>
                                      </p:to>
                                    </p:set>
                                    <p:animEffect transition="in" filter="wipe(left)">
                                      <p:cBhvr>
                                        <p:cTn id="86" dur="500"/>
                                        <p:tgtEl>
                                          <p:spTgt spid="9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9" grpId="0"/>
      <p:bldP spid="91" grpId="0"/>
      <p:bldP spid="92" grpId="0"/>
      <p:bldP spid="93" grpId="0"/>
      <p:bldP spid="94" grpId="0"/>
      <p:bldP spid="95" grpId="0"/>
      <p:bldP spid="72" grpId="0" animBg="1"/>
      <p:bldP spid="88"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矩形 33" hidden="1"/>
          <p:cNvSpPr/>
          <p:nvPr/>
        </p:nvSpPr>
        <p:spPr>
          <a:xfrm>
            <a:off x="2584817" y="2133288"/>
            <a:ext cx="936104" cy="6551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smtClean="0">
                <a:solidFill>
                  <a:srgbClr val="B0F533"/>
                </a:solidFill>
                <a:latin typeface="Gill Sans MT Pro Light" pitchFamily="34" charset="0"/>
              </a:rPr>
              <a:t>1</a:t>
            </a:r>
            <a:endParaRPr lang="zh-CN" altLang="en-US" sz="3600">
              <a:solidFill>
                <a:srgbClr val="B0F533"/>
              </a:solidFill>
              <a:latin typeface="Gill Sans MT Pro Light" pitchFamily="34" charset="0"/>
            </a:endParaRPr>
          </a:p>
        </p:txBody>
      </p:sp>
      <p:sp>
        <p:nvSpPr>
          <p:cNvPr id="35" name="矩形 34" hidden="1"/>
          <p:cNvSpPr/>
          <p:nvPr/>
        </p:nvSpPr>
        <p:spPr>
          <a:xfrm>
            <a:off x="3621305" y="2133288"/>
            <a:ext cx="5984291" cy="655104"/>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smtClean="0">
                <a:latin typeface="华文黑体" pitchFamily="2" charset="-122"/>
                <a:ea typeface="华文黑体" pitchFamily="2" charset="-122"/>
                <a:cs typeface="华文黑体" pitchFamily="2" charset="-122"/>
              </a:rPr>
              <a:t>                     点击添加标题</a:t>
            </a:r>
            <a:endParaRPr lang="zh-CN" altLang="en-US" sz="2800">
              <a:latin typeface="华文黑体" pitchFamily="2" charset="-122"/>
              <a:ea typeface="华文黑体" pitchFamily="2" charset="-122"/>
              <a:cs typeface="华文黑体" pitchFamily="2" charset="-122"/>
            </a:endParaRPr>
          </a:p>
        </p:txBody>
      </p:sp>
      <p:sp>
        <p:nvSpPr>
          <p:cNvPr id="72" name="TextBox 71"/>
          <p:cNvSpPr txBox="1"/>
          <p:nvPr/>
        </p:nvSpPr>
        <p:spPr>
          <a:xfrm>
            <a:off x="2062758" y="2492896"/>
            <a:ext cx="3816424" cy="1723549"/>
          </a:xfrm>
          <a:prstGeom prst="rect">
            <a:avLst/>
          </a:prstGeom>
          <a:noFill/>
        </p:spPr>
        <p:txBody>
          <a:bodyPr wrap="square" rtlCol="0">
            <a:spAutoFit/>
          </a:bodyPr>
          <a:lstStyle/>
          <a:p>
            <a:r>
              <a:rPr lang="zh-CN" altLang="en-US" sz="2400" smtClean="0">
                <a:solidFill>
                  <a:schemeClr val="bg1"/>
                </a:solidFill>
                <a:latin typeface="华文黑体" pitchFamily="2" charset="-122"/>
                <a:ea typeface="华文黑体" pitchFamily="2" charset="-122"/>
                <a:cs typeface="华文黑体" pitchFamily="2" charset="-122"/>
              </a:rPr>
              <a:t>单击添加标题</a:t>
            </a:r>
            <a:endParaRPr lang="en-US" altLang="zh-CN" sz="2400" smtClean="0">
              <a:solidFill>
                <a:schemeClr val="bg1"/>
              </a:solidFill>
              <a:latin typeface="华文黑体" pitchFamily="2" charset="-122"/>
              <a:ea typeface="华文黑体" pitchFamily="2" charset="-122"/>
              <a:cs typeface="华文黑体" pitchFamily="2" charset="-122"/>
            </a:endParaRPr>
          </a:p>
          <a:p>
            <a:endParaRPr lang="en-US" altLang="zh-CN" sz="1000" smtClean="0">
              <a:solidFill>
                <a:schemeClr val="bg1"/>
              </a:solidFill>
              <a:latin typeface="华文黑体" pitchFamily="2" charset="-122"/>
              <a:ea typeface="华文黑体" pitchFamily="2" charset="-122"/>
              <a:cs typeface="华文黑体" pitchFamily="2" charset="-122"/>
            </a:endParaRPr>
          </a:p>
          <a:p>
            <a:r>
              <a:rPr lang="zh-CN" altLang="en-US" smtClean="0">
                <a:solidFill>
                  <a:schemeClr val="bg1"/>
                </a:solidFill>
                <a:latin typeface="华文细黑" panose="02010600040101010101" pitchFamily="2" charset="-122"/>
                <a:ea typeface="华文细黑" panose="02010600040101010101" pitchFamily="2" charset="-122"/>
                <a:cs typeface="华文黑体" pitchFamily="2" charset="-122"/>
              </a:rPr>
              <a:t>单击添加文本单击添加文本单击添加文本单击添加文本单击</a:t>
            </a:r>
            <a:r>
              <a:rPr lang="zh-CN" altLang="en-US">
                <a:solidFill>
                  <a:schemeClr val="bg1"/>
                </a:solidFill>
                <a:latin typeface="华文细黑" panose="02010600040101010101" pitchFamily="2" charset="-122"/>
                <a:ea typeface="华文细黑" panose="02010600040101010101" pitchFamily="2" charset="-122"/>
                <a:cs typeface="华文黑体" pitchFamily="2" charset="-122"/>
              </a:rPr>
              <a:t>添加</a:t>
            </a:r>
            <a:r>
              <a:rPr lang="zh-CN" altLang="en-US" smtClean="0">
                <a:solidFill>
                  <a:schemeClr val="bg1"/>
                </a:solidFill>
                <a:latin typeface="华文细黑" panose="02010600040101010101" pitchFamily="2" charset="-122"/>
                <a:ea typeface="华文细黑" panose="02010600040101010101" pitchFamily="2" charset="-122"/>
                <a:cs typeface="华文黑体" pitchFamily="2" charset="-122"/>
              </a:rPr>
              <a:t>文本单击添加</a:t>
            </a:r>
            <a:r>
              <a:rPr lang="zh-CN" altLang="en-US">
                <a:solidFill>
                  <a:schemeClr val="bg1"/>
                </a:solidFill>
                <a:latin typeface="华文细黑" panose="02010600040101010101" pitchFamily="2" charset="-122"/>
                <a:ea typeface="华文细黑" panose="02010600040101010101" pitchFamily="2" charset="-122"/>
                <a:cs typeface="华文黑体" pitchFamily="2" charset="-122"/>
              </a:rPr>
              <a:t>文本单击添加文本单击添加文本</a:t>
            </a:r>
            <a:endParaRPr lang="zh-CN" altLang="en-US">
              <a:solidFill>
                <a:schemeClr val="bg1"/>
              </a:solidFill>
              <a:latin typeface="华文细黑" panose="02010600040101010101" pitchFamily="2" charset="-122"/>
              <a:ea typeface="华文细黑" panose="02010600040101010101" pitchFamily="2" charset="-122"/>
              <a:cs typeface="华文黑体" pitchFamily="2" charset="-122"/>
            </a:endParaRPr>
          </a:p>
        </p:txBody>
      </p:sp>
      <p:pic>
        <p:nvPicPr>
          <p:cNvPr id="2050" name="Picture 2" descr="D:\360data\重要数据\桌面\168849707.jpg"/>
          <p:cNvPicPr>
            <a:picLocks noChangeAspect="1" noChangeArrowheads="1"/>
          </p:cNvPicPr>
          <p:nvPr/>
        </p:nvPicPr>
        <p:blipFill>
          <a:blip r:embed="rId1" cstate="print">
            <a:extLst>
              <a:ext uri="{28A0092B-C50C-407E-A947-70E740481C1C}">
                <a14:useLocalDpi xmlns:a14="http://schemas.microsoft.com/office/drawing/2010/main" val="0"/>
              </a:ext>
            </a:extLst>
          </a:blip>
          <a:srcRect/>
          <a:stretch>
            <a:fillRect/>
          </a:stretch>
        </p:blipFill>
        <p:spPr bwMode="auto">
          <a:xfrm>
            <a:off x="6383238" y="2132856"/>
            <a:ext cx="3902694" cy="2596372"/>
          </a:xfrm>
          <a:prstGeom prst="rect">
            <a:avLst/>
          </a:prstGeom>
          <a:noFill/>
          <a:effectLst>
            <a:reflection blurRad="6350" stA="30000" endPos="35000" dir="5400000" sy="-100000" algn="bl" rotWithShape="0"/>
          </a:effectLst>
          <a:extLst>
            <a:ext uri="{909E8E84-426E-40DD-AFC4-6F175D3DCCD1}">
              <a14:hiddenFill xmlns:a14="http://schemas.microsoft.com/office/drawing/2010/main">
                <a:solidFill>
                  <a:srgbClr val="FFFFFF"/>
                </a:solidFill>
              </a14:hiddenFill>
            </a:ext>
          </a:extLst>
        </p:spPr>
      </p:pic>
      <p:grpSp>
        <p:nvGrpSpPr>
          <p:cNvPr id="13" name="组合 12"/>
          <p:cNvGrpSpPr/>
          <p:nvPr/>
        </p:nvGrpSpPr>
        <p:grpSpPr>
          <a:xfrm>
            <a:off x="1075361" y="3177876"/>
            <a:ext cx="10039690" cy="430239"/>
            <a:chOff x="1075361" y="3177876"/>
            <a:chExt cx="10039690" cy="430239"/>
          </a:xfrm>
        </p:grpSpPr>
        <p:sp>
          <p:nvSpPr>
            <p:cNvPr id="10" name="半闭框 9"/>
            <p:cNvSpPr/>
            <p:nvPr/>
          </p:nvSpPr>
          <p:spPr>
            <a:xfrm rot="18900000">
              <a:off x="1075361" y="3177876"/>
              <a:ext cx="430239" cy="430239"/>
            </a:xfrm>
            <a:custGeom>
              <a:avLst/>
              <a:gdLst>
                <a:gd name="connsiteX0" fmla="*/ 0 w 504056"/>
                <a:gd name="connsiteY0" fmla="*/ 0 h 504056"/>
                <a:gd name="connsiteX1" fmla="*/ 504056 w 504056"/>
                <a:gd name="connsiteY1" fmla="*/ 0 h 504056"/>
                <a:gd name="connsiteX2" fmla="*/ 336039 w 504056"/>
                <a:gd name="connsiteY2" fmla="*/ 168017 h 504056"/>
                <a:gd name="connsiteX3" fmla="*/ 168017 w 504056"/>
                <a:gd name="connsiteY3" fmla="*/ 168017 h 504056"/>
                <a:gd name="connsiteX4" fmla="*/ 168017 w 504056"/>
                <a:gd name="connsiteY4" fmla="*/ 336039 h 504056"/>
                <a:gd name="connsiteX5" fmla="*/ 0 w 504056"/>
                <a:gd name="connsiteY5" fmla="*/ 504056 h 504056"/>
                <a:gd name="connsiteX6" fmla="*/ 0 w 504056"/>
                <a:gd name="connsiteY6" fmla="*/ 0 h 504056"/>
                <a:gd name="connsiteX0-1" fmla="*/ 336039 w 504056"/>
                <a:gd name="connsiteY0-2" fmla="*/ 168017 h 504056"/>
                <a:gd name="connsiteX1-3" fmla="*/ 168017 w 504056"/>
                <a:gd name="connsiteY1-4" fmla="*/ 168017 h 504056"/>
                <a:gd name="connsiteX2-5" fmla="*/ 168017 w 504056"/>
                <a:gd name="connsiteY2-6" fmla="*/ 336039 h 504056"/>
                <a:gd name="connsiteX3-7" fmla="*/ 0 w 504056"/>
                <a:gd name="connsiteY3-8" fmla="*/ 504056 h 504056"/>
                <a:gd name="connsiteX4-9" fmla="*/ 0 w 504056"/>
                <a:gd name="connsiteY4-10" fmla="*/ 0 h 504056"/>
                <a:gd name="connsiteX5-11" fmla="*/ 504056 w 504056"/>
                <a:gd name="connsiteY5-12" fmla="*/ 0 h 504056"/>
                <a:gd name="connsiteX6-13" fmla="*/ 427479 w 504056"/>
                <a:gd name="connsiteY6-14" fmla="*/ 259457 h 504056"/>
                <a:gd name="connsiteX0-15" fmla="*/ 336039 w 504056"/>
                <a:gd name="connsiteY0-16" fmla="*/ 168017 h 504056"/>
                <a:gd name="connsiteX1-17" fmla="*/ 168017 w 504056"/>
                <a:gd name="connsiteY1-18" fmla="*/ 168017 h 504056"/>
                <a:gd name="connsiteX2-19" fmla="*/ 168017 w 504056"/>
                <a:gd name="connsiteY2-20" fmla="*/ 336039 h 504056"/>
                <a:gd name="connsiteX3-21" fmla="*/ 0 w 504056"/>
                <a:gd name="connsiteY3-22" fmla="*/ 504056 h 504056"/>
                <a:gd name="connsiteX4-23" fmla="*/ 0 w 504056"/>
                <a:gd name="connsiteY4-24" fmla="*/ 0 h 504056"/>
                <a:gd name="connsiteX5-25" fmla="*/ 504056 w 504056"/>
                <a:gd name="connsiteY5-26" fmla="*/ 0 h 504056"/>
                <a:gd name="connsiteX0-27" fmla="*/ 168017 w 504056"/>
                <a:gd name="connsiteY0-28" fmla="*/ 168017 h 504056"/>
                <a:gd name="connsiteX1-29" fmla="*/ 168017 w 504056"/>
                <a:gd name="connsiteY1-30" fmla="*/ 336039 h 504056"/>
                <a:gd name="connsiteX2-31" fmla="*/ 0 w 504056"/>
                <a:gd name="connsiteY2-32" fmla="*/ 504056 h 504056"/>
                <a:gd name="connsiteX3-33" fmla="*/ 0 w 504056"/>
                <a:gd name="connsiteY3-34" fmla="*/ 0 h 504056"/>
                <a:gd name="connsiteX4-35" fmla="*/ 504056 w 504056"/>
                <a:gd name="connsiteY4-36" fmla="*/ 0 h 504056"/>
                <a:gd name="connsiteX0-37" fmla="*/ 168017 w 504056"/>
                <a:gd name="connsiteY0-38" fmla="*/ 336039 h 504056"/>
                <a:gd name="connsiteX1-39" fmla="*/ 0 w 504056"/>
                <a:gd name="connsiteY1-40" fmla="*/ 504056 h 504056"/>
                <a:gd name="connsiteX2-41" fmla="*/ 0 w 504056"/>
                <a:gd name="connsiteY2-42" fmla="*/ 0 h 504056"/>
                <a:gd name="connsiteX3-43" fmla="*/ 504056 w 504056"/>
                <a:gd name="connsiteY3-44" fmla="*/ 0 h 504056"/>
                <a:gd name="connsiteX0-45" fmla="*/ 0 w 504056"/>
                <a:gd name="connsiteY0-46" fmla="*/ 504056 h 504056"/>
                <a:gd name="connsiteX1-47" fmla="*/ 0 w 504056"/>
                <a:gd name="connsiteY1-48" fmla="*/ 0 h 504056"/>
                <a:gd name="connsiteX2-49" fmla="*/ 504056 w 504056"/>
                <a:gd name="connsiteY2-50" fmla="*/ 0 h 504056"/>
              </a:gdLst>
              <a:ahLst/>
              <a:cxnLst>
                <a:cxn ang="0">
                  <a:pos x="connsiteX0-1" y="connsiteY0-2"/>
                </a:cxn>
                <a:cxn ang="0">
                  <a:pos x="connsiteX1-3" y="connsiteY1-4"/>
                </a:cxn>
                <a:cxn ang="0">
                  <a:pos x="connsiteX2-5" y="connsiteY2-6"/>
                </a:cxn>
              </a:cxnLst>
              <a:rect l="l" t="t" r="r" b="b"/>
              <a:pathLst>
                <a:path w="504056" h="504056">
                  <a:moveTo>
                    <a:pt x="0" y="504056"/>
                  </a:moveTo>
                  <a:lnTo>
                    <a:pt x="0" y="0"/>
                  </a:lnTo>
                  <a:lnTo>
                    <a:pt x="504056" y="0"/>
                  </a:lnTo>
                </a:path>
              </a:pathLst>
            </a:cu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sp>
          <p:nvSpPr>
            <p:cNvPr id="88" name="半闭框 9"/>
            <p:cNvSpPr/>
            <p:nvPr/>
          </p:nvSpPr>
          <p:spPr>
            <a:xfrm rot="2700000" flipH="1">
              <a:off x="10684812" y="3177876"/>
              <a:ext cx="430239" cy="430239"/>
            </a:xfrm>
            <a:custGeom>
              <a:avLst/>
              <a:gdLst>
                <a:gd name="connsiteX0" fmla="*/ 0 w 504056"/>
                <a:gd name="connsiteY0" fmla="*/ 0 h 504056"/>
                <a:gd name="connsiteX1" fmla="*/ 504056 w 504056"/>
                <a:gd name="connsiteY1" fmla="*/ 0 h 504056"/>
                <a:gd name="connsiteX2" fmla="*/ 336039 w 504056"/>
                <a:gd name="connsiteY2" fmla="*/ 168017 h 504056"/>
                <a:gd name="connsiteX3" fmla="*/ 168017 w 504056"/>
                <a:gd name="connsiteY3" fmla="*/ 168017 h 504056"/>
                <a:gd name="connsiteX4" fmla="*/ 168017 w 504056"/>
                <a:gd name="connsiteY4" fmla="*/ 336039 h 504056"/>
                <a:gd name="connsiteX5" fmla="*/ 0 w 504056"/>
                <a:gd name="connsiteY5" fmla="*/ 504056 h 504056"/>
                <a:gd name="connsiteX6" fmla="*/ 0 w 504056"/>
                <a:gd name="connsiteY6" fmla="*/ 0 h 504056"/>
                <a:gd name="connsiteX0-1" fmla="*/ 336039 w 504056"/>
                <a:gd name="connsiteY0-2" fmla="*/ 168017 h 504056"/>
                <a:gd name="connsiteX1-3" fmla="*/ 168017 w 504056"/>
                <a:gd name="connsiteY1-4" fmla="*/ 168017 h 504056"/>
                <a:gd name="connsiteX2-5" fmla="*/ 168017 w 504056"/>
                <a:gd name="connsiteY2-6" fmla="*/ 336039 h 504056"/>
                <a:gd name="connsiteX3-7" fmla="*/ 0 w 504056"/>
                <a:gd name="connsiteY3-8" fmla="*/ 504056 h 504056"/>
                <a:gd name="connsiteX4-9" fmla="*/ 0 w 504056"/>
                <a:gd name="connsiteY4-10" fmla="*/ 0 h 504056"/>
                <a:gd name="connsiteX5-11" fmla="*/ 504056 w 504056"/>
                <a:gd name="connsiteY5-12" fmla="*/ 0 h 504056"/>
                <a:gd name="connsiteX6-13" fmla="*/ 427479 w 504056"/>
                <a:gd name="connsiteY6-14" fmla="*/ 259457 h 504056"/>
                <a:gd name="connsiteX0-15" fmla="*/ 336039 w 504056"/>
                <a:gd name="connsiteY0-16" fmla="*/ 168017 h 504056"/>
                <a:gd name="connsiteX1-17" fmla="*/ 168017 w 504056"/>
                <a:gd name="connsiteY1-18" fmla="*/ 168017 h 504056"/>
                <a:gd name="connsiteX2-19" fmla="*/ 168017 w 504056"/>
                <a:gd name="connsiteY2-20" fmla="*/ 336039 h 504056"/>
                <a:gd name="connsiteX3-21" fmla="*/ 0 w 504056"/>
                <a:gd name="connsiteY3-22" fmla="*/ 504056 h 504056"/>
                <a:gd name="connsiteX4-23" fmla="*/ 0 w 504056"/>
                <a:gd name="connsiteY4-24" fmla="*/ 0 h 504056"/>
                <a:gd name="connsiteX5-25" fmla="*/ 504056 w 504056"/>
                <a:gd name="connsiteY5-26" fmla="*/ 0 h 504056"/>
                <a:gd name="connsiteX0-27" fmla="*/ 168017 w 504056"/>
                <a:gd name="connsiteY0-28" fmla="*/ 168017 h 504056"/>
                <a:gd name="connsiteX1-29" fmla="*/ 168017 w 504056"/>
                <a:gd name="connsiteY1-30" fmla="*/ 336039 h 504056"/>
                <a:gd name="connsiteX2-31" fmla="*/ 0 w 504056"/>
                <a:gd name="connsiteY2-32" fmla="*/ 504056 h 504056"/>
                <a:gd name="connsiteX3-33" fmla="*/ 0 w 504056"/>
                <a:gd name="connsiteY3-34" fmla="*/ 0 h 504056"/>
                <a:gd name="connsiteX4-35" fmla="*/ 504056 w 504056"/>
                <a:gd name="connsiteY4-36" fmla="*/ 0 h 504056"/>
                <a:gd name="connsiteX0-37" fmla="*/ 168017 w 504056"/>
                <a:gd name="connsiteY0-38" fmla="*/ 336039 h 504056"/>
                <a:gd name="connsiteX1-39" fmla="*/ 0 w 504056"/>
                <a:gd name="connsiteY1-40" fmla="*/ 504056 h 504056"/>
                <a:gd name="connsiteX2-41" fmla="*/ 0 w 504056"/>
                <a:gd name="connsiteY2-42" fmla="*/ 0 h 504056"/>
                <a:gd name="connsiteX3-43" fmla="*/ 504056 w 504056"/>
                <a:gd name="connsiteY3-44" fmla="*/ 0 h 504056"/>
                <a:gd name="connsiteX0-45" fmla="*/ 0 w 504056"/>
                <a:gd name="connsiteY0-46" fmla="*/ 504056 h 504056"/>
                <a:gd name="connsiteX1-47" fmla="*/ 0 w 504056"/>
                <a:gd name="connsiteY1-48" fmla="*/ 0 h 504056"/>
                <a:gd name="connsiteX2-49" fmla="*/ 504056 w 504056"/>
                <a:gd name="connsiteY2-50" fmla="*/ 0 h 504056"/>
              </a:gdLst>
              <a:ahLst/>
              <a:cxnLst>
                <a:cxn ang="0">
                  <a:pos x="connsiteX0-1" y="connsiteY0-2"/>
                </a:cxn>
                <a:cxn ang="0">
                  <a:pos x="connsiteX1-3" y="connsiteY1-4"/>
                </a:cxn>
                <a:cxn ang="0">
                  <a:pos x="connsiteX2-5" y="connsiteY2-6"/>
                </a:cxn>
              </a:cxnLst>
              <a:rect l="l" t="t" r="r" b="b"/>
              <a:pathLst>
                <a:path w="504056" h="504056">
                  <a:moveTo>
                    <a:pt x="0" y="504056"/>
                  </a:moveTo>
                  <a:lnTo>
                    <a:pt x="0" y="0"/>
                  </a:lnTo>
                  <a:lnTo>
                    <a:pt x="504056" y="0"/>
                  </a:lnTo>
                </a:path>
              </a:pathLst>
            </a:cu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grpSp>
      <p:sp>
        <p:nvSpPr>
          <p:cNvPr id="90" name="矩形 89"/>
          <p:cNvSpPr/>
          <p:nvPr/>
        </p:nvSpPr>
        <p:spPr>
          <a:xfrm>
            <a:off x="2191678" y="4437112"/>
            <a:ext cx="907027" cy="283957"/>
          </a:xfrm>
          <a:prstGeom prst="rect">
            <a:avLst/>
          </a:prstGeom>
          <a:solidFill>
            <a:srgbClr val="FF78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050" smtClean="0">
                <a:solidFill>
                  <a:srgbClr val="FFFFFF"/>
                </a:solidFill>
                <a:latin typeface="HelveticaNeueLT Pro 35 Th" pitchFamily="34" charset="0"/>
                <a:ea typeface="华文细黑" panose="02010600040101010101" pitchFamily="2" charset="-122"/>
              </a:rPr>
              <a:t>POWERFUL</a:t>
            </a:r>
            <a:endParaRPr lang="zh-CN" altLang="en-US" sz="1050">
              <a:solidFill>
                <a:srgbClr val="FFFFFF"/>
              </a:solidFill>
              <a:latin typeface="HelveticaNeueLT Pro 35 Th" pitchFamily="34" charset="0"/>
              <a:ea typeface="华文细黑" panose="02010600040101010101" pitchFamily="2" charset="-122"/>
            </a:endParaRPr>
          </a:p>
        </p:txBody>
      </p:sp>
      <p:sp>
        <p:nvSpPr>
          <p:cNvPr id="96" name="矩形 95"/>
          <p:cNvSpPr/>
          <p:nvPr/>
        </p:nvSpPr>
        <p:spPr>
          <a:xfrm>
            <a:off x="3199790" y="4437112"/>
            <a:ext cx="907027" cy="283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050" smtClean="0">
                <a:solidFill>
                  <a:schemeClr val="tx1"/>
                </a:solidFill>
                <a:latin typeface="HelveticaNeueLT Pro 35 Th" pitchFamily="34" charset="0"/>
                <a:ea typeface="华文细黑" panose="02010600040101010101" pitchFamily="2" charset="-122"/>
              </a:rPr>
              <a:t>CREATIVE</a:t>
            </a:r>
            <a:endParaRPr lang="zh-CN" altLang="en-US" sz="1050">
              <a:solidFill>
                <a:schemeClr val="tx1"/>
              </a:solidFill>
              <a:latin typeface="HelveticaNeueLT Pro 35 Th" pitchFamily="34" charset="0"/>
              <a:ea typeface="华文细黑" panose="02010600040101010101" pitchFamily="2" charset="-122"/>
            </a:endParaRPr>
          </a:p>
        </p:txBody>
      </p:sp>
      <p:sp>
        <p:nvSpPr>
          <p:cNvPr id="97" name="矩形 96"/>
          <p:cNvSpPr/>
          <p:nvPr/>
        </p:nvSpPr>
        <p:spPr>
          <a:xfrm>
            <a:off x="4252075" y="4437112"/>
            <a:ext cx="907027" cy="283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050" smtClean="0">
                <a:solidFill>
                  <a:schemeClr val="tx1"/>
                </a:solidFill>
                <a:latin typeface="HelveticaNeueLT Pro 35 Th" pitchFamily="34" charset="0"/>
                <a:ea typeface="华文细黑" panose="02010600040101010101" pitchFamily="2" charset="-122"/>
              </a:rPr>
              <a:t>CLEAR</a:t>
            </a:r>
            <a:endParaRPr lang="zh-CN" altLang="en-US" sz="1050">
              <a:solidFill>
                <a:schemeClr val="tx1"/>
              </a:solidFill>
              <a:latin typeface="HelveticaNeueLT Pro 35 Th" pitchFamily="34" charset="0"/>
              <a:ea typeface="华文细黑" panose="02010600040101010101" pitchFamily="2" charset="-122"/>
            </a:endParaRPr>
          </a:p>
        </p:txBody>
      </p:sp>
      <p:sp>
        <p:nvSpPr>
          <p:cNvPr id="16" name="圆角矩形 15"/>
          <p:cNvSpPr/>
          <p:nvPr/>
        </p:nvSpPr>
        <p:spPr>
          <a:xfrm>
            <a:off x="8894702" y="260648"/>
            <a:ext cx="2673112" cy="600163"/>
          </a:xfrm>
          <a:prstGeom prst="roundRect">
            <a:avLst/>
          </a:prstGeom>
          <a:solidFill>
            <a:srgbClr val="FFFFFF"/>
          </a:solidFill>
          <a:ln>
            <a:noFill/>
          </a:ln>
          <a:effectLst>
            <a:reflection blurRad="6350" stA="25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7" name="TextBox 16"/>
          <p:cNvSpPr txBox="1"/>
          <p:nvPr/>
        </p:nvSpPr>
        <p:spPr>
          <a:xfrm>
            <a:off x="9061707" y="260648"/>
            <a:ext cx="2339102" cy="523220"/>
          </a:xfrm>
          <a:prstGeom prst="rect">
            <a:avLst/>
          </a:prstGeom>
          <a:noFill/>
        </p:spPr>
        <p:txBody>
          <a:bodyPr wrap="none" rtlCol="0" anchor="ctr">
            <a:spAutoFit/>
          </a:bodyPr>
          <a:lstStyle>
            <a:defPPr>
              <a:defRPr lang="zh-CN"/>
            </a:defPPr>
            <a:lvl1pPr algn="ctr">
              <a:defRPr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anose="02010600040101010101" pitchFamily="2" charset="-122"/>
                <a:cs typeface="华文黑体" pitchFamily="2" charset="-122"/>
              </a:defRPr>
            </a:lvl1pPr>
          </a:lstStyle>
          <a:p>
            <a:r>
              <a:rPr lang="zh-CN" altLang="en-US" sz="2800"/>
              <a:t>点击添加标题</a:t>
            </a:r>
            <a:endParaRPr lang="zh-CN" altLang="en-US" sz="2800"/>
          </a:p>
        </p:txBody>
      </p:sp>
    </p:spTree>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300"/>
                                        <p:tgtEl>
                                          <p:spTgt spid="1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7"/>
                                        </p:tgtEl>
                                        <p:attrNameLst>
                                          <p:attrName>style.visibility</p:attrName>
                                        </p:attrNameLst>
                                      </p:cBhvr>
                                      <p:to>
                                        <p:strVal val="visible"/>
                                      </p:to>
                                    </p:set>
                                    <p:animEffect transition="in" filter="fade">
                                      <p:cBhvr>
                                        <p:cTn id="10" dur="300"/>
                                        <p:tgtEl>
                                          <p:spTgt spid="17"/>
                                        </p:tgtEl>
                                      </p:cBhvr>
                                    </p:animEffect>
                                  </p:childTnLst>
                                </p:cTn>
                              </p:par>
                            </p:childTnLst>
                          </p:cTn>
                        </p:par>
                        <p:par>
                          <p:cTn id="11" fill="hold">
                            <p:stCondLst>
                              <p:cond delay="500"/>
                            </p:stCondLst>
                            <p:childTnLst>
                              <p:par>
                                <p:cTn id="12" presetID="14" presetClass="entr" presetSubtype="10" fill="hold" grpId="0" nodeType="afterEffect">
                                  <p:stCondLst>
                                    <p:cond delay="0"/>
                                  </p:stCondLst>
                                  <p:childTnLst>
                                    <p:set>
                                      <p:cBhvr>
                                        <p:cTn id="13" dur="1" fill="hold">
                                          <p:stCondLst>
                                            <p:cond delay="0"/>
                                          </p:stCondLst>
                                        </p:cTn>
                                        <p:tgtEl>
                                          <p:spTgt spid="72"/>
                                        </p:tgtEl>
                                        <p:attrNameLst>
                                          <p:attrName>style.visibility</p:attrName>
                                        </p:attrNameLst>
                                      </p:cBhvr>
                                      <p:to>
                                        <p:strVal val="visible"/>
                                      </p:to>
                                    </p:set>
                                    <p:animEffect transition="in" filter="randombar(horizontal)">
                                      <p:cBhvr>
                                        <p:cTn id="14" dur="500"/>
                                        <p:tgtEl>
                                          <p:spTgt spid="72"/>
                                        </p:tgtEl>
                                      </p:cBhvr>
                                    </p:animEffect>
                                  </p:childTnLst>
                                </p:cTn>
                              </p:par>
                              <p:par>
                                <p:cTn id="15" presetID="42" presetClass="entr" presetSubtype="0" fill="hold" nodeType="withEffect">
                                  <p:stCondLst>
                                    <p:cond delay="500"/>
                                  </p:stCondLst>
                                  <p:childTnLst>
                                    <p:set>
                                      <p:cBhvr>
                                        <p:cTn id="16" dur="1" fill="hold">
                                          <p:stCondLst>
                                            <p:cond delay="0"/>
                                          </p:stCondLst>
                                        </p:cTn>
                                        <p:tgtEl>
                                          <p:spTgt spid="2050"/>
                                        </p:tgtEl>
                                        <p:attrNameLst>
                                          <p:attrName>style.visibility</p:attrName>
                                        </p:attrNameLst>
                                      </p:cBhvr>
                                      <p:to>
                                        <p:strVal val="visible"/>
                                      </p:to>
                                    </p:set>
                                    <p:animEffect transition="in" filter="fade">
                                      <p:cBhvr>
                                        <p:cTn id="17" dur="1000"/>
                                        <p:tgtEl>
                                          <p:spTgt spid="2050"/>
                                        </p:tgtEl>
                                      </p:cBhvr>
                                    </p:animEffect>
                                    <p:anim calcmode="lin" valueType="num">
                                      <p:cBhvr>
                                        <p:cTn id="18" dur="1000" fill="hold"/>
                                        <p:tgtEl>
                                          <p:spTgt spid="2050"/>
                                        </p:tgtEl>
                                        <p:attrNameLst>
                                          <p:attrName>ppt_x</p:attrName>
                                        </p:attrNameLst>
                                      </p:cBhvr>
                                      <p:tavLst>
                                        <p:tav tm="0">
                                          <p:val>
                                            <p:strVal val="#ppt_x"/>
                                          </p:val>
                                        </p:tav>
                                        <p:tav tm="100000">
                                          <p:val>
                                            <p:strVal val="#ppt_x"/>
                                          </p:val>
                                        </p:tav>
                                      </p:tavLst>
                                    </p:anim>
                                    <p:anim calcmode="lin" valueType="num">
                                      <p:cBhvr>
                                        <p:cTn id="19" dur="1000" fill="hold"/>
                                        <p:tgtEl>
                                          <p:spTgt spid="2050"/>
                                        </p:tgtEl>
                                        <p:attrNameLst>
                                          <p:attrName>ppt_y</p:attrName>
                                        </p:attrNameLst>
                                      </p:cBhvr>
                                      <p:tavLst>
                                        <p:tav tm="0">
                                          <p:val>
                                            <p:strVal val="#ppt_y+.1"/>
                                          </p:val>
                                        </p:tav>
                                        <p:tav tm="100000">
                                          <p:val>
                                            <p:strVal val="#ppt_y"/>
                                          </p:val>
                                        </p:tav>
                                      </p:tavLst>
                                    </p:anim>
                                  </p:childTnLst>
                                </p:cTn>
                              </p:par>
                            </p:childTnLst>
                          </p:cTn>
                        </p:par>
                        <p:par>
                          <p:cTn id="20" fill="hold">
                            <p:stCondLst>
                              <p:cond delay="1000"/>
                            </p:stCondLst>
                            <p:childTnLst>
                              <p:par>
                                <p:cTn id="21" presetID="2" presetClass="entr" presetSubtype="8" fill="hold" grpId="0" nodeType="afterEffect">
                                  <p:stCondLst>
                                    <p:cond delay="0"/>
                                  </p:stCondLst>
                                  <p:childTnLst>
                                    <p:set>
                                      <p:cBhvr>
                                        <p:cTn id="22" dur="1" fill="hold">
                                          <p:stCondLst>
                                            <p:cond delay="0"/>
                                          </p:stCondLst>
                                        </p:cTn>
                                        <p:tgtEl>
                                          <p:spTgt spid="90"/>
                                        </p:tgtEl>
                                        <p:attrNameLst>
                                          <p:attrName>style.visibility</p:attrName>
                                        </p:attrNameLst>
                                      </p:cBhvr>
                                      <p:to>
                                        <p:strVal val="visible"/>
                                      </p:to>
                                    </p:set>
                                    <p:anim calcmode="lin" valueType="num">
                                      <p:cBhvr additive="base">
                                        <p:cTn id="23" dur="500" fill="hold"/>
                                        <p:tgtEl>
                                          <p:spTgt spid="90"/>
                                        </p:tgtEl>
                                        <p:attrNameLst>
                                          <p:attrName>ppt_x</p:attrName>
                                        </p:attrNameLst>
                                      </p:cBhvr>
                                      <p:tavLst>
                                        <p:tav tm="0">
                                          <p:val>
                                            <p:strVal val="0-#ppt_w/2"/>
                                          </p:val>
                                        </p:tav>
                                        <p:tav tm="100000">
                                          <p:val>
                                            <p:strVal val="#ppt_x"/>
                                          </p:val>
                                        </p:tav>
                                      </p:tavLst>
                                    </p:anim>
                                    <p:anim calcmode="lin" valueType="num">
                                      <p:cBhvr additive="base">
                                        <p:cTn id="24" dur="500" fill="hold"/>
                                        <p:tgtEl>
                                          <p:spTgt spid="90"/>
                                        </p:tgtEl>
                                        <p:attrNameLst>
                                          <p:attrName>ppt_y</p:attrName>
                                        </p:attrNameLst>
                                      </p:cBhvr>
                                      <p:tavLst>
                                        <p:tav tm="0">
                                          <p:val>
                                            <p:strVal val="#ppt_y"/>
                                          </p:val>
                                        </p:tav>
                                        <p:tav tm="100000">
                                          <p:val>
                                            <p:strVal val="#ppt_y"/>
                                          </p:val>
                                        </p:tav>
                                      </p:tavLst>
                                    </p:anim>
                                  </p:childTnLst>
                                </p:cTn>
                              </p:par>
                              <p:par>
                                <p:cTn id="25" presetID="2" presetClass="entr" presetSubtype="8" fill="hold" grpId="0" nodeType="withEffect">
                                  <p:stCondLst>
                                    <p:cond delay="300"/>
                                  </p:stCondLst>
                                  <p:childTnLst>
                                    <p:set>
                                      <p:cBhvr>
                                        <p:cTn id="26" dur="1" fill="hold">
                                          <p:stCondLst>
                                            <p:cond delay="0"/>
                                          </p:stCondLst>
                                        </p:cTn>
                                        <p:tgtEl>
                                          <p:spTgt spid="96"/>
                                        </p:tgtEl>
                                        <p:attrNameLst>
                                          <p:attrName>style.visibility</p:attrName>
                                        </p:attrNameLst>
                                      </p:cBhvr>
                                      <p:to>
                                        <p:strVal val="visible"/>
                                      </p:to>
                                    </p:set>
                                    <p:anim calcmode="lin" valueType="num">
                                      <p:cBhvr additive="base">
                                        <p:cTn id="27" dur="500" fill="hold"/>
                                        <p:tgtEl>
                                          <p:spTgt spid="96"/>
                                        </p:tgtEl>
                                        <p:attrNameLst>
                                          <p:attrName>ppt_x</p:attrName>
                                        </p:attrNameLst>
                                      </p:cBhvr>
                                      <p:tavLst>
                                        <p:tav tm="0">
                                          <p:val>
                                            <p:strVal val="0-#ppt_w/2"/>
                                          </p:val>
                                        </p:tav>
                                        <p:tav tm="100000">
                                          <p:val>
                                            <p:strVal val="#ppt_x"/>
                                          </p:val>
                                        </p:tav>
                                      </p:tavLst>
                                    </p:anim>
                                    <p:anim calcmode="lin" valueType="num">
                                      <p:cBhvr additive="base">
                                        <p:cTn id="28" dur="500" fill="hold"/>
                                        <p:tgtEl>
                                          <p:spTgt spid="96"/>
                                        </p:tgtEl>
                                        <p:attrNameLst>
                                          <p:attrName>ppt_y</p:attrName>
                                        </p:attrNameLst>
                                      </p:cBhvr>
                                      <p:tavLst>
                                        <p:tav tm="0">
                                          <p:val>
                                            <p:strVal val="#ppt_y"/>
                                          </p:val>
                                        </p:tav>
                                        <p:tav tm="100000">
                                          <p:val>
                                            <p:strVal val="#ppt_y"/>
                                          </p:val>
                                        </p:tav>
                                      </p:tavLst>
                                    </p:anim>
                                  </p:childTnLst>
                                </p:cTn>
                              </p:par>
                              <p:par>
                                <p:cTn id="29" presetID="2" presetClass="entr" presetSubtype="8" fill="hold" grpId="0" nodeType="withEffect">
                                  <p:stCondLst>
                                    <p:cond delay="600"/>
                                  </p:stCondLst>
                                  <p:childTnLst>
                                    <p:set>
                                      <p:cBhvr>
                                        <p:cTn id="30" dur="1" fill="hold">
                                          <p:stCondLst>
                                            <p:cond delay="0"/>
                                          </p:stCondLst>
                                        </p:cTn>
                                        <p:tgtEl>
                                          <p:spTgt spid="97"/>
                                        </p:tgtEl>
                                        <p:attrNameLst>
                                          <p:attrName>style.visibility</p:attrName>
                                        </p:attrNameLst>
                                      </p:cBhvr>
                                      <p:to>
                                        <p:strVal val="visible"/>
                                      </p:to>
                                    </p:set>
                                    <p:anim calcmode="lin" valueType="num">
                                      <p:cBhvr additive="base">
                                        <p:cTn id="31" dur="500" fill="hold"/>
                                        <p:tgtEl>
                                          <p:spTgt spid="97"/>
                                        </p:tgtEl>
                                        <p:attrNameLst>
                                          <p:attrName>ppt_x</p:attrName>
                                        </p:attrNameLst>
                                      </p:cBhvr>
                                      <p:tavLst>
                                        <p:tav tm="0">
                                          <p:val>
                                            <p:strVal val="0-#ppt_w/2"/>
                                          </p:val>
                                        </p:tav>
                                        <p:tav tm="100000">
                                          <p:val>
                                            <p:strVal val="#ppt_x"/>
                                          </p:val>
                                        </p:tav>
                                      </p:tavLst>
                                    </p:anim>
                                    <p:anim calcmode="lin" valueType="num">
                                      <p:cBhvr additive="base">
                                        <p:cTn id="32" dur="500" fill="hold"/>
                                        <p:tgtEl>
                                          <p:spTgt spid="97"/>
                                        </p:tgtEl>
                                        <p:attrNameLst>
                                          <p:attrName>ppt_y</p:attrName>
                                        </p:attrNameLst>
                                      </p:cBhvr>
                                      <p:tavLst>
                                        <p:tav tm="0">
                                          <p:val>
                                            <p:strVal val="#ppt_y"/>
                                          </p:val>
                                        </p:tav>
                                        <p:tav tm="100000">
                                          <p:val>
                                            <p:strVal val="#ppt_y"/>
                                          </p:val>
                                        </p:tav>
                                      </p:tavLst>
                                    </p:anim>
                                  </p:childTnLst>
                                </p:cTn>
                              </p:par>
                            </p:childTnLst>
                          </p:cTn>
                        </p:par>
                        <p:par>
                          <p:cTn id="33" fill="hold">
                            <p:stCondLst>
                              <p:cond delay="1500"/>
                            </p:stCondLst>
                            <p:childTnLst>
                              <p:par>
                                <p:cTn id="34" presetID="16" presetClass="entr" presetSubtype="37" fill="hold" nodeType="afterEffect">
                                  <p:stCondLst>
                                    <p:cond delay="0"/>
                                  </p:stCondLst>
                                  <p:childTnLst>
                                    <p:set>
                                      <p:cBhvr>
                                        <p:cTn id="35" dur="1" fill="hold">
                                          <p:stCondLst>
                                            <p:cond delay="0"/>
                                          </p:stCondLst>
                                        </p:cTn>
                                        <p:tgtEl>
                                          <p:spTgt spid="13"/>
                                        </p:tgtEl>
                                        <p:attrNameLst>
                                          <p:attrName>style.visibility</p:attrName>
                                        </p:attrNameLst>
                                      </p:cBhvr>
                                      <p:to>
                                        <p:strVal val="visible"/>
                                      </p:to>
                                    </p:set>
                                    <p:animEffect transition="in" filter="barn(outVertical)">
                                      <p:cBhvr>
                                        <p:cTn id="36" dur="10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2" grpId="0"/>
      <p:bldP spid="90" grpId="0" animBg="1"/>
      <p:bldP spid="96" grpId="0" animBg="1"/>
      <p:bldP spid="97" grpId="0" animBg="1"/>
      <p:bldP spid="16" grpId="0" animBg="1"/>
      <p:bldP spid="17"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矩形 33" hidden="1"/>
          <p:cNvSpPr/>
          <p:nvPr/>
        </p:nvSpPr>
        <p:spPr>
          <a:xfrm>
            <a:off x="2584817" y="2133288"/>
            <a:ext cx="936104" cy="6551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smtClean="0">
                <a:solidFill>
                  <a:srgbClr val="B0F533"/>
                </a:solidFill>
                <a:latin typeface="Gill Sans MT Pro Light" pitchFamily="34" charset="0"/>
              </a:rPr>
              <a:t>1</a:t>
            </a:r>
            <a:endParaRPr lang="zh-CN" altLang="en-US" sz="3600">
              <a:solidFill>
                <a:srgbClr val="B0F533"/>
              </a:solidFill>
              <a:latin typeface="Gill Sans MT Pro Light" pitchFamily="34" charset="0"/>
            </a:endParaRPr>
          </a:p>
        </p:txBody>
      </p:sp>
      <p:sp>
        <p:nvSpPr>
          <p:cNvPr id="35" name="矩形 34" hidden="1"/>
          <p:cNvSpPr/>
          <p:nvPr/>
        </p:nvSpPr>
        <p:spPr>
          <a:xfrm>
            <a:off x="3621305" y="2133288"/>
            <a:ext cx="5984291" cy="655104"/>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smtClean="0">
                <a:latin typeface="华文黑体" pitchFamily="2" charset="-122"/>
                <a:ea typeface="华文黑体" pitchFamily="2" charset="-122"/>
                <a:cs typeface="华文黑体" pitchFamily="2" charset="-122"/>
              </a:rPr>
              <a:t>                     点击添加标题</a:t>
            </a:r>
            <a:endParaRPr lang="zh-CN" altLang="en-US" sz="2800">
              <a:latin typeface="华文黑体" pitchFamily="2" charset="-122"/>
              <a:ea typeface="华文黑体" pitchFamily="2" charset="-122"/>
              <a:cs typeface="华文黑体" pitchFamily="2" charset="-122"/>
            </a:endParaRPr>
          </a:p>
        </p:txBody>
      </p:sp>
      <p:cxnSp>
        <p:nvCxnSpPr>
          <p:cNvPr id="4" name="直接箭头连接符 3"/>
          <p:cNvCxnSpPr/>
          <p:nvPr/>
        </p:nvCxnSpPr>
        <p:spPr>
          <a:xfrm flipV="1">
            <a:off x="1907084" y="1628800"/>
            <a:ext cx="0" cy="3816424"/>
          </a:xfrm>
          <a:prstGeom prst="straightConnector1">
            <a:avLst/>
          </a:prstGeom>
          <a:ln w="28575">
            <a:solidFill>
              <a:schemeClr val="bg1"/>
            </a:solidFill>
            <a:tailEnd type="arrow"/>
          </a:ln>
        </p:spPr>
        <p:style>
          <a:lnRef idx="1">
            <a:schemeClr val="accent1"/>
          </a:lnRef>
          <a:fillRef idx="0">
            <a:schemeClr val="accent1"/>
          </a:fillRef>
          <a:effectRef idx="0">
            <a:schemeClr val="accent1"/>
          </a:effectRef>
          <a:fontRef idx="minor">
            <a:schemeClr val="tx1"/>
          </a:fontRef>
        </p:style>
      </p:cxnSp>
      <p:cxnSp>
        <p:nvCxnSpPr>
          <p:cNvPr id="11" name="直接连接符 10"/>
          <p:cNvCxnSpPr/>
          <p:nvPr/>
        </p:nvCxnSpPr>
        <p:spPr>
          <a:xfrm>
            <a:off x="1907084" y="5445224"/>
            <a:ext cx="6636394"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38" name="任意多边形 37"/>
          <p:cNvSpPr/>
          <p:nvPr/>
        </p:nvSpPr>
        <p:spPr>
          <a:xfrm>
            <a:off x="2552700" y="2564904"/>
            <a:ext cx="5105400" cy="1646289"/>
          </a:xfrm>
          <a:custGeom>
            <a:avLst/>
            <a:gdLst>
              <a:gd name="connsiteX0" fmla="*/ 0 w 5105400"/>
              <a:gd name="connsiteY0" fmla="*/ 1067871 h 1646289"/>
              <a:gd name="connsiteX1" fmla="*/ 723900 w 5105400"/>
              <a:gd name="connsiteY1" fmla="*/ 1071 h 1646289"/>
              <a:gd name="connsiteX2" fmla="*/ 1543050 w 5105400"/>
              <a:gd name="connsiteY2" fmla="*/ 1239321 h 1646289"/>
              <a:gd name="connsiteX3" fmla="*/ 2209800 w 5105400"/>
              <a:gd name="connsiteY3" fmla="*/ 439221 h 1646289"/>
              <a:gd name="connsiteX4" fmla="*/ 3009900 w 5105400"/>
              <a:gd name="connsiteY4" fmla="*/ 1506021 h 1646289"/>
              <a:gd name="connsiteX5" fmla="*/ 3733800 w 5105400"/>
              <a:gd name="connsiteY5" fmla="*/ 210621 h 1646289"/>
              <a:gd name="connsiteX6" fmla="*/ 4495800 w 5105400"/>
              <a:gd name="connsiteY6" fmla="*/ 1639371 h 1646289"/>
              <a:gd name="connsiteX7" fmla="*/ 5105400 w 5105400"/>
              <a:gd name="connsiteY7" fmla="*/ 744021 h 1646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05400" h="1646289">
                <a:moveTo>
                  <a:pt x="0" y="1067871"/>
                </a:moveTo>
                <a:cubicBezTo>
                  <a:pt x="233362" y="520183"/>
                  <a:pt x="466725" y="-27504"/>
                  <a:pt x="723900" y="1071"/>
                </a:cubicBezTo>
                <a:cubicBezTo>
                  <a:pt x="981075" y="29646"/>
                  <a:pt x="1295400" y="1166296"/>
                  <a:pt x="1543050" y="1239321"/>
                </a:cubicBezTo>
                <a:cubicBezTo>
                  <a:pt x="1790700" y="1312346"/>
                  <a:pt x="1965325" y="394771"/>
                  <a:pt x="2209800" y="439221"/>
                </a:cubicBezTo>
                <a:cubicBezTo>
                  <a:pt x="2454275" y="483671"/>
                  <a:pt x="2755900" y="1544121"/>
                  <a:pt x="3009900" y="1506021"/>
                </a:cubicBezTo>
                <a:cubicBezTo>
                  <a:pt x="3263900" y="1467921"/>
                  <a:pt x="3486150" y="188396"/>
                  <a:pt x="3733800" y="210621"/>
                </a:cubicBezTo>
                <a:cubicBezTo>
                  <a:pt x="3981450" y="232846"/>
                  <a:pt x="4267200" y="1550471"/>
                  <a:pt x="4495800" y="1639371"/>
                </a:cubicBezTo>
                <a:cubicBezTo>
                  <a:pt x="4724400" y="1728271"/>
                  <a:pt x="5003800" y="934521"/>
                  <a:pt x="5105400" y="744021"/>
                </a:cubicBezTo>
              </a:path>
            </a:pathLst>
          </a:custGeom>
          <a:ln w="28575">
            <a:solidFill>
              <a:srgbClr val="FFFFFF">
                <a:alpha val="69804"/>
              </a:srgbClr>
            </a:solidFill>
            <a:prstDash val="sys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grpSp>
        <p:nvGrpSpPr>
          <p:cNvPr id="91" name="组合 90"/>
          <p:cNvGrpSpPr/>
          <p:nvPr/>
        </p:nvGrpSpPr>
        <p:grpSpPr>
          <a:xfrm>
            <a:off x="2530810" y="3861048"/>
            <a:ext cx="252028" cy="1584176"/>
            <a:chOff x="2530810" y="3861048"/>
            <a:chExt cx="252028" cy="1584176"/>
          </a:xfrm>
        </p:grpSpPr>
        <p:sp>
          <p:nvSpPr>
            <p:cNvPr id="17" name="矩形 16"/>
            <p:cNvSpPr/>
            <p:nvPr/>
          </p:nvSpPr>
          <p:spPr>
            <a:xfrm>
              <a:off x="2530810" y="3861048"/>
              <a:ext cx="252028" cy="1584176"/>
            </a:xfrm>
            <a:prstGeom prst="rect">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9" name="矩形 38"/>
            <p:cNvSpPr/>
            <p:nvPr/>
          </p:nvSpPr>
          <p:spPr>
            <a:xfrm>
              <a:off x="2530810" y="3861048"/>
              <a:ext cx="252028" cy="350145"/>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92" name="组合 91"/>
          <p:cNvGrpSpPr/>
          <p:nvPr/>
        </p:nvGrpSpPr>
        <p:grpSpPr>
          <a:xfrm>
            <a:off x="2944856" y="3284984"/>
            <a:ext cx="252028" cy="2160240"/>
            <a:chOff x="2944856" y="3284984"/>
            <a:chExt cx="252028" cy="2160240"/>
          </a:xfrm>
        </p:grpSpPr>
        <p:sp>
          <p:nvSpPr>
            <p:cNvPr id="23" name="矩形 22"/>
            <p:cNvSpPr/>
            <p:nvPr/>
          </p:nvSpPr>
          <p:spPr>
            <a:xfrm>
              <a:off x="2944856" y="3284984"/>
              <a:ext cx="252028" cy="2160240"/>
            </a:xfrm>
            <a:prstGeom prst="rect">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1" name="矩形 40"/>
            <p:cNvSpPr/>
            <p:nvPr/>
          </p:nvSpPr>
          <p:spPr>
            <a:xfrm>
              <a:off x="2944856" y="3284984"/>
              <a:ext cx="252028" cy="350145"/>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93" name="组合 92"/>
          <p:cNvGrpSpPr/>
          <p:nvPr/>
        </p:nvGrpSpPr>
        <p:grpSpPr>
          <a:xfrm>
            <a:off x="3358902" y="3429000"/>
            <a:ext cx="252028" cy="2016224"/>
            <a:chOff x="3358902" y="3429000"/>
            <a:chExt cx="252028" cy="2016224"/>
          </a:xfrm>
        </p:grpSpPr>
        <p:sp>
          <p:nvSpPr>
            <p:cNvPr id="24" name="矩形 23"/>
            <p:cNvSpPr/>
            <p:nvPr/>
          </p:nvSpPr>
          <p:spPr>
            <a:xfrm>
              <a:off x="3358902" y="3429000"/>
              <a:ext cx="252028" cy="2016224"/>
            </a:xfrm>
            <a:prstGeom prst="rect">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2" name="矩形 41"/>
            <p:cNvSpPr/>
            <p:nvPr/>
          </p:nvSpPr>
          <p:spPr>
            <a:xfrm>
              <a:off x="3358902" y="3429000"/>
              <a:ext cx="252028" cy="350145"/>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94" name="组合 93"/>
          <p:cNvGrpSpPr/>
          <p:nvPr/>
        </p:nvGrpSpPr>
        <p:grpSpPr>
          <a:xfrm>
            <a:off x="3772948" y="4005064"/>
            <a:ext cx="252028" cy="1440160"/>
            <a:chOff x="3772948" y="4005064"/>
            <a:chExt cx="252028" cy="1440160"/>
          </a:xfrm>
        </p:grpSpPr>
        <p:sp>
          <p:nvSpPr>
            <p:cNvPr id="25" name="矩形 24"/>
            <p:cNvSpPr/>
            <p:nvPr/>
          </p:nvSpPr>
          <p:spPr>
            <a:xfrm>
              <a:off x="3772948" y="4005064"/>
              <a:ext cx="252028" cy="1440160"/>
            </a:xfrm>
            <a:prstGeom prst="rect">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3" name="矩形 42"/>
            <p:cNvSpPr/>
            <p:nvPr/>
          </p:nvSpPr>
          <p:spPr>
            <a:xfrm>
              <a:off x="3772948" y="4005064"/>
              <a:ext cx="252028" cy="350145"/>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95" name="组合 94"/>
          <p:cNvGrpSpPr/>
          <p:nvPr/>
        </p:nvGrpSpPr>
        <p:grpSpPr>
          <a:xfrm>
            <a:off x="4186994" y="4077072"/>
            <a:ext cx="252028" cy="1368152"/>
            <a:chOff x="4186994" y="4077072"/>
            <a:chExt cx="252028" cy="1368152"/>
          </a:xfrm>
        </p:grpSpPr>
        <p:sp>
          <p:nvSpPr>
            <p:cNvPr id="26" name="矩形 25"/>
            <p:cNvSpPr/>
            <p:nvPr/>
          </p:nvSpPr>
          <p:spPr>
            <a:xfrm>
              <a:off x="4186994" y="4077072"/>
              <a:ext cx="252028" cy="1368152"/>
            </a:xfrm>
            <a:prstGeom prst="rect">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4" name="矩形 43"/>
            <p:cNvSpPr/>
            <p:nvPr/>
          </p:nvSpPr>
          <p:spPr>
            <a:xfrm>
              <a:off x="4186994" y="4077072"/>
              <a:ext cx="252028" cy="350145"/>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96" name="组合 95"/>
          <p:cNvGrpSpPr/>
          <p:nvPr/>
        </p:nvGrpSpPr>
        <p:grpSpPr>
          <a:xfrm>
            <a:off x="4601040" y="3428999"/>
            <a:ext cx="252028" cy="2016225"/>
            <a:chOff x="4601040" y="3428999"/>
            <a:chExt cx="252028" cy="2016225"/>
          </a:xfrm>
        </p:grpSpPr>
        <p:sp>
          <p:nvSpPr>
            <p:cNvPr id="27" name="矩形 26"/>
            <p:cNvSpPr/>
            <p:nvPr/>
          </p:nvSpPr>
          <p:spPr>
            <a:xfrm>
              <a:off x="4601040" y="3429000"/>
              <a:ext cx="252028" cy="2016224"/>
            </a:xfrm>
            <a:prstGeom prst="rect">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5" name="矩形 44"/>
            <p:cNvSpPr/>
            <p:nvPr/>
          </p:nvSpPr>
          <p:spPr>
            <a:xfrm>
              <a:off x="4601040" y="3428999"/>
              <a:ext cx="252028" cy="350145"/>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97" name="组合 96"/>
          <p:cNvGrpSpPr/>
          <p:nvPr/>
        </p:nvGrpSpPr>
        <p:grpSpPr>
          <a:xfrm>
            <a:off x="5015086" y="4077071"/>
            <a:ext cx="252028" cy="1368153"/>
            <a:chOff x="5015086" y="4077071"/>
            <a:chExt cx="252028" cy="1368153"/>
          </a:xfrm>
        </p:grpSpPr>
        <p:sp>
          <p:nvSpPr>
            <p:cNvPr id="28" name="矩形 27"/>
            <p:cNvSpPr/>
            <p:nvPr/>
          </p:nvSpPr>
          <p:spPr>
            <a:xfrm>
              <a:off x="5015086" y="4077072"/>
              <a:ext cx="252028" cy="1368152"/>
            </a:xfrm>
            <a:prstGeom prst="rect">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6" name="矩形 45"/>
            <p:cNvSpPr/>
            <p:nvPr/>
          </p:nvSpPr>
          <p:spPr>
            <a:xfrm>
              <a:off x="5015086" y="4077071"/>
              <a:ext cx="252028" cy="350145"/>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98" name="组合 97"/>
          <p:cNvGrpSpPr/>
          <p:nvPr/>
        </p:nvGrpSpPr>
        <p:grpSpPr>
          <a:xfrm>
            <a:off x="5426732" y="4435402"/>
            <a:ext cx="254428" cy="1009822"/>
            <a:chOff x="5426732" y="4435402"/>
            <a:chExt cx="254428" cy="1009822"/>
          </a:xfrm>
        </p:grpSpPr>
        <p:sp>
          <p:nvSpPr>
            <p:cNvPr id="29" name="矩形 28"/>
            <p:cNvSpPr/>
            <p:nvPr/>
          </p:nvSpPr>
          <p:spPr>
            <a:xfrm>
              <a:off x="5429132" y="4437112"/>
              <a:ext cx="252028" cy="1008112"/>
            </a:xfrm>
            <a:prstGeom prst="rect">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7" name="矩形 46"/>
            <p:cNvSpPr/>
            <p:nvPr/>
          </p:nvSpPr>
          <p:spPr>
            <a:xfrm>
              <a:off x="5426732" y="4435402"/>
              <a:ext cx="252028" cy="350145"/>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99" name="组合 98"/>
          <p:cNvGrpSpPr/>
          <p:nvPr/>
        </p:nvGrpSpPr>
        <p:grpSpPr>
          <a:xfrm>
            <a:off x="5841280" y="3861048"/>
            <a:ext cx="253926" cy="1584176"/>
            <a:chOff x="5841280" y="3861048"/>
            <a:chExt cx="253926" cy="1584176"/>
          </a:xfrm>
        </p:grpSpPr>
        <p:sp>
          <p:nvSpPr>
            <p:cNvPr id="30" name="矩形 29"/>
            <p:cNvSpPr/>
            <p:nvPr/>
          </p:nvSpPr>
          <p:spPr>
            <a:xfrm>
              <a:off x="5843178" y="3861048"/>
              <a:ext cx="252028" cy="1584176"/>
            </a:xfrm>
            <a:prstGeom prst="rect">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8" name="矩形 47"/>
            <p:cNvSpPr/>
            <p:nvPr/>
          </p:nvSpPr>
          <p:spPr>
            <a:xfrm>
              <a:off x="5841280" y="3861048"/>
              <a:ext cx="252028" cy="350145"/>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100" name="组合 99"/>
          <p:cNvGrpSpPr/>
          <p:nvPr/>
        </p:nvGrpSpPr>
        <p:grpSpPr>
          <a:xfrm>
            <a:off x="6257224" y="3284984"/>
            <a:ext cx="252028" cy="2160240"/>
            <a:chOff x="6257224" y="3284984"/>
            <a:chExt cx="252028" cy="2160240"/>
          </a:xfrm>
        </p:grpSpPr>
        <p:sp>
          <p:nvSpPr>
            <p:cNvPr id="31" name="矩形 30"/>
            <p:cNvSpPr/>
            <p:nvPr/>
          </p:nvSpPr>
          <p:spPr>
            <a:xfrm>
              <a:off x="6257224" y="3284984"/>
              <a:ext cx="252028" cy="2160240"/>
            </a:xfrm>
            <a:prstGeom prst="rect">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9" name="矩形 48"/>
            <p:cNvSpPr/>
            <p:nvPr/>
          </p:nvSpPr>
          <p:spPr>
            <a:xfrm>
              <a:off x="6257224" y="3284984"/>
              <a:ext cx="252028" cy="350145"/>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101" name="组合 100"/>
          <p:cNvGrpSpPr/>
          <p:nvPr/>
        </p:nvGrpSpPr>
        <p:grpSpPr>
          <a:xfrm>
            <a:off x="6671270" y="4324152"/>
            <a:ext cx="253516" cy="1121072"/>
            <a:chOff x="6671270" y="4324152"/>
            <a:chExt cx="253516" cy="1121072"/>
          </a:xfrm>
        </p:grpSpPr>
        <p:sp>
          <p:nvSpPr>
            <p:cNvPr id="32" name="矩形 31"/>
            <p:cNvSpPr/>
            <p:nvPr/>
          </p:nvSpPr>
          <p:spPr>
            <a:xfrm>
              <a:off x="6671270" y="4324152"/>
              <a:ext cx="252028" cy="1121072"/>
            </a:xfrm>
            <a:prstGeom prst="rect">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0" name="矩形 49"/>
            <p:cNvSpPr/>
            <p:nvPr/>
          </p:nvSpPr>
          <p:spPr>
            <a:xfrm>
              <a:off x="6672758" y="4324152"/>
              <a:ext cx="252028" cy="350145"/>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102" name="组合 101"/>
          <p:cNvGrpSpPr/>
          <p:nvPr/>
        </p:nvGrpSpPr>
        <p:grpSpPr>
          <a:xfrm>
            <a:off x="7085316" y="4473116"/>
            <a:ext cx="252028" cy="972108"/>
            <a:chOff x="7085316" y="4473116"/>
            <a:chExt cx="252028" cy="972108"/>
          </a:xfrm>
        </p:grpSpPr>
        <p:sp>
          <p:nvSpPr>
            <p:cNvPr id="33" name="矩形 32"/>
            <p:cNvSpPr/>
            <p:nvPr/>
          </p:nvSpPr>
          <p:spPr>
            <a:xfrm>
              <a:off x="7085316" y="4473116"/>
              <a:ext cx="252028" cy="972108"/>
            </a:xfrm>
            <a:prstGeom prst="rect">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1" name="矩形 50"/>
            <p:cNvSpPr/>
            <p:nvPr/>
          </p:nvSpPr>
          <p:spPr>
            <a:xfrm>
              <a:off x="7085316" y="4474521"/>
              <a:ext cx="252028" cy="350145"/>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103" name="组合 102"/>
          <p:cNvGrpSpPr/>
          <p:nvPr/>
        </p:nvGrpSpPr>
        <p:grpSpPr>
          <a:xfrm>
            <a:off x="7499362" y="4005063"/>
            <a:ext cx="252028" cy="1440161"/>
            <a:chOff x="7499362" y="4005063"/>
            <a:chExt cx="252028" cy="1440161"/>
          </a:xfrm>
        </p:grpSpPr>
        <p:sp>
          <p:nvSpPr>
            <p:cNvPr id="36" name="矩形 35"/>
            <p:cNvSpPr/>
            <p:nvPr/>
          </p:nvSpPr>
          <p:spPr>
            <a:xfrm>
              <a:off x="7499362" y="4005064"/>
              <a:ext cx="252028" cy="1440160"/>
            </a:xfrm>
            <a:prstGeom prst="rect">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2" name="矩形 51"/>
            <p:cNvSpPr/>
            <p:nvPr/>
          </p:nvSpPr>
          <p:spPr>
            <a:xfrm>
              <a:off x="7499362" y="4005063"/>
              <a:ext cx="252028" cy="350145"/>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53" name="椭圆 52"/>
          <p:cNvSpPr/>
          <p:nvPr/>
        </p:nvSpPr>
        <p:spPr>
          <a:xfrm>
            <a:off x="2944856" y="2708920"/>
            <a:ext cx="86122" cy="86122"/>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6" name="椭圆 55"/>
          <p:cNvSpPr/>
          <p:nvPr/>
        </p:nvSpPr>
        <p:spPr>
          <a:xfrm>
            <a:off x="3251857" y="2521843"/>
            <a:ext cx="86122" cy="86122"/>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7" name="椭圆 56"/>
          <p:cNvSpPr/>
          <p:nvPr/>
        </p:nvSpPr>
        <p:spPr>
          <a:xfrm>
            <a:off x="4640932" y="2996952"/>
            <a:ext cx="86122" cy="86122"/>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8" name="椭圆 57"/>
          <p:cNvSpPr/>
          <p:nvPr/>
        </p:nvSpPr>
        <p:spPr>
          <a:xfrm>
            <a:off x="6171102" y="2751981"/>
            <a:ext cx="86122" cy="86122"/>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9" name="椭圆 58"/>
          <p:cNvSpPr/>
          <p:nvPr/>
        </p:nvSpPr>
        <p:spPr>
          <a:xfrm>
            <a:off x="6394238" y="2861320"/>
            <a:ext cx="86122" cy="86122"/>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0" name="椭圆 59"/>
          <p:cNvSpPr/>
          <p:nvPr/>
        </p:nvSpPr>
        <p:spPr>
          <a:xfrm>
            <a:off x="7504111" y="3516312"/>
            <a:ext cx="86122" cy="86122"/>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1" name="TextBox 60"/>
          <p:cNvSpPr txBox="1"/>
          <p:nvPr/>
        </p:nvSpPr>
        <p:spPr>
          <a:xfrm>
            <a:off x="1562682" y="5260558"/>
            <a:ext cx="284052" cy="307777"/>
          </a:xfrm>
          <a:prstGeom prst="rect">
            <a:avLst/>
          </a:prstGeom>
          <a:noFill/>
        </p:spPr>
        <p:txBody>
          <a:bodyPr wrap="none" rtlCol="0">
            <a:spAutoFit/>
          </a:bodyPr>
          <a:lstStyle/>
          <a:p>
            <a:r>
              <a:rPr lang="en-US" altLang="zh-CN" sz="1400" smtClean="0">
                <a:solidFill>
                  <a:schemeClr val="bg1"/>
                </a:solidFill>
                <a:latin typeface="HelveticaNeueLT Pro 35 Th" pitchFamily="34" charset="0"/>
              </a:rPr>
              <a:t>0</a:t>
            </a:r>
            <a:endParaRPr lang="zh-CN" altLang="en-US" sz="1400">
              <a:solidFill>
                <a:schemeClr val="bg1"/>
              </a:solidFill>
              <a:latin typeface="HelveticaNeueLT Pro 35 Th" pitchFamily="34" charset="0"/>
            </a:endParaRPr>
          </a:p>
        </p:txBody>
      </p:sp>
      <p:sp>
        <p:nvSpPr>
          <p:cNvPr id="62" name="TextBox 61"/>
          <p:cNvSpPr txBox="1"/>
          <p:nvPr/>
        </p:nvSpPr>
        <p:spPr>
          <a:xfrm>
            <a:off x="1363910" y="4684494"/>
            <a:ext cx="482824" cy="307777"/>
          </a:xfrm>
          <a:prstGeom prst="rect">
            <a:avLst/>
          </a:prstGeom>
          <a:noFill/>
        </p:spPr>
        <p:txBody>
          <a:bodyPr wrap="none" rtlCol="0">
            <a:spAutoFit/>
          </a:bodyPr>
          <a:lstStyle/>
          <a:p>
            <a:r>
              <a:rPr lang="en-US" altLang="zh-CN" sz="1400" smtClean="0">
                <a:solidFill>
                  <a:schemeClr val="bg1"/>
                </a:solidFill>
                <a:latin typeface="HelveticaNeueLT Pro 35 Th" pitchFamily="34" charset="0"/>
              </a:rPr>
              <a:t>100</a:t>
            </a:r>
            <a:endParaRPr lang="zh-CN" altLang="en-US" sz="1400">
              <a:solidFill>
                <a:schemeClr val="bg1"/>
              </a:solidFill>
              <a:latin typeface="HelveticaNeueLT Pro 35 Th" pitchFamily="34" charset="0"/>
            </a:endParaRPr>
          </a:p>
        </p:txBody>
      </p:sp>
      <p:sp>
        <p:nvSpPr>
          <p:cNvPr id="63" name="TextBox 62"/>
          <p:cNvSpPr txBox="1"/>
          <p:nvPr/>
        </p:nvSpPr>
        <p:spPr>
          <a:xfrm>
            <a:off x="1363910" y="4108430"/>
            <a:ext cx="482824" cy="307777"/>
          </a:xfrm>
          <a:prstGeom prst="rect">
            <a:avLst/>
          </a:prstGeom>
          <a:noFill/>
        </p:spPr>
        <p:txBody>
          <a:bodyPr wrap="none" rtlCol="0">
            <a:spAutoFit/>
          </a:bodyPr>
          <a:lstStyle/>
          <a:p>
            <a:r>
              <a:rPr lang="en-US" altLang="zh-CN" sz="1400" smtClean="0">
                <a:solidFill>
                  <a:schemeClr val="bg1"/>
                </a:solidFill>
                <a:latin typeface="HelveticaNeueLT Pro 35 Th" pitchFamily="34" charset="0"/>
              </a:rPr>
              <a:t>200</a:t>
            </a:r>
            <a:endParaRPr lang="zh-CN" altLang="en-US" sz="1400">
              <a:solidFill>
                <a:schemeClr val="bg1"/>
              </a:solidFill>
              <a:latin typeface="HelveticaNeueLT Pro 35 Th" pitchFamily="34" charset="0"/>
            </a:endParaRPr>
          </a:p>
        </p:txBody>
      </p:sp>
      <p:sp>
        <p:nvSpPr>
          <p:cNvPr id="64" name="TextBox 63"/>
          <p:cNvSpPr txBox="1"/>
          <p:nvPr/>
        </p:nvSpPr>
        <p:spPr>
          <a:xfrm>
            <a:off x="1363910" y="3532366"/>
            <a:ext cx="482824" cy="307777"/>
          </a:xfrm>
          <a:prstGeom prst="rect">
            <a:avLst/>
          </a:prstGeom>
          <a:noFill/>
        </p:spPr>
        <p:txBody>
          <a:bodyPr wrap="none" rtlCol="0">
            <a:spAutoFit/>
          </a:bodyPr>
          <a:lstStyle/>
          <a:p>
            <a:r>
              <a:rPr lang="en-US" altLang="zh-CN" sz="1400" smtClean="0">
                <a:solidFill>
                  <a:schemeClr val="bg1"/>
                </a:solidFill>
                <a:latin typeface="HelveticaNeueLT Pro 35 Th" pitchFamily="34" charset="0"/>
              </a:rPr>
              <a:t>300</a:t>
            </a:r>
            <a:endParaRPr lang="zh-CN" altLang="en-US" sz="1400">
              <a:solidFill>
                <a:schemeClr val="bg1"/>
              </a:solidFill>
              <a:latin typeface="HelveticaNeueLT Pro 35 Th" pitchFamily="34" charset="0"/>
            </a:endParaRPr>
          </a:p>
        </p:txBody>
      </p:sp>
      <p:sp>
        <p:nvSpPr>
          <p:cNvPr id="65" name="TextBox 64"/>
          <p:cNvSpPr txBox="1"/>
          <p:nvPr/>
        </p:nvSpPr>
        <p:spPr>
          <a:xfrm>
            <a:off x="1363910" y="2956302"/>
            <a:ext cx="482824" cy="307777"/>
          </a:xfrm>
          <a:prstGeom prst="rect">
            <a:avLst/>
          </a:prstGeom>
          <a:noFill/>
        </p:spPr>
        <p:txBody>
          <a:bodyPr wrap="none" rtlCol="0">
            <a:spAutoFit/>
          </a:bodyPr>
          <a:lstStyle/>
          <a:p>
            <a:r>
              <a:rPr lang="en-US" altLang="zh-CN" sz="1400" smtClean="0">
                <a:solidFill>
                  <a:schemeClr val="bg1"/>
                </a:solidFill>
                <a:latin typeface="HelveticaNeueLT Pro 35 Th" pitchFamily="34" charset="0"/>
              </a:rPr>
              <a:t>400</a:t>
            </a:r>
            <a:endParaRPr lang="zh-CN" altLang="en-US" sz="1400">
              <a:solidFill>
                <a:schemeClr val="bg1"/>
              </a:solidFill>
              <a:latin typeface="HelveticaNeueLT Pro 35 Th" pitchFamily="34" charset="0"/>
            </a:endParaRPr>
          </a:p>
        </p:txBody>
      </p:sp>
      <p:sp>
        <p:nvSpPr>
          <p:cNvPr id="66" name="TextBox 65"/>
          <p:cNvSpPr txBox="1"/>
          <p:nvPr/>
        </p:nvSpPr>
        <p:spPr>
          <a:xfrm>
            <a:off x="1363910" y="2380238"/>
            <a:ext cx="482824" cy="307777"/>
          </a:xfrm>
          <a:prstGeom prst="rect">
            <a:avLst/>
          </a:prstGeom>
          <a:noFill/>
        </p:spPr>
        <p:txBody>
          <a:bodyPr wrap="none" rtlCol="0">
            <a:spAutoFit/>
          </a:bodyPr>
          <a:lstStyle/>
          <a:p>
            <a:r>
              <a:rPr lang="en-US" altLang="zh-CN" sz="1400" smtClean="0">
                <a:solidFill>
                  <a:schemeClr val="bg1"/>
                </a:solidFill>
                <a:latin typeface="HelveticaNeueLT Pro 35 Th" pitchFamily="34" charset="0"/>
              </a:rPr>
              <a:t>500</a:t>
            </a:r>
            <a:endParaRPr lang="zh-CN" altLang="en-US" sz="1400">
              <a:solidFill>
                <a:schemeClr val="bg1"/>
              </a:solidFill>
              <a:latin typeface="HelveticaNeueLT Pro 35 Th" pitchFamily="34" charset="0"/>
            </a:endParaRPr>
          </a:p>
        </p:txBody>
      </p:sp>
      <p:sp>
        <p:nvSpPr>
          <p:cNvPr id="67" name="TextBox 66"/>
          <p:cNvSpPr txBox="1"/>
          <p:nvPr/>
        </p:nvSpPr>
        <p:spPr>
          <a:xfrm>
            <a:off x="1036769" y="1720116"/>
            <a:ext cx="841897" cy="338554"/>
          </a:xfrm>
          <a:prstGeom prst="rect">
            <a:avLst/>
          </a:prstGeom>
          <a:noFill/>
        </p:spPr>
        <p:txBody>
          <a:bodyPr wrap="none" rtlCol="0">
            <a:spAutoFit/>
          </a:bodyPr>
          <a:lstStyle/>
          <a:p>
            <a:pPr algn="ctr"/>
            <a:r>
              <a:rPr lang="en-US" altLang="zh-CN" sz="1600" smtClean="0">
                <a:solidFill>
                  <a:schemeClr val="bg1"/>
                </a:solidFill>
                <a:latin typeface="HelveticaNeueLT Pro 35 Th" pitchFamily="34" charset="0"/>
                <a:ea typeface="华文细黑" panose="02010600040101010101" pitchFamily="2" charset="-122"/>
              </a:rPr>
              <a:t>&lt;</a:t>
            </a:r>
            <a:r>
              <a:rPr lang="zh-CN" altLang="en-US" sz="1600" smtClean="0">
                <a:solidFill>
                  <a:schemeClr val="bg1"/>
                </a:solidFill>
                <a:latin typeface="HelveticaNeueLT Pro 35 Th" pitchFamily="34" charset="0"/>
                <a:ea typeface="华文细黑" panose="02010600040101010101" pitchFamily="2" charset="-122"/>
              </a:rPr>
              <a:t>数量</a:t>
            </a:r>
            <a:r>
              <a:rPr lang="en-US" altLang="zh-CN" sz="1600" smtClean="0">
                <a:solidFill>
                  <a:schemeClr val="bg1"/>
                </a:solidFill>
                <a:latin typeface="HelveticaNeueLT Pro 35 Th" pitchFamily="34" charset="0"/>
                <a:ea typeface="华文细黑" panose="02010600040101010101" pitchFamily="2" charset="-122"/>
              </a:rPr>
              <a:t>&gt;</a:t>
            </a:r>
            <a:endParaRPr lang="zh-CN" altLang="en-US" sz="1600">
              <a:solidFill>
                <a:schemeClr val="bg1"/>
              </a:solidFill>
              <a:latin typeface="HelveticaNeueLT Pro 35 Th" pitchFamily="34" charset="0"/>
              <a:ea typeface="华文细黑" panose="02010600040101010101" pitchFamily="2" charset="-122"/>
            </a:endParaRPr>
          </a:p>
        </p:txBody>
      </p:sp>
      <p:sp>
        <p:nvSpPr>
          <p:cNvPr id="69" name="TextBox 68"/>
          <p:cNvSpPr txBox="1"/>
          <p:nvPr/>
        </p:nvSpPr>
        <p:spPr>
          <a:xfrm>
            <a:off x="8583553" y="5250686"/>
            <a:ext cx="841897" cy="338554"/>
          </a:xfrm>
          <a:prstGeom prst="rect">
            <a:avLst/>
          </a:prstGeom>
          <a:noFill/>
        </p:spPr>
        <p:txBody>
          <a:bodyPr wrap="none" rtlCol="0">
            <a:spAutoFit/>
          </a:bodyPr>
          <a:lstStyle/>
          <a:p>
            <a:pPr algn="ctr"/>
            <a:r>
              <a:rPr lang="en-US" altLang="zh-CN" sz="1600" smtClean="0">
                <a:solidFill>
                  <a:schemeClr val="bg1"/>
                </a:solidFill>
                <a:latin typeface="HelveticaNeueLT Pro 35 Th" pitchFamily="34" charset="0"/>
                <a:ea typeface="华文细黑" panose="02010600040101010101" pitchFamily="2" charset="-122"/>
              </a:rPr>
              <a:t>&lt;</a:t>
            </a:r>
            <a:r>
              <a:rPr lang="zh-CN" altLang="en-US" sz="1600" smtClean="0">
                <a:solidFill>
                  <a:schemeClr val="bg1"/>
                </a:solidFill>
                <a:latin typeface="HelveticaNeueLT Pro 35 Th" pitchFamily="34" charset="0"/>
                <a:ea typeface="华文细黑" panose="02010600040101010101" pitchFamily="2" charset="-122"/>
              </a:rPr>
              <a:t>时间</a:t>
            </a:r>
            <a:r>
              <a:rPr lang="en-US" altLang="zh-CN" sz="1600" smtClean="0">
                <a:solidFill>
                  <a:schemeClr val="bg1"/>
                </a:solidFill>
                <a:latin typeface="HelveticaNeueLT Pro 35 Th" pitchFamily="34" charset="0"/>
                <a:ea typeface="华文细黑" panose="02010600040101010101" pitchFamily="2" charset="-122"/>
              </a:rPr>
              <a:t>&gt;</a:t>
            </a:r>
            <a:endParaRPr lang="zh-CN" altLang="en-US" sz="1600">
              <a:solidFill>
                <a:schemeClr val="bg1"/>
              </a:solidFill>
              <a:latin typeface="HelveticaNeueLT Pro 35 Th" pitchFamily="34" charset="0"/>
              <a:ea typeface="华文细黑" panose="02010600040101010101" pitchFamily="2" charset="-122"/>
            </a:endParaRPr>
          </a:p>
        </p:txBody>
      </p:sp>
      <p:sp>
        <p:nvSpPr>
          <p:cNvPr id="70" name="左中括号 69"/>
          <p:cNvSpPr/>
          <p:nvPr/>
        </p:nvSpPr>
        <p:spPr>
          <a:xfrm rot="16200000">
            <a:off x="3456799" y="4586111"/>
            <a:ext cx="56236" cy="1908213"/>
          </a:xfrm>
          <a:prstGeom prst="leftBracket">
            <a:avLst/>
          </a:prstGeom>
          <a:ln w="12700">
            <a:solidFill>
              <a:srgbClr val="FFFFFF"/>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sp>
        <p:nvSpPr>
          <p:cNvPr id="71" name="左中括号 70"/>
          <p:cNvSpPr/>
          <p:nvPr/>
        </p:nvSpPr>
        <p:spPr>
          <a:xfrm rot="16200000">
            <a:off x="5527029" y="4586111"/>
            <a:ext cx="56236" cy="1908213"/>
          </a:xfrm>
          <a:prstGeom prst="leftBracket">
            <a:avLst/>
          </a:prstGeom>
          <a:ln w="12700">
            <a:solidFill>
              <a:srgbClr val="FFFFFF"/>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sp>
        <p:nvSpPr>
          <p:cNvPr id="72" name="左中括号 71"/>
          <p:cNvSpPr/>
          <p:nvPr/>
        </p:nvSpPr>
        <p:spPr>
          <a:xfrm rot="16200000">
            <a:off x="7178406" y="4995348"/>
            <a:ext cx="56236" cy="1089737"/>
          </a:xfrm>
          <a:prstGeom prst="leftBracket">
            <a:avLst/>
          </a:prstGeom>
          <a:ln w="12700">
            <a:solidFill>
              <a:srgbClr val="FFFFFF"/>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sp>
        <p:nvSpPr>
          <p:cNvPr id="75" name="TextBox 74"/>
          <p:cNvSpPr txBox="1"/>
          <p:nvPr/>
        </p:nvSpPr>
        <p:spPr>
          <a:xfrm>
            <a:off x="2963781" y="5589240"/>
            <a:ext cx="1042273" cy="307777"/>
          </a:xfrm>
          <a:prstGeom prst="rect">
            <a:avLst/>
          </a:prstGeom>
          <a:noFill/>
        </p:spPr>
        <p:txBody>
          <a:bodyPr wrap="none" rtlCol="0">
            <a:spAutoFit/>
          </a:bodyPr>
          <a:lstStyle/>
          <a:p>
            <a:r>
              <a:rPr lang="en-US" altLang="zh-CN" sz="1400" smtClean="0">
                <a:solidFill>
                  <a:schemeClr val="bg1"/>
                </a:solidFill>
                <a:latin typeface="HelveticaNeueLT Pro 35 Th" pitchFamily="34" charset="0"/>
              </a:rPr>
              <a:t>2000-2005</a:t>
            </a:r>
            <a:endParaRPr lang="zh-CN" altLang="en-US" sz="1400">
              <a:solidFill>
                <a:schemeClr val="bg1"/>
              </a:solidFill>
              <a:latin typeface="HelveticaNeueLT Pro 35 Th" pitchFamily="34" charset="0"/>
            </a:endParaRPr>
          </a:p>
        </p:txBody>
      </p:sp>
      <p:sp>
        <p:nvSpPr>
          <p:cNvPr id="77" name="TextBox 76"/>
          <p:cNvSpPr txBox="1"/>
          <p:nvPr/>
        </p:nvSpPr>
        <p:spPr>
          <a:xfrm>
            <a:off x="5034011" y="5589240"/>
            <a:ext cx="1042273" cy="307777"/>
          </a:xfrm>
          <a:prstGeom prst="rect">
            <a:avLst/>
          </a:prstGeom>
          <a:noFill/>
        </p:spPr>
        <p:txBody>
          <a:bodyPr wrap="none" rtlCol="0">
            <a:spAutoFit/>
          </a:bodyPr>
          <a:lstStyle/>
          <a:p>
            <a:r>
              <a:rPr lang="en-US" altLang="zh-CN" sz="1400" smtClean="0">
                <a:solidFill>
                  <a:schemeClr val="bg1"/>
                </a:solidFill>
                <a:latin typeface="HelveticaNeueLT Pro 35 Th" pitchFamily="34" charset="0"/>
              </a:rPr>
              <a:t>2005-2010</a:t>
            </a:r>
            <a:endParaRPr lang="zh-CN" altLang="en-US" sz="1400">
              <a:solidFill>
                <a:schemeClr val="bg1"/>
              </a:solidFill>
              <a:latin typeface="HelveticaNeueLT Pro 35 Th" pitchFamily="34" charset="0"/>
            </a:endParaRPr>
          </a:p>
        </p:txBody>
      </p:sp>
      <p:sp>
        <p:nvSpPr>
          <p:cNvPr id="78" name="TextBox 77"/>
          <p:cNvSpPr txBox="1"/>
          <p:nvPr/>
        </p:nvSpPr>
        <p:spPr>
          <a:xfrm>
            <a:off x="6685388" y="5589240"/>
            <a:ext cx="1042273" cy="307777"/>
          </a:xfrm>
          <a:prstGeom prst="rect">
            <a:avLst/>
          </a:prstGeom>
          <a:noFill/>
        </p:spPr>
        <p:txBody>
          <a:bodyPr wrap="none" rtlCol="0">
            <a:spAutoFit/>
          </a:bodyPr>
          <a:lstStyle/>
          <a:p>
            <a:r>
              <a:rPr lang="en-US" altLang="zh-CN" sz="1400" smtClean="0">
                <a:solidFill>
                  <a:schemeClr val="bg1"/>
                </a:solidFill>
                <a:latin typeface="HelveticaNeueLT Pro 35 Th" pitchFamily="34" charset="0"/>
              </a:rPr>
              <a:t>2010-2014</a:t>
            </a:r>
            <a:endParaRPr lang="zh-CN" altLang="en-US" sz="1400">
              <a:solidFill>
                <a:schemeClr val="bg1"/>
              </a:solidFill>
              <a:latin typeface="HelveticaNeueLT Pro 35 Th" pitchFamily="34" charset="0"/>
            </a:endParaRPr>
          </a:p>
        </p:txBody>
      </p:sp>
      <p:sp>
        <p:nvSpPr>
          <p:cNvPr id="83" name="矩形标注 82"/>
          <p:cNvSpPr/>
          <p:nvPr/>
        </p:nvSpPr>
        <p:spPr>
          <a:xfrm>
            <a:off x="3781452" y="1677055"/>
            <a:ext cx="3086066" cy="844788"/>
          </a:xfrm>
          <a:prstGeom prst="wedgeRectCallout">
            <a:avLst>
              <a:gd name="adj1" fmla="val -59453"/>
              <a:gd name="adj2" fmla="val 41432"/>
            </a:avLst>
          </a:prstGeom>
          <a:noFill/>
          <a:ln w="952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zh-CN" altLang="en-US" sz="1600" smtClean="0">
                <a:latin typeface="华文细黑" panose="02010600040101010101" pitchFamily="2" charset="-122"/>
                <a:ea typeface="华文细黑" panose="02010600040101010101" pitchFamily="2" charset="-122"/>
              </a:rPr>
              <a:t>单击添加文本</a:t>
            </a:r>
            <a:r>
              <a:rPr lang="zh-CN" altLang="en-US" sz="1600">
                <a:latin typeface="华文细黑" panose="02010600040101010101" pitchFamily="2" charset="-122"/>
                <a:ea typeface="华文细黑" panose="02010600040101010101" pitchFamily="2" charset="-122"/>
              </a:rPr>
              <a:t>单击添加</a:t>
            </a:r>
            <a:r>
              <a:rPr lang="zh-CN" altLang="en-US" sz="1600" smtClean="0">
                <a:latin typeface="华文细黑" panose="02010600040101010101" pitchFamily="2" charset="-122"/>
                <a:ea typeface="华文细黑" panose="02010600040101010101" pitchFamily="2" charset="-122"/>
              </a:rPr>
              <a:t>文本</a:t>
            </a:r>
            <a:r>
              <a:rPr lang="zh-CN" altLang="en-US" sz="1600">
                <a:latin typeface="华文细黑" panose="02010600040101010101" pitchFamily="2" charset="-122"/>
                <a:ea typeface="华文细黑" panose="02010600040101010101" pitchFamily="2" charset="-122"/>
              </a:rPr>
              <a:t>单击添加</a:t>
            </a:r>
            <a:r>
              <a:rPr lang="zh-CN" altLang="en-US" sz="1600" smtClean="0">
                <a:latin typeface="华文细黑" panose="02010600040101010101" pitchFamily="2" charset="-122"/>
                <a:ea typeface="华文细黑" panose="02010600040101010101" pitchFamily="2" charset="-122"/>
              </a:rPr>
              <a:t>文本单击</a:t>
            </a:r>
            <a:r>
              <a:rPr lang="zh-CN" altLang="en-US" sz="1600">
                <a:latin typeface="华文细黑" panose="02010600040101010101" pitchFamily="2" charset="-122"/>
                <a:ea typeface="华文细黑" panose="02010600040101010101" pitchFamily="2" charset="-122"/>
              </a:rPr>
              <a:t>添加</a:t>
            </a:r>
            <a:r>
              <a:rPr lang="zh-CN" altLang="en-US" sz="1600" smtClean="0">
                <a:latin typeface="华文细黑" panose="02010600040101010101" pitchFamily="2" charset="-122"/>
                <a:ea typeface="华文细黑" panose="02010600040101010101" pitchFamily="2" charset="-122"/>
              </a:rPr>
              <a:t>文本</a:t>
            </a:r>
            <a:endParaRPr lang="zh-CN" altLang="en-US" sz="1600">
              <a:latin typeface="华文细黑" panose="02010600040101010101" pitchFamily="2" charset="-122"/>
              <a:ea typeface="华文细黑" panose="02010600040101010101" pitchFamily="2" charset="-122"/>
            </a:endParaRPr>
          </a:p>
        </p:txBody>
      </p:sp>
      <p:sp>
        <p:nvSpPr>
          <p:cNvPr id="85" name="Freeform 91"/>
          <p:cNvSpPr>
            <a:spLocks noEditPoints="1"/>
          </p:cNvSpPr>
          <p:nvPr/>
        </p:nvSpPr>
        <p:spPr bwMode="auto">
          <a:xfrm>
            <a:off x="8754361" y="2008024"/>
            <a:ext cx="293174" cy="418025"/>
          </a:xfrm>
          <a:custGeom>
            <a:avLst/>
            <a:gdLst>
              <a:gd name="T0" fmla="*/ 8 w 348"/>
              <a:gd name="T1" fmla="*/ 0 h 414"/>
              <a:gd name="T2" fmla="*/ 0 w 348"/>
              <a:gd name="T3" fmla="*/ 406 h 414"/>
              <a:gd name="T4" fmla="*/ 340 w 348"/>
              <a:gd name="T5" fmla="*/ 414 h 414"/>
              <a:gd name="T6" fmla="*/ 348 w 348"/>
              <a:gd name="T7" fmla="*/ 8 h 414"/>
              <a:gd name="T8" fmla="*/ 333 w 348"/>
              <a:gd name="T9" fmla="*/ 399 h 414"/>
              <a:gd name="T10" fmla="*/ 15 w 348"/>
              <a:gd name="T11" fmla="*/ 15 h 414"/>
              <a:gd name="T12" fmla="*/ 333 w 348"/>
              <a:gd name="T13" fmla="*/ 399 h 414"/>
              <a:gd name="T14" fmla="*/ 33 w 348"/>
              <a:gd name="T15" fmla="*/ 43 h 414"/>
              <a:gd name="T16" fmla="*/ 307 w 348"/>
              <a:gd name="T17" fmla="*/ 36 h 414"/>
              <a:gd name="T18" fmla="*/ 315 w 348"/>
              <a:gd name="T19" fmla="*/ 104 h 414"/>
              <a:gd name="T20" fmla="*/ 41 w 348"/>
              <a:gd name="T21" fmla="*/ 111 h 414"/>
              <a:gd name="T22" fmla="*/ 108 w 348"/>
              <a:gd name="T23" fmla="*/ 141 h 414"/>
              <a:gd name="T24" fmla="*/ 123 w 348"/>
              <a:gd name="T25" fmla="*/ 203 h 414"/>
              <a:gd name="T26" fmla="*/ 53 w 348"/>
              <a:gd name="T27" fmla="*/ 210 h 414"/>
              <a:gd name="T28" fmla="*/ 108 w 348"/>
              <a:gd name="T29" fmla="*/ 195 h 414"/>
              <a:gd name="T30" fmla="*/ 198 w 348"/>
              <a:gd name="T31" fmla="*/ 141 h 414"/>
              <a:gd name="T32" fmla="*/ 212 w 348"/>
              <a:gd name="T33" fmla="*/ 203 h 414"/>
              <a:gd name="T34" fmla="*/ 143 w 348"/>
              <a:gd name="T35" fmla="*/ 210 h 414"/>
              <a:gd name="T36" fmla="*/ 198 w 348"/>
              <a:gd name="T37" fmla="*/ 195 h 414"/>
              <a:gd name="T38" fmla="*/ 287 w 348"/>
              <a:gd name="T39" fmla="*/ 141 h 414"/>
              <a:gd name="T40" fmla="*/ 302 w 348"/>
              <a:gd name="T41" fmla="*/ 203 h 414"/>
              <a:gd name="T42" fmla="*/ 233 w 348"/>
              <a:gd name="T43" fmla="*/ 210 h 414"/>
              <a:gd name="T44" fmla="*/ 287 w 348"/>
              <a:gd name="T45" fmla="*/ 195 h 414"/>
              <a:gd name="T46" fmla="*/ 108 w 348"/>
              <a:gd name="T47" fmla="*/ 314 h 414"/>
              <a:gd name="T48" fmla="*/ 123 w 348"/>
              <a:gd name="T49" fmla="*/ 376 h 414"/>
              <a:gd name="T50" fmla="*/ 53 w 348"/>
              <a:gd name="T51" fmla="*/ 384 h 414"/>
              <a:gd name="T52" fmla="*/ 108 w 348"/>
              <a:gd name="T53" fmla="*/ 369 h 414"/>
              <a:gd name="T54" fmla="*/ 198 w 348"/>
              <a:gd name="T55" fmla="*/ 314 h 414"/>
              <a:gd name="T56" fmla="*/ 212 w 348"/>
              <a:gd name="T57" fmla="*/ 376 h 414"/>
              <a:gd name="T58" fmla="*/ 143 w 348"/>
              <a:gd name="T59" fmla="*/ 384 h 414"/>
              <a:gd name="T60" fmla="*/ 198 w 348"/>
              <a:gd name="T61" fmla="*/ 369 h 414"/>
              <a:gd name="T62" fmla="*/ 287 w 348"/>
              <a:gd name="T63" fmla="*/ 314 h 414"/>
              <a:gd name="T64" fmla="*/ 302 w 348"/>
              <a:gd name="T65" fmla="*/ 376 h 414"/>
              <a:gd name="T66" fmla="*/ 233 w 348"/>
              <a:gd name="T67" fmla="*/ 384 h 414"/>
              <a:gd name="T68" fmla="*/ 287 w 348"/>
              <a:gd name="T69" fmla="*/ 369 h 414"/>
              <a:gd name="T70" fmla="*/ 108 w 348"/>
              <a:gd name="T71" fmla="*/ 227 h 414"/>
              <a:gd name="T72" fmla="*/ 123 w 348"/>
              <a:gd name="T73" fmla="*/ 289 h 414"/>
              <a:gd name="T74" fmla="*/ 53 w 348"/>
              <a:gd name="T75" fmla="*/ 297 h 414"/>
              <a:gd name="T76" fmla="*/ 108 w 348"/>
              <a:gd name="T77" fmla="*/ 282 h 414"/>
              <a:gd name="T78" fmla="*/ 198 w 348"/>
              <a:gd name="T79" fmla="*/ 227 h 414"/>
              <a:gd name="T80" fmla="*/ 212 w 348"/>
              <a:gd name="T81" fmla="*/ 289 h 414"/>
              <a:gd name="T82" fmla="*/ 143 w 348"/>
              <a:gd name="T83" fmla="*/ 297 h 414"/>
              <a:gd name="T84" fmla="*/ 198 w 348"/>
              <a:gd name="T85" fmla="*/ 282 h 414"/>
              <a:gd name="T86" fmla="*/ 287 w 348"/>
              <a:gd name="T87" fmla="*/ 227 h 414"/>
              <a:gd name="T88" fmla="*/ 302 w 348"/>
              <a:gd name="T89" fmla="*/ 289 h 414"/>
              <a:gd name="T90" fmla="*/ 233 w 348"/>
              <a:gd name="T91" fmla="*/ 297 h 414"/>
              <a:gd name="T92" fmla="*/ 287 w 348"/>
              <a:gd name="T93" fmla="*/ 282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8" h="414">
                <a:moveTo>
                  <a:pt x="340" y="0"/>
                </a:moveTo>
                <a:cubicBezTo>
                  <a:pt x="8" y="0"/>
                  <a:pt x="8" y="0"/>
                  <a:pt x="8" y="0"/>
                </a:cubicBezTo>
                <a:cubicBezTo>
                  <a:pt x="4" y="0"/>
                  <a:pt x="0" y="4"/>
                  <a:pt x="0" y="8"/>
                </a:cubicBezTo>
                <a:cubicBezTo>
                  <a:pt x="0" y="406"/>
                  <a:pt x="0" y="406"/>
                  <a:pt x="0" y="406"/>
                </a:cubicBezTo>
                <a:cubicBezTo>
                  <a:pt x="0" y="410"/>
                  <a:pt x="4" y="414"/>
                  <a:pt x="8" y="414"/>
                </a:cubicBezTo>
                <a:cubicBezTo>
                  <a:pt x="340" y="414"/>
                  <a:pt x="340" y="414"/>
                  <a:pt x="340" y="414"/>
                </a:cubicBezTo>
                <a:cubicBezTo>
                  <a:pt x="344" y="414"/>
                  <a:pt x="348" y="410"/>
                  <a:pt x="348" y="406"/>
                </a:cubicBezTo>
                <a:cubicBezTo>
                  <a:pt x="348" y="8"/>
                  <a:pt x="348" y="8"/>
                  <a:pt x="348" y="8"/>
                </a:cubicBezTo>
                <a:cubicBezTo>
                  <a:pt x="348" y="4"/>
                  <a:pt x="344" y="0"/>
                  <a:pt x="340" y="0"/>
                </a:cubicBezTo>
                <a:close/>
                <a:moveTo>
                  <a:pt x="333" y="399"/>
                </a:moveTo>
                <a:cubicBezTo>
                  <a:pt x="15" y="399"/>
                  <a:pt x="15" y="399"/>
                  <a:pt x="15" y="399"/>
                </a:cubicBezTo>
                <a:cubicBezTo>
                  <a:pt x="15" y="15"/>
                  <a:pt x="15" y="15"/>
                  <a:pt x="15" y="15"/>
                </a:cubicBezTo>
                <a:cubicBezTo>
                  <a:pt x="333" y="15"/>
                  <a:pt x="333" y="15"/>
                  <a:pt x="333" y="15"/>
                </a:cubicBezTo>
                <a:lnTo>
                  <a:pt x="333" y="399"/>
                </a:lnTo>
                <a:close/>
                <a:moveTo>
                  <a:pt x="33" y="104"/>
                </a:moveTo>
                <a:cubicBezTo>
                  <a:pt x="33" y="43"/>
                  <a:pt x="33" y="43"/>
                  <a:pt x="33" y="43"/>
                </a:cubicBezTo>
                <a:cubicBezTo>
                  <a:pt x="33" y="39"/>
                  <a:pt x="37" y="36"/>
                  <a:pt x="41" y="36"/>
                </a:cubicBezTo>
                <a:cubicBezTo>
                  <a:pt x="307" y="36"/>
                  <a:pt x="307" y="36"/>
                  <a:pt x="307" y="36"/>
                </a:cubicBezTo>
                <a:cubicBezTo>
                  <a:pt x="311" y="36"/>
                  <a:pt x="315" y="39"/>
                  <a:pt x="315" y="43"/>
                </a:cubicBezTo>
                <a:cubicBezTo>
                  <a:pt x="315" y="104"/>
                  <a:pt x="315" y="104"/>
                  <a:pt x="315" y="104"/>
                </a:cubicBezTo>
                <a:cubicBezTo>
                  <a:pt x="315" y="108"/>
                  <a:pt x="311" y="111"/>
                  <a:pt x="307" y="111"/>
                </a:cubicBezTo>
                <a:cubicBezTo>
                  <a:pt x="41" y="111"/>
                  <a:pt x="41" y="111"/>
                  <a:pt x="41" y="111"/>
                </a:cubicBezTo>
                <a:cubicBezTo>
                  <a:pt x="37" y="111"/>
                  <a:pt x="33" y="108"/>
                  <a:pt x="33" y="104"/>
                </a:cubicBezTo>
                <a:close/>
                <a:moveTo>
                  <a:pt x="108" y="141"/>
                </a:moveTo>
                <a:cubicBezTo>
                  <a:pt x="123" y="141"/>
                  <a:pt x="123" y="141"/>
                  <a:pt x="123" y="141"/>
                </a:cubicBezTo>
                <a:cubicBezTo>
                  <a:pt x="123" y="203"/>
                  <a:pt x="123" y="203"/>
                  <a:pt x="123" y="203"/>
                </a:cubicBezTo>
                <a:cubicBezTo>
                  <a:pt x="123" y="207"/>
                  <a:pt x="119" y="210"/>
                  <a:pt x="115" y="210"/>
                </a:cubicBezTo>
                <a:cubicBezTo>
                  <a:pt x="53" y="210"/>
                  <a:pt x="53" y="210"/>
                  <a:pt x="53" y="210"/>
                </a:cubicBezTo>
                <a:cubicBezTo>
                  <a:pt x="53" y="195"/>
                  <a:pt x="53" y="195"/>
                  <a:pt x="53" y="195"/>
                </a:cubicBezTo>
                <a:cubicBezTo>
                  <a:pt x="108" y="195"/>
                  <a:pt x="108" y="195"/>
                  <a:pt x="108" y="195"/>
                </a:cubicBezTo>
                <a:lnTo>
                  <a:pt x="108" y="141"/>
                </a:lnTo>
                <a:close/>
                <a:moveTo>
                  <a:pt x="198" y="141"/>
                </a:moveTo>
                <a:cubicBezTo>
                  <a:pt x="212" y="141"/>
                  <a:pt x="212" y="141"/>
                  <a:pt x="212" y="141"/>
                </a:cubicBezTo>
                <a:cubicBezTo>
                  <a:pt x="212" y="203"/>
                  <a:pt x="212" y="203"/>
                  <a:pt x="212" y="203"/>
                </a:cubicBezTo>
                <a:cubicBezTo>
                  <a:pt x="212" y="207"/>
                  <a:pt x="209" y="210"/>
                  <a:pt x="205" y="210"/>
                </a:cubicBezTo>
                <a:cubicBezTo>
                  <a:pt x="143" y="210"/>
                  <a:pt x="143" y="210"/>
                  <a:pt x="143" y="210"/>
                </a:cubicBezTo>
                <a:cubicBezTo>
                  <a:pt x="143" y="195"/>
                  <a:pt x="143" y="195"/>
                  <a:pt x="143" y="195"/>
                </a:cubicBezTo>
                <a:cubicBezTo>
                  <a:pt x="198" y="195"/>
                  <a:pt x="198" y="195"/>
                  <a:pt x="198" y="195"/>
                </a:cubicBezTo>
                <a:lnTo>
                  <a:pt x="198" y="141"/>
                </a:lnTo>
                <a:close/>
                <a:moveTo>
                  <a:pt x="287" y="141"/>
                </a:moveTo>
                <a:cubicBezTo>
                  <a:pt x="302" y="141"/>
                  <a:pt x="302" y="141"/>
                  <a:pt x="302" y="141"/>
                </a:cubicBezTo>
                <a:cubicBezTo>
                  <a:pt x="302" y="203"/>
                  <a:pt x="302" y="203"/>
                  <a:pt x="302" y="203"/>
                </a:cubicBezTo>
                <a:cubicBezTo>
                  <a:pt x="302" y="207"/>
                  <a:pt x="299" y="210"/>
                  <a:pt x="295" y="210"/>
                </a:cubicBezTo>
                <a:cubicBezTo>
                  <a:pt x="233" y="210"/>
                  <a:pt x="233" y="210"/>
                  <a:pt x="233" y="210"/>
                </a:cubicBezTo>
                <a:cubicBezTo>
                  <a:pt x="233" y="195"/>
                  <a:pt x="233" y="195"/>
                  <a:pt x="233" y="195"/>
                </a:cubicBezTo>
                <a:cubicBezTo>
                  <a:pt x="287" y="195"/>
                  <a:pt x="287" y="195"/>
                  <a:pt x="287" y="195"/>
                </a:cubicBezTo>
                <a:lnTo>
                  <a:pt x="287" y="141"/>
                </a:lnTo>
                <a:close/>
                <a:moveTo>
                  <a:pt x="108" y="314"/>
                </a:moveTo>
                <a:cubicBezTo>
                  <a:pt x="123" y="314"/>
                  <a:pt x="123" y="314"/>
                  <a:pt x="123" y="314"/>
                </a:cubicBezTo>
                <a:cubicBezTo>
                  <a:pt x="123" y="376"/>
                  <a:pt x="123" y="376"/>
                  <a:pt x="123" y="376"/>
                </a:cubicBezTo>
                <a:cubicBezTo>
                  <a:pt x="123" y="380"/>
                  <a:pt x="119" y="384"/>
                  <a:pt x="115" y="384"/>
                </a:cubicBezTo>
                <a:cubicBezTo>
                  <a:pt x="53" y="384"/>
                  <a:pt x="53" y="384"/>
                  <a:pt x="53" y="384"/>
                </a:cubicBezTo>
                <a:cubicBezTo>
                  <a:pt x="53" y="369"/>
                  <a:pt x="53" y="369"/>
                  <a:pt x="53" y="369"/>
                </a:cubicBezTo>
                <a:cubicBezTo>
                  <a:pt x="108" y="369"/>
                  <a:pt x="108" y="369"/>
                  <a:pt x="108" y="369"/>
                </a:cubicBezTo>
                <a:lnTo>
                  <a:pt x="108" y="314"/>
                </a:lnTo>
                <a:close/>
                <a:moveTo>
                  <a:pt x="198" y="314"/>
                </a:moveTo>
                <a:cubicBezTo>
                  <a:pt x="212" y="314"/>
                  <a:pt x="212" y="314"/>
                  <a:pt x="212" y="314"/>
                </a:cubicBezTo>
                <a:cubicBezTo>
                  <a:pt x="212" y="376"/>
                  <a:pt x="212" y="376"/>
                  <a:pt x="212" y="376"/>
                </a:cubicBezTo>
                <a:cubicBezTo>
                  <a:pt x="212" y="380"/>
                  <a:pt x="209" y="384"/>
                  <a:pt x="205" y="384"/>
                </a:cubicBezTo>
                <a:cubicBezTo>
                  <a:pt x="143" y="384"/>
                  <a:pt x="143" y="384"/>
                  <a:pt x="143" y="384"/>
                </a:cubicBezTo>
                <a:cubicBezTo>
                  <a:pt x="143" y="369"/>
                  <a:pt x="143" y="369"/>
                  <a:pt x="143" y="369"/>
                </a:cubicBezTo>
                <a:cubicBezTo>
                  <a:pt x="198" y="369"/>
                  <a:pt x="198" y="369"/>
                  <a:pt x="198" y="369"/>
                </a:cubicBezTo>
                <a:lnTo>
                  <a:pt x="198" y="314"/>
                </a:lnTo>
                <a:close/>
                <a:moveTo>
                  <a:pt x="287" y="314"/>
                </a:moveTo>
                <a:cubicBezTo>
                  <a:pt x="302" y="314"/>
                  <a:pt x="302" y="314"/>
                  <a:pt x="302" y="314"/>
                </a:cubicBezTo>
                <a:cubicBezTo>
                  <a:pt x="302" y="376"/>
                  <a:pt x="302" y="376"/>
                  <a:pt x="302" y="376"/>
                </a:cubicBezTo>
                <a:cubicBezTo>
                  <a:pt x="302" y="380"/>
                  <a:pt x="299" y="384"/>
                  <a:pt x="295" y="384"/>
                </a:cubicBezTo>
                <a:cubicBezTo>
                  <a:pt x="233" y="384"/>
                  <a:pt x="233" y="384"/>
                  <a:pt x="233" y="384"/>
                </a:cubicBezTo>
                <a:cubicBezTo>
                  <a:pt x="233" y="369"/>
                  <a:pt x="233" y="369"/>
                  <a:pt x="233" y="369"/>
                </a:cubicBezTo>
                <a:cubicBezTo>
                  <a:pt x="287" y="369"/>
                  <a:pt x="287" y="369"/>
                  <a:pt x="287" y="369"/>
                </a:cubicBezTo>
                <a:lnTo>
                  <a:pt x="287" y="314"/>
                </a:lnTo>
                <a:close/>
                <a:moveTo>
                  <a:pt x="108" y="227"/>
                </a:moveTo>
                <a:cubicBezTo>
                  <a:pt x="123" y="227"/>
                  <a:pt x="123" y="227"/>
                  <a:pt x="123" y="227"/>
                </a:cubicBezTo>
                <a:cubicBezTo>
                  <a:pt x="123" y="289"/>
                  <a:pt x="123" y="289"/>
                  <a:pt x="123" y="289"/>
                </a:cubicBezTo>
                <a:cubicBezTo>
                  <a:pt x="123" y="293"/>
                  <a:pt x="119" y="297"/>
                  <a:pt x="115" y="297"/>
                </a:cubicBezTo>
                <a:cubicBezTo>
                  <a:pt x="53" y="297"/>
                  <a:pt x="53" y="297"/>
                  <a:pt x="53" y="297"/>
                </a:cubicBezTo>
                <a:cubicBezTo>
                  <a:pt x="53" y="282"/>
                  <a:pt x="53" y="282"/>
                  <a:pt x="53" y="282"/>
                </a:cubicBezTo>
                <a:cubicBezTo>
                  <a:pt x="108" y="282"/>
                  <a:pt x="108" y="282"/>
                  <a:pt x="108" y="282"/>
                </a:cubicBezTo>
                <a:lnTo>
                  <a:pt x="108" y="227"/>
                </a:lnTo>
                <a:close/>
                <a:moveTo>
                  <a:pt x="198" y="227"/>
                </a:moveTo>
                <a:cubicBezTo>
                  <a:pt x="212" y="227"/>
                  <a:pt x="212" y="227"/>
                  <a:pt x="212" y="227"/>
                </a:cubicBezTo>
                <a:cubicBezTo>
                  <a:pt x="212" y="289"/>
                  <a:pt x="212" y="289"/>
                  <a:pt x="212" y="289"/>
                </a:cubicBezTo>
                <a:cubicBezTo>
                  <a:pt x="212" y="293"/>
                  <a:pt x="209" y="297"/>
                  <a:pt x="205" y="297"/>
                </a:cubicBezTo>
                <a:cubicBezTo>
                  <a:pt x="143" y="297"/>
                  <a:pt x="143" y="297"/>
                  <a:pt x="143" y="297"/>
                </a:cubicBezTo>
                <a:cubicBezTo>
                  <a:pt x="143" y="282"/>
                  <a:pt x="143" y="282"/>
                  <a:pt x="143" y="282"/>
                </a:cubicBezTo>
                <a:cubicBezTo>
                  <a:pt x="198" y="282"/>
                  <a:pt x="198" y="282"/>
                  <a:pt x="198" y="282"/>
                </a:cubicBezTo>
                <a:lnTo>
                  <a:pt x="198" y="227"/>
                </a:lnTo>
                <a:close/>
                <a:moveTo>
                  <a:pt x="287" y="227"/>
                </a:moveTo>
                <a:cubicBezTo>
                  <a:pt x="302" y="227"/>
                  <a:pt x="302" y="227"/>
                  <a:pt x="302" y="227"/>
                </a:cubicBezTo>
                <a:cubicBezTo>
                  <a:pt x="302" y="289"/>
                  <a:pt x="302" y="289"/>
                  <a:pt x="302" y="289"/>
                </a:cubicBezTo>
                <a:cubicBezTo>
                  <a:pt x="302" y="293"/>
                  <a:pt x="299" y="297"/>
                  <a:pt x="295" y="297"/>
                </a:cubicBezTo>
                <a:cubicBezTo>
                  <a:pt x="233" y="297"/>
                  <a:pt x="233" y="297"/>
                  <a:pt x="233" y="297"/>
                </a:cubicBezTo>
                <a:cubicBezTo>
                  <a:pt x="233" y="282"/>
                  <a:pt x="233" y="282"/>
                  <a:pt x="233" y="282"/>
                </a:cubicBezTo>
                <a:cubicBezTo>
                  <a:pt x="287" y="282"/>
                  <a:pt x="287" y="282"/>
                  <a:pt x="287" y="282"/>
                </a:cubicBezTo>
                <a:lnTo>
                  <a:pt x="287" y="227"/>
                </a:lnTo>
                <a:close/>
              </a:path>
            </a:pathLst>
          </a:custGeom>
          <a:solidFill>
            <a:schemeClr val="bg1"/>
          </a:solidFill>
          <a:ln>
            <a:noFill/>
          </a:ln>
        </p:spPr>
        <p:txBody>
          <a:bodyPr vert="horz" wrap="square" lIns="68571" tIns="34286" rIns="68571" bIns="34286" numCol="1" anchor="t" anchorCtr="0" compatLnSpc="1"/>
          <a:lstStyle/>
          <a:p>
            <a:endParaRPr lang="en-US"/>
          </a:p>
        </p:txBody>
      </p:sp>
      <p:sp>
        <p:nvSpPr>
          <p:cNvPr id="86" name="Freeform 80"/>
          <p:cNvSpPr>
            <a:spLocks noEditPoints="1"/>
          </p:cNvSpPr>
          <p:nvPr/>
        </p:nvSpPr>
        <p:spPr bwMode="auto">
          <a:xfrm>
            <a:off x="8754361" y="3573016"/>
            <a:ext cx="293174" cy="416743"/>
          </a:xfrm>
          <a:custGeom>
            <a:avLst/>
            <a:gdLst>
              <a:gd name="T0" fmla="*/ 273 w 280"/>
              <a:gd name="T1" fmla="*/ 0 h 413"/>
              <a:gd name="T2" fmla="*/ 7 w 280"/>
              <a:gd name="T3" fmla="*/ 0 h 413"/>
              <a:gd name="T4" fmla="*/ 0 w 280"/>
              <a:gd name="T5" fmla="*/ 7 h 413"/>
              <a:gd name="T6" fmla="*/ 0 w 280"/>
              <a:gd name="T7" fmla="*/ 406 h 413"/>
              <a:gd name="T8" fmla="*/ 7 w 280"/>
              <a:gd name="T9" fmla="*/ 413 h 413"/>
              <a:gd name="T10" fmla="*/ 273 w 280"/>
              <a:gd name="T11" fmla="*/ 413 h 413"/>
              <a:gd name="T12" fmla="*/ 280 w 280"/>
              <a:gd name="T13" fmla="*/ 406 h 413"/>
              <a:gd name="T14" fmla="*/ 280 w 280"/>
              <a:gd name="T15" fmla="*/ 7 h 413"/>
              <a:gd name="T16" fmla="*/ 273 w 280"/>
              <a:gd name="T17" fmla="*/ 0 h 413"/>
              <a:gd name="T18" fmla="*/ 266 w 280"/>
              <a:gd name="T19" fmla="*/ 398 h 413"/>
              <a:gd name="T20" fmla="*/ 14 w 280"/>
              <a:gd name="T21" fmla="*/ 398 h 413"/>
              <a:gd name="T22" fmla="*/ 14 w 280"/>
              <a:gd name="T23" fmla="*/ 14 h 413"/>
              <a:gd name="T24" fmla="*/ 266 w 280"/>
              <a:gd name="T25" fmla="*/ 14 h 413"/>
              <a:gd name="T26" fmla="*/ 266 w 280"/>
              <a:gd name="T27" fmla="*/ 398 h 413"/>
              <a:gd name="T28" fmla="*/ 108 w 280"/>
              <a:gd name="T29" fmla="*/ 81 h 413"/>
              <a:gd name="T30" fmla="*/ 174 w 280"/>
              <a:gd name="T31" fmla="*/ 81 h 413"/>
              <a:gd name="T32" fmla="*/ 198 w 280"/>
              <a:gd name="T33" fmla="*/ 57 h 413"/>
              <a:gd name="T34" fmla="*/ 174 w 280"/>
              <a:gd name="T35" fmla="*/ 33 h 413"/>
              <a:gd name="T36" fmla="*/ 108 w 280"/>
              <a:gd name="T37" fmla="*/ 33 h 413"/>
              <a:gd name="T38" fmla="*/ 84 w 280"/>
              <a:gd name="T39" fmla="*/ 57 h 413"/>
              <a:gd name="T40" fmla="*/ 108 w 280"/>
              <a:gd name="T41" fmla="*/ 81 h 413"/>
              <a:gd name="T42" fmla="*/ 108 w 280"/>
              <a:gd name="T43" fmla="*/ 48 h 413"/>
              <a:gd name="T44" fmla="*/ 174 w 280"/>
              <a:gd name="T45" fmla="*/ 48 h 413"/>
              <a:gd name="T46" fmla="*/ 184 w 280"/>
              <a:gd name="T47" fmla="*/ 57 h 413"/>
              <a:gd name="T48" fmla="*/ 174 w 280"/>
              <a:gd name="T49" fmla="*/ 66 h 413"/>
              <a:gd name="T50" fmla="*/ 108 w 280"/>
              <a:gd name="T51" fmla="*/ 66 h 413"/>
              <a:gd name="T52" fmla="*/ 99 w 280"/>
              <a:gd name="T53" fmla="*/ 57 h 413"/>
              <a:gd name="T54" fmla="*/ 108 w 280"/>
              <a:gd name="T55" fmla="*/ 48 h 413"/>
              <a:gd name="T56" fmla="*/ 140 w 280"/>
              <a:gd name="T57" fmla="*/ 207 h 413"/>
              <a:gd name="T58" fmla="*/ 73 w 280"/>
              <a:gd name="T59" fmla="*/ 207 h 413"/>
              <a:gd name="T60" fmla="*/ 73 w 280"/>
              <a:gd name="T61" fmla="*/ 140 h 413"/>
              <a:gd name="T62" fmla="*/ 140 w 280"/>
              <a:gd name="T63" fmla="*/ 140 h 413"/>
              <a:gd name="T64" fmla="*/ 140 w 280"/>
              <a:gd name="T65" fmla="*/ 207 h 413"/>
              <a:gd name="T66" fmla="*/ 206 w 280"/>
              <a:gd name="T67" fmla="*/ 280 h 413"/>
              <a:gd name="T68" fmla="*/ 74 w 280"/>
              <a:gd name="T69" fmla="*/ 280 h 413"/>
              <a:gd name="T70" fmla="*/ 74 w 280"/>
              <a:gd name="T71" fmla="*/ 266 h 413"/>
              <a:gd name="T72" fmla="*/ 206 w 280"/>
              <a:gd name="T73" fmla="*/ 266 h 413"/>
              <a:gd name="T74" fmla="*/ 206 w 280"/>
              <a:gd name="T75" fmla="*/ 280 h 413"/>
              <a:gd name="T76" fmla="*/ 75 w 280"/>
              <a:gd name="T77" fmla="*/ 232 h 413"/>
              <a:gd name="T78" fmla="*/ 207 w 280"/>
              <a:gd name="T79" fmla="*/ 232 h 413"/>
              <a:gd name="T80" fmla="*/ 207 w 280"/>
              <a:gd name="T81" fmla="*/ 247 h 413"/>
              <a:gd name="T82" fmla="*/ 75 w 280"/>
              <a:gd name="T83" fmla="*/ 247 h 413"/>
              <a:gd name="T84" fmla="*/ 75 w 280"/>
              <a:gd name="T85" fmla="*/ 232 h 413"/>
              <a:gd name="T86" fmla="*/ 74 w 280"/>
              <a:gd name="T87" fmla="*/ 313 h 413"/>
              <a:gd name="T88" fmla="*/ 74 w 280"/>
              <a:gd name="T89" fmla="*/ 299 h 413"/>
              <a:gd name="T90" fmla="*/ 206 w 280"/>
              <a:gd name="T91" fmla="*/ 299 h 413"/>
              <a:gd name="T92" fmla="*/ 206 w 280"/>
              <a:gd name="T93" fmla="*/ 313 h 413"/>
              <a:gd name="T94" fmla="*/ 74 w 280"/>
              <a:gd name="T95" fmla="*/ 313 h 413"/>
              <a:gd name="T96" fmla="*/ 206 w 280"/>
              <a:gd name="T97" fmla="*/ 347 h 413"/>
              <a:gd name="T98" fmla="*/ 73 w 280"/>
              <a:gd name="T99" fmla="*/ 347 h 413"/>
              <a:gd name="T100" fmla="*/ 73 w 280"/>
              <a:gd name="T101" fmla="*/ 332 h 413"/>
              <a:gd name="T102" fmla="*/ 206 w 280"/>
              <a:gd name="T103" fmla="*/ 332 h 413"/>
              <a:gd name="T104" fmla="*/ 206 w 280"/>
              <a:gd name="T105" fmla="*/ 347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80" h="413">
                <a:moveTo>
                  <a:pt x="273" y="0"/>
                </a:moveTo>
                <a:cubicBezTo>
                  <a:pt x="7" y="0"/>
                  <a:pt x="7" y="0"/>
                  <a:pt x="7" y="0"/>
                </a:cubicBezTo>
                <a:cubicBezTo>
                  <a:pt x="3" y="0"/>
                  <a:pt x="0" y="3"/>
                  <a:pt x="0" y="7"/>
                </a:cubicBezTo>
                <a:cubicBezTo>
                  <a:pt x="0" y="406"/>
                  <a:pt x="0" y="406"/>
                  <a:pt x="0" y="406"/>
                </a:cubicBezTo>
                <a:cubicBezTo>
                  <a:pt x="0" y="410"/>
                  <a:pt x="3" y="413"/>
                  <a:pt x="7" y="413"/>
                </a:cubicBezTo>
                <a:cubicBezTo>
                  <a:pt x="273" y="413"/>
                  <a:pt x="273" y="413"/>
                  <a:pt x="273" y="413"/>
                </a:cubicBezTo>
                <a:cubicBezTo>
                  <a:pt x="277" y="413"/>
                  <a:pt x="280" y="410"/>
                  <a:pt x="280" y="406"/>
                </a:cubicBezTo>
                <a:cubicBezTo>
                  <a:pt x="280" y="7"/>
                  <a:pt x="280" y="7"/>
                  <a:pt x="280" y="7"/>
                </a:cubicBezTo>
                <a:cubicBezTo>
                  <a:pt x="280" y="3"/>
                  <a:pt x="277" y="0"/>
                  <a:pt x="273" y="0"/>
                </a:cubicBezTo>
                <a:close/>
                <a:moveTo>
                  <a:pt x="266" y="398"/>
                </a:moveTo>
                <a:cubicBezTo>
                  <a:pt x="14" y="398"/>
                  <a:pt x="14" y="398"/>
                  <a:pt x="14" y="398"/>
                </a:cubicBezTo>
                <a:cubicBezTo>
                  <a:pt x="14" y="14"/>
                  <a:pt x="14" y="14"/>
                  <a:pt x="14" y="14"/>
                </a:cubicBezTo>
                <a:cubicBezTo>
                  <a:pt x="266" y="14"/>
                  <a:pt x="266" y="14"/>
                  <a:pt x="266" y="14"/>
                </a:cubicBezTo>
                <a:lnTo>
                  <a:pt x="266" y="398"/>
                </a:lnTo>
                <a:close/>
                <a:moveTo>
                  <a:pt x="108" y="81"/>
                </a:moveTo>
                <a:cubicBezTo>
                  <a:pt x="174" y="81"/>
                  <a:pt x="174" y="81"/>
                  <a:pt x="174" y="81"/>
                </a:cubicBezTo>
                <a:cubicBezTo>
                  <a:pt x="187" y="81"/>
                  <a:pt x="198" y="70"/>
                  <a:pt x="198" y="57"/>
                </a:cubicBezTo>
                <a:cubicBezTo>
                  <a:pt x="198" y="44"/>
                  <a:pt x="187" y="33"/>
                  <a:pt x="174" y="33"/>
                </a:cubicBezTo>
                <a:cubicBezTo>
                  <a:pt x="108" y="33"/>
                  <a:pt x="108" y="33"/>
                  <a:pt x="108" y="33"/>
                </a:cubicBezTo>
                <a:cubicBezTo>
                  <a:pt x="95" y="33"/>
                  <a:pt x="84" y="44"/>
                  <a:pt x="84" y="57"/>
                </a:cubicBezTo>
                <a:cubicBezTo>
                  <a:pt x="84" y="70"/>
                  <a:pt x="95" y="81"/>
                  <a:pt x="108" y="81"/>
                </a:cubicBezTo>
                <a:close/>
                <a:moveTo>
                  <a:pt x="108" y="48"/>
                </a:moveTo>
                <a:cubicBezTo>
                  <a:pt x="174" y="48"/>
                  <a:pt x="174" y="48"/>
                  <a:pt x="174" y="48"/>
                </a:cubicBezTo>
                <a:cubicBezTo>
                  <a:pt x="179" y="48"/>
                  <a:pt x="184" y="52"/>
                  <a:pt x="184" y="57"/>
                </a:cubicBezTo>
                <a:cubicBezTo>
                  <a:pt x="184" y="62"/>
                  <a:pt x="179" y="66"/>
                  <a:pt x="174" y="66"/>
                </a:cubicBezTo>
                <a:cubicBezTo>
                  <a:pt x="108" y="66"/>
                  <a:pt x="108" y="66"/>
                  <a:pt x="108" y="66"/>
                </a:cubicBezTo>
                <a:cubicBezTo>
                  <a:pt x="103" y="66"/>
                  <a:pt x="99" y="62"/>
                  <a:pt x="99" y="57"/>
                </a:cubicBezTo>
                <a:cubicBezTo>
                  <a:pt x="99" y="52"/>
                  <a:pt x="103" y="48"/>
                  <a:pt x="108" y="48"/>
                </a:cubicBezTo>
                <a:close/>
                <a:moveTo>
                  <a:pt x="140" y="207"/>
                </a:moveTo>
                <a:cubicBezTo>
                  <a:pt x="73" y="207"/>
                  <a:pt x="73" y="207"/>
                  <a:pt x="73" y="207"/>
                </a:cubicBezTo>
                <a:cubicBezTo>
                  <a:pt x="73" y="140"/>
                  <a:pt x="73" y="140"/>
                  <a:pt x="73" y="140"/>
                </a:cubicBezTo>
                <a:cubicBezTo>
                  <a:pt x="140" y="140"/>
                  <a:pt x="140" y="140"/>
                  <a:pt x="140" y="140"/>
                </a:cubicBezTo>
                <a:lnTo>
                  <a:pt x="140" y="207"/>
                </a:lnTo>
                <a:close/>
                <a:moveTo>
                  <a:pt x="206" y="280"/>
                </a:moveTo>
                <a:cubicBezTo>
                  <a:pt x="74" y="280"/>
                  <a:pt x="74" y="280"/>
                  <a:pt x="74" y="280"/>
                </a:cubicBezTo>
                <a:cubicBezTo>
                  <a:pt x="74" y="266"/>
                  <a:pt x="74" y="266"/>
                  <a:pt x="74" y="266"/>
                </a:cubicBezTo>
                <a:cubicBezTo>
                  <a:pt x="206" y="266"/>
                  <a:pt x="206" y="266"/>
                  <a:pt x="206" y="266"/>
                </a:cubicBezTo>
                <a:lnTo>
                  <a:pt x="206" y="280"/>
                </a:lnTo>
                <a:close/>
                <a:moveTo>
                  <a:pt x="75" y="232"/>
                </a:moveTo>
                <a:cubicBezTo>
                  <a:pt x="207" y="232"/>
                  <a:pt x="207" y="232"/>
                  <a:pt x="207" y="232"/>
                </a:cubicBezTo>
                <a:cubicBezTo>
                  <a:pt x="207" y="247"/>
                  <a:pt x="207" y="247"/>
                  <a:pt x="207" y="247"/>
                </a:cubicBezTo>
                <a:cubicBezTo>
                  <a:pt x="75" y="247"/>
                  <a:pt x="75" y="247"/>
                  <a:pt x="75" y="247"/>
                </a:cubicBezTo>
                <a:lnTo>
                  <a:pt x="75" y="232"/>
                </a:lnTo>
                <a:close/>
                <a:moveTo>
                  <a:pt x="74" y="313"/>
                </a:moveTo>
                <a:cubicBezTo>
                  <a:pt x="74" y="299"/>
                  <a:pt x="74" y="299"/>
                  <a:pt x="74" y="299"/>
                </a:cubicBezTo>
                <a:cubicBezTo>
                  <a:pt x="206" y="299"/>
                  <a:pt x="206" y="299"/>
                  <a:pt x="206" y="299"/>
                </a:cubicBezTo>
                <a:cubicBezTo>
                  <a:pt x="206" y="313"/>
                  <a:pt x="206" y="313"/>
                  <a:pt x="206" y="313"/>
                </a:cubicBezTo>
                <a:lnTo>
                  <a:pt x="74" y="313"/>
                </a:lnTo>
                <a:close/>
                <a:moveTo>
                  <a:pt x="206" y="347"/>
                </a:moveTo>
                <a:cubicBezTo>
                  <a:pt x="73" y="347"/>
                  <a:pt x="73" y="347"/>
                  <a:pt x="73" y="347"/>
                </a:cubicBezTo>
                <a:cubicBezTo>
                  <a:pt x="73" y="332"/>
                  <a:pt x="73" y="332"/>
                  <a:pt x="73" y="332"/>
                </a:cubicBezTo>
                <a:cubicBezTo>
                  <a:pt x="206" y="332"/>
                  <a:pt x="206" y="332"/>
                  <a:pt x="206" y="332"/>
                </a:cubicBezTo>
                <a:lnTo>
                  <a:pt x="206" y="347"/>
                </a:lnTo>
                <a:close/>
              </a:path>
            </a:pathLst>
          </a:custGeom>
          <a:solidFill>
            <a:schemeClr val="bg1"/>
          </a:solidFill>
          <a:ln>
            <a:noFill/>
          </a:ln>
        </p:spPr>
        <p:txBody>
          <a:bodyPr vert="horz" wrap="square" lIns="68571" tIns="34286" rIns="68571" bIns="34286" numCol="1" anchor="t" anchorCtr="0" compatLnSpc="1"/>
          <a:lstStyle/>
          <a:p>
            <a:endParaRPr lang="en-US"/>
          </a:p>
        </p:txBody>
      </p:sp>
      <p:sp>
        <p:nvSpPr>
          <p:cNvPr id="87" name="TextBox 86"/>
          <p:cNvSpPr txBox="1"/>
          <p:nvPr/>
        </p:nvSpPr>
        <p:spPr>
          <a:xfrm>
            <a:off x="9191550" y="2047759"/>
            <a:ext cx="1565596" cy="338554"/>
          </a:xfrm>
          <a:prstGeom prst="rect">
            <a:avLst/>
          </a:prstGeom>
          <a:noFill/>
        </p:spPr>
        <p:txBody>
          <a:bodyPr wrap="square" rtlCol="0">
            <a:spAutoFit/>
          </a:bodyPr>
          <a:lstStyle/>
          <a:p>
            <a:r>
              <a:rPr lang="zh-CN" altLang="en-US" sz="1600" smtClean="0">
                <a:solidFill>
                  <a:schemeClr val="bg1"/>
                </a:solidFill>
                <a:latin typeface="华文黑体" pitchFamily="2" charset="-122"/>
                <a:ea typeface="华文黑体" pitchFamily="2" charset="-122"/>
                <a:cs typeface="华文黑体" pitchFamily="2" charset="-122"/>
              </a:rPr>
              <a:t>单击添加标题</a:t>
            </a:r>
            <a:endParaRPr lang="zh-CN" altLang="en-US" sz="1600">
              <a:solidFill>
                <a:schemeClr val="bg1"/>
              </a:solidFill>
              <a:latin typeface="华文细黑" panose="02010600040101010101" pitchFamily="2" charset="-122"/>
              <a:ea typeface="华文细黑" panose="02010600040101010101" pitchFamily="2" charset="-122"/>
              <a:cs typeface="华文黑体" pitchFamily="2" charset="-122"/>
            </a:endParaRPr>
          </a:p>
        </p:txBody>
      </p:sp>
      <p:sp>
        <p:nvSpPr>
          <p:cNvPr id="88" name="TextBox 87"/>
          <p:cNvSpPr txBox="1"/>
          <p:nvPr/>
        </p:nvSpPr>
        <p:spPr>
          <a:xfrm>
            <a:off x="8682353" y="2491988"/>
            <a:ext cx="2885461" cy="738664"/>
          </a:xfrm>
          <a:prstGeom prst="rect">
            <a:avLst/>
          </a:prstGeom>
          <a:noFill/>
        </p:spPr>
        <p:txBody>
          <a:bodyPr wrap="square" rtlCol="0">
            <a:spAutoFit/>
          </a:bodyPr>
          <a:lstStyle/>
          <a:p>
            <a:r>
              <a:rPr lang="zh-CN" altLang="en-US" sz="1400" smtClean="0">
                <a:solidFill>
                  <a:schemeClr val="bg1"/>
                </a:solidFill>
                <a:latin typeface="华文细黑" panose="02010600040101010101" pitchFamily="2" charset="-122"/>
                <a:ea typeface="华文细黑" panose="02010600040101010101" pitchFamily="2" charset="-122"/>
                <a:cs typeface="华文黑体" pitchFamily="2" charset="-122"/>
              </a:rPr>
              <a:t>单击添加文本单击添加文本单击添加文本单击添加文本单击</a:t>
            </a:r>
            <a:r>
              <a:rPr lang="zh-CN" altLang="en-US" sz="1400">
                <a:solidFill>
                  <a:schemeClr val="bg1"/>
                </a:solidFill>
                <a:latin typeface="华文细黑" panose="02010600040101010101" pitchFamily="2" charset="-122"/>
                <a:ea typeface="华文细黑" panose="02010600040101010101" pitchFamily="2" charset="-122"/>
                <a:cs typeface="华文黑体" pitchFamily="2" charset="-122"/>
              </a:rPr>
              <a:t>添加</a:t>
            </a:r>
            <a:r>
              <a:rPr lang="zh-CN" altLang="en-US" sz="1400" smtClean="0">
                <a:solidFill>
                  <a:schemeClr val="bg1"/>
                </a:solidFill>
                <a:latin typeface="华文细黑" panose="02010600040101010101" pitchFamily="2" charset="-122"/>
                <a:ea typeface="华文细黑" panose="02010600040101010101" pitchFamily="2" charset="-122"/>
                <a:cs typeface="华文黑体" pitchFamily="2" charset="-122"/>
              </a:rPr>
              <a:t>文本单击添加</a:t>
            </a:r>
            <a:r>
              <a:rPr lang="zh-CN" altLang="en-US" sz="1400">
                <a:solidFill>
                  <a:schemeClr val="bg1"/>
                </a:solidFill>
                <a:latin typeface="华文细黑" panose="02010600040101010101" pitchFamily="2" charset="-122"/>
                <a:ea typeface="华文细黑" panose="02010600040101010101" pitchFamily="2" charset="-122"/>
                <a:cs typeface="华文黑体" pitchFamily="2" charset="-122"/>
              </a:rPr>
              <a:t>文本单击添加</a:t>
            </a:r>
            <a:r>
              <a:rPr lang="zh-CN" altLang="en-US" sz="1400" smtClean="0">
                <a:solidFill>
                  <a:schemeClr val="bg1"/>
                </a:solidFill>
                <a:latin typeface="华文细黑" panose="02010600040101010101" pitchFamily="2" charset="-122"/>
                <a:ea typeface="华文细黑" panose="02010600040101010101" pitchFamily="2" charset="-122"/>
                <a:cs typeface="华文黑体" pitchFamily="2" charset="-122"/>
              </a:rPr>
              <a:t>文本</a:t>
            </a:r>
            <a:endParaRPr lang="zh-CN" altLang="en-US" sz="1400">
              <a:solidFill>
                <a:schemeClr val="bg1"/>
              </a:solidFill>
              <a:latin typeface="华文细黑" panose="02010600040101010101" pitchFamily="2" charset="-122"/>
              <a:ea typeface="华文细黑" panose="02010600040101010101" pitchFamily="2" charset="-122"/>
              <a:cs typeface="华文黑体" pitchFamily="2" charset="-122"/>
            </a:endParaRPr>
          </a:p>
        </p:txBody>
      </p:sp>
      <p:sp>
        <p:nvSpPr>
          <p:cNvPr id="89" name="TextBox 88"/>
          <p:cNvSpPr txBox="1"/>
          <p:nvPr/>
        </p:nvSpPr>
        <p:spPr>
          <a:xfrm>
            <a:off x="9191550" y="3619135"/>
            <a:ext cx="1565596" cy="338554"/>
          </a:xfrm>
          <a:prstGeom prst="rect">
            <a:avLst/>
          </a:prstGeom>
          <a:noFill/>
        </p:spPr>
        <p:txBody>
          <a:bodyPr wrap="square" rtlCol="0">
            <a:spAutoFit/>
          </a:bodyPr>
          <a:lstStyle/>
          <a:p>
            <a:r>
              <a:rPr lang="zh-CN" altLang="en-US" sz="1600" smtClean="0">
                <a:solidFill>
                  <a:schemeClr val="bg1"/>
                </a:solidFill>
                <a:latin typeface="华文黑体" pitchFamily="2" charset="-122"/>
                <a:ea typeface="华文黑体" pitchFamily="2" charset="-122"/>
                <a:cs typeface="华文黑体" pitchFamily="2" charset="-122"/>
              </a:rPr>
              <a:t>单击添加标题</a:t>
            </a:r>
            <a:endParaRPr lang="zh-CN" altLang="en-US" sz="1600">
              <a:solidFill>
                <a:schemeClr val="bg1"/>
              </a:solidFill>
              <a:latin typeface="华文细黑" panose="02010600040101010101" pitchFamily="2" charset="-122"/>
              <a:ea typeface="华文细黑" panose="02010600040101010101" pitchFamily="2" charset="-122"/>
              <a:cs typeface="华文黑体" pitchFamily="2" charset="-122"/>
            </a:endParaRPr>
          </a:p>
        </p:txBody>
      </p:sp>
      <p:sp>
        <p:nvSpPr>
          <p:cNvPr id="90" name="TextBox 89"/>
          <p:cNvSpPr txBox="1"/>
          <p:nvPr/>
        </p:nvSpPr>
        <p:spPr>
          <a:xfrm>
            <a:off x="8682353" y="4063364"/>
            <a:ext cx="2885461" cy="738664"/>
          </a:xfrm>
          <a:prstGeom prst="rect">
            <a:avLst/>
          </a:prstGeom>
          <a:noFill/>
        </p:spPr>
        <p:txBody>
          <a:bodyPr wrap="square" rtlCol="0">
            <a:spAutoFit/>
          </a:bodyPr>
          <a:lstStyle/>
          <a:p>
            <a:r>
              <a:rPr lang="zh-CN" altLang="en-US" sz="1400" smtClean="0">
                <a:solidFill>
                  <a:schemeClr val="bg1"/>
                </a:solidFill>
                <a:latin typeface="华文细黑" panose="02010600040101010101" pitchFamily="2" charset="-122"/>
                <a:ea typeface="华文细黑" panose="02010600040101010101" pitchFamily="2" charset="-122"/>
                <a:cs typeface="华文黑体" pitchFamily="2" charset="-122"/>
              </a:rPr>
              <a:t>单击添加文本单击添加文本单击添加文本单击添加文本单击</a:t>
            </a:r>
            <a:r>
              <a:rPr lang="zh-CN" altLang="en-US" sz="1400">
                <a:solidFill>
                  <a:schemeClr val="bg1"/>
                </a:solidFill>
                <a:latin typeface="华文细黑" panose="02010600040101010101" pitchFamily="2" charset="-122"/>
                <a:ea typeface="华文细黑" panose="02010600040101010101" pitchFamily="2" charset="-122"/>
                <a:cs typeface="华文黑体" pitchFamily="2" charset="-122"/>
              </a:rPr>
              <a:t>添加</a:t>
            </a:r>
            <a:r>
              <a:rPr lang="zh-CN" altLang="en-US" sz="1400" smtClean="0">
                <a:solidFill>
                  <a:schemeClr val="bg1"/>
                </a:solidFill>
                <a:latin typeface="华文细黑" panose="02010600040101010101" pitchFamily="2" charset="-122"/>
                <a:ea typeface="华文细黑" panose="02010600040101010101" pitchFamily="2" charset="-122"/>
                <a:cs typeface="华文黑体" pitchFamily="2" charset="-122"/>
              </a:rPr>
              <a:t>文本单击添加</a:t>
            </a:r>
            <a:r>
              <a:rPr lang="zh-CN" altLang="en-US" sz="1400">
                <a:solidFill>
                  <a:schemeClr val="bg1"/>
                </a:solidFill>
                <a:latin typeface="华文细黑" panose="02010600040101010101" pitchFamily="2" charset="-122"/>
                <a:ea typeface="华文细黑" panose="02010600040101010101" pitchFamily="2" charset="-122"/>
                <a:cs typeface="华文黑体" pitchFamily="2" charset="-122"/>
              </a:rPr>
              <a:t>文本单击添加</a:t>
            </a:r>
            <a:r>
              <a:rPr lang="zh-CN" altLang="en-US" sz="1400" smtClean="0">
                <a:solidFill>
                  <a:schemeClr val="bg1"/>
                </a:solidFill>
                <a:latin typeface="华文细黑" panose="02010600040101010101" pitchFamily="2" charset="-122"/>
                <a:ea typeface="华文细黑" panose="02010600040101010101" pitchFamily="2" charset="-122"/>
                <a:cs typeface="华文黑体" pitchFamily="2" charset="-122"/>
              </a:rPr>
              <a:t>文本</a:t>
            </a:r>
            <a:endParaRPr lang="zh-CN" altLang="en-US" sz="1400">
              <a:solidFill>
                <a:schemeClr val="bg1"/>
              </a:solidFill>
              <a:latin typeface="华文细黑" panose="02010600040101010101" pitchFamily="2" charset="-122"/>
              <a:ea typeface="华文细黑" panose="02010600040101010101" pitchFamily="2" charset="-122"/>
              <a:cs typeface="华文黑体" pitchFamily="2" charset="-122"/>
            </a:endParaRPr>
          </a:p>
        </p:txBody>
      </p:sp>
      <p:sp>
        <p:nvSpPr>
          <p:cNvPr id="79" name="圆角矩形 78"/>
          <p:cNvSpPr/>
          <p:nvPr/>
        </p:nvSpPr>
        <p:spPr>
          <a:xfrm>
            <a:off x="8894702" y="260648"/>
            <a:ext cx="2673112" cy="600163"/>
          </a:xfrm>
          <a:prstGeom prst="roundRect">
            <a:avLst/>
          </a:prstGeom>
          <a:solidFill>
            <a:srgbClr val="FFFFFF"/>
          </a:solidFill>
          <a:ln>
            <a:noFill/>
          </a:ln>
          <a:effectLst>
            <a:reflection blurRad="6350" stA="25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0" name="TextBox 79"/>
          <p:cNvSpPr txBox="1"/>
          <p:nvPr/>
        </p:nvSpPr>
        <p:spPr>
          <a:xfrm>
            <a:off x="9061707" y="260648"/>
            <a:ext cx="2339102" cy="523220"/>
          </a:xfrm>
          <a:prstGeom prst="rect">
            <a:avLst/>
          </a:prstGeom>
          <a:noFill/>
        </p:spPr>
        <p:txBody>
          <a:bodyPr wrap="none" rtlCol="0" anchor="ctr">
            <a:spAutoFit/>
          </a:bodyPr>
          <a:lstStyle>
            <a:defPPr>
              <a:defRPr lang="zh-CN"/>
            </a:defPPr>
            <a:lvl1pPr algn="ctr">
              <a:defRPr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anose="02010600040101010101" pitchFamily="2" charset="-122"/>
                <a:cs typeface="华文黑体" pitchFamily="2" charset="-122"/>
              </a:defRPr>
            </a:lvl1pPr>
          </a:lstStyle>
          <a:p>
            <a:r>
              <a:rPr lang="zh-CN" altLang="en-US" sz="2800"/>
              <a:t>点击添加标题</a:t>
            </a:r>
            <a:endParaRPr lang="zh-CN" altLang="en-US" sz="2800"/>
          </a:p>
        </p:txBody>
      </p:sp>
    </p:spTree>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79"/>
                                        </p:tgtEl>
                                        <p:attrNameLst>
                                          <p:attrName>style.visibility</p:attrName>
                                        </p:attrNameLst>
                                      </p:cBhvr>
                                      <p:to>
                                        <p:strVal val="visible"/>
                                      </p:to>
                                    </p:set>
                                    <p:animEffect transition="in" filter="fade">
                                      <p:cBhvr>
                                        <p:cTn id="7" dur="300"/>
                                        <p:tgtEl>
                                          <p:spTgt spid="7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0"/>
                                        </p:tgtEl>
                                        <p:attrNameLst>
                                          <p:attrName>style.visibility</p:attrName>
                                        </p:attrNameLst>
                                      </p:cBhvr>
                                      <p:to>
                                        <p:strVal val="visible"/>
                                      </p:to>
                                    </p:set>
                                    <p:animEffect transition="in" filter="fade">
                                      <p:cBhvr>
                                        <p:cTn id="10" dur="300"/>
                                        <p:tgtEl>
                                          <p:spTgt spid="80"/>
                                        </p:tgtEl>
                                      </p:cBhvr>
                                    </p:animEffect>
                                  </p:childTnLst>
                                </p:cTn>
                              </p:par>
                            </p:childTnLst>
                          </p:cTn>
                        </p:par>
                        <p:par>
                          <p:cTn id="11" fill="hold">
                            <p:stCondLst>
                              <p:cond delay="500"/>
                            </p:stCondLst>
                            <p:childTnLst>
                              <p:par>
                                <p:cTn id="12" presetID="22" presetClass="entr" presetSubtype="4" fill="hold" nodeType="afterEffect">
                                  <p:stCondLst>
                                    <p:cond delay="0"/>
                                  </p:stCondLst>
                                  <p:childTnLst>
                                    <p:set>
                                      <p:cBhvr>
                                        <p:cTn id="13" dur="1" fill="hold">
                                          <p:stCondLst>
                                            <p:cond delay="0"/>
                                          </p:stCondLst>
                                        </p:cTn>
                                        <p:tgtEl>
                                          <p:spTgt spid="4"/>
                                        </p:tgtEl>
                                        <p:attrNameLst>
                                          <p:attrName>style.visibility</p:attrName>
                                        </p:attrNameLst>
                                      </p:cBhvr>
                                      <p:to>
                                        <p:strVal val="visible"/>
                                      </p:to>
                                    </p:set>
                                    <p:animEffect transition="in" filter="wipe(down)">
                                      <p:cBhvr>
                                        <p:cTn id="14" dur="500"/>
                                        <p:tgtEl>
                                          <p:spTgt spid="4"/>
                                        </p:tgtEl>
                                      </p:cBhvr>
                                    </p:animEffect>
                                  </p:childTnLst>
                                </p:cTn>
                              </p:par>
                              <p:par>
                                <p:cTn id="15" presetID="22" presetClass="entr" presetSubtype="8" fill="hold" nodeType="withEffect">
                                  <p:stCondLst>
                                    <p:cond delay="0"/>
                                  </p:stCondLst>
                                  <p:childTnLst>
                                    <p:set>
                                      <p:cBhvr>
                                        <p:cTn id="16" dur="1" fill="hold">
                                          <p:stCondLst>
                                            <p:cond delay="0"/>
                                          </p:stCondLst>
                                        </p:cTn>
                                        <p:tgtEl>
                                          <p:spTgt spid="11"/>
                                        </p:tgtEl>
                                        <p:attrNameLst>
                                          <p:attrName>style.visibility</p:attrName>
                                        </p:attrNameLst>
                                      </p:cBhvr>
                                      <p:to>
                                        <p:strVal val="visible"/>
                                      </p:to>
                                    </p:set>
                                    <p:animEffect transition="in" filter="wipe(left)">
                                      <p:cBhvr>
                                        <p:cTn id="17" dur="500"/>
                                        <p:tgtEl>
                                          <p:spTgt spid="11"/>
                                        </p:tgtEl>
                                      </p:cBhvr>
                                    </p:animEffect>
                                  </p:childTnLst>
                                </p:cTn>
                              </p:par>
                              <p:par>
                                <p:cTn id="18" presetID="10" presetClass="entr" presetSubtype="0" fill="hold" grpId="0" nodeType="withEffect">
                                  <p:stCondLst>
                                    <p:cond delay="200"/>
                                  </p:stCondLst>
                                  <p:childTnLst>
                                    <p:set>
                                      <p:cBhvr>
                                        <p:cTn id="19" dur="1" fill="hold">
                                          <p:stCondLst>
                                            <p:cond delay="0"/>
                                          </p:stCondLst>
                                        </p:cTn>
                                        <p:tgtEl>
                                          <p:spTgt spid="61"/>
                                        </p:tgtEl>
                                        <p:attrNameLst>
                                          <p:attrName>style.visibility</p:attrName>
                                        </p:attrNameLst>
                                      </p:cBhvr>
                                      <p:to>
                                        <p:strVal val="visible"/>
                                      </p:to>
                                    </p:set>
                                    <p:animEffect transition="in" filter="fade">
                                      <p:cBhvr>
                                        <p:cTn id="20" dur="500"/>
                                        <p:tgtEl>
                                          <p:spTgt spid="61"/>
                                        </p:tgtEl>
                                      </p:cBhvr>
                                    </p:animEffect>
                                  </p:childTnLst>
                                </p:cTn>
                              </p:par>
                              <p:par>
                                <p:cTn id="21" presetID="10" presetClass="entr" presetSubtype="0" fill="hold" grpId="0" nodeType="withEffect">
                                  <p:stCondLst>
                                    <p:cond delay="300"/>
                                  </p:stCondLst>
                                  <p:childTnLst>
                                    <p:set>
                                      <p:cBhvr>
                                        <p:cTn id="22" dur="1" fill="hold">
                                          <p:stCondLst>
                                            <p:cond delay="0"/>
                                          </p:stCondLst>
                                        </p:cTn>
                                        <p:tgtEl>
                                          <p:spTgt spid="62"/>
                                        </p:tgtEl>
                                        <p:attrNameLst>
                                          <p:attrName>style.visibility</p:attrName>
                                        </p:attrNameLst>
                                      </p:cBhvr>
                                      <p:to>
                                        <p:strVal val="visible"/>
                                      </p:to>
                                    </p:set>
                                    <p:animEffect transition="in" filter="fade">
                                      <p:cBhvr>
                                        <p:cTn id="23" dur="500"/>
                                        <p:tgtEl>
                                          <p:spTgt spid="62"/>
                                        </p:tgtEl>
                                      </p:cBhvr>
                                    </p:animEffect>
                                  </p:childTnLst>
                                </p:cTn>
                              </p:par>
                              <p:par>
                                <p:cTn id="24" presetID="10" presetClass="entr" presetSubtype="0" fill="hold" grpId="0" nodeType="withEffect">
                                  <p:stCondLst>
                                    <p:cond delay="400"/>
                                  </p:stCondLst>
                                  <p:childTnLst>
                                    <p:set>
                                      <p:cBhvr>
                                        <p:cTn id="25" dur="1" fill="hold">
                                          <p:stCondLst>
                                            <p:cond delay="0"/>
                                          </p:stCondLst>
                                        </p:cTn>
                                        <p:tgtEl>
                                          <p:spTgt spid="63"/>
                                        </p:tgtEl>
                                        <p:attrNameLst>
                                          <p:attrName>style.visibility</p:attrName>
                                        </p:attrNameLst>
                                      </p:cBhvr>
                                      <p:to>
                                        <p:strVal val="visible"/>
                                      </p:to>
                                    </p:set>
                                    <p:animEffect transition="in" filter="fade">
                                      <p:cBhvr>
                                        <p:cTn id="26" dur="500"/>
                                        <p:tgtEl>
                                          <p:spTgt spid="63"/>
                                        </p:tgtEl>
                                      </p:cBhvr>
                                    </p:animEffect>
                                  </p:childTnLst>
                                </p:cTn>
                              </p:par>
                              <p:par>
                                <p:cTn id="27" presetID="10" presetClass="entr" presetSubtype="0" fill="hold" grpId="0" nodeType="withEffect">
                                  <p:stCondLst>
                                    <p:cond delay="500"/>
                                  </p:stCondLst>
                                  <p:childTnLst>
                                    <p:set>
                                      <p:cBhvr>
                                        <p:cTn id="28" dur="1" fill="hold">
                                          <p:stCondLst>
                                            <p:cond delay="0"/>
                                          </p:stCondLst>
                                        </p:cTn>
                                        <p:tgtEl>
                                          <p:spTgt spid="64"/>
                                        </p:tgtEl>
                                        <p:attrNameLst>
                                          <p:attrName>style.visibility</p:attrName>
                                        </p:attrNameLst>
                                      </p:cBhvr>
                                      <p:to>
                                        <p:strVal val="visible"/>
                                      </p:to>
                                    </p:set>
                                    <p:animEffect transition="in" filter="fade">
                                      <p:cBhvr>
                                        <p:cTn id="29" dur="500"/>
                                        <p:tgtEl>
                                          <p:spTgt spid="64"/>
                                        </p:tgtEl>
                                      </p:cBhvr>
                                    </p:animEffect>
                                  </p:childTnLst>
                                </p:cTn>
                              </p:par>
                              <p:par>
                                <p:cTn id="30" presetID="10" presetClass="entr" presetSubtype="0" fill="hold" grpId="0" nodeType="withEffect">
                                  <p:stCondLst>
                                    <p:cond delay="600"/>
                                  </p:stCondLst>
                                  <p:childTnLst>
                                    <p:set>
                                      <p:cBhvr>
                                        <p:cTn id="31" dur="1" fill="hold">
                                          <p:stCondLst>
                                            <p:cond delay="0"/>
                                          </p:stCondLst>
                                        </p:cTn>
                                        <p:tgtEl>
                                          <p:spTgt spid="65"/>
                                        </p:tgtEl>
                                        <p:attrNameLst>
                                          <p:attrName>style.visibility</p:attrName>
                                        </p:attrNameLst>
                                      </p:cBhvr>
                                      <p:to>
                                        <p:strVal val="visible"/>
                                      </p:to>
                                    </p:set>
                                    <p:animEffect transition="in" filter="fade">
                                      <p:cBhvr>
                                        <p:cTn id="32" dur="500"/>
                                        <p:tgtEl>
                                          <p:spTgt spid="65"/>
                                        </p:tgtEl>
                                      </p:cBhvr>
                                    </p:animEffect>
                                  </p:childTnLst>
                                </p:cTn>
                              </p:par>
                              <p:par>
                                <p:cTn id="33" presetID="10" presetClass="entr" presetSubtype="0" fill="hold" grpId="0" nodeType="withEffect">
                                  <p:stCondLst>
                                    <p:cond delay="700"/>
                                  </p:stCondLst>
                                  <p:childTnLst>
                                    <p:set>
                                      <p:cBhvr>
                                        <p:cTn id="34" dur="1" fill="hold">
                                          <p:stCondLst>
                                            <p:cond delay="0"/>
                                          </p:stCondLst>
                                        </p:cTn>
                                        <p:tgtEl>
                                          <p:spTgt spid="66"/>
                                        </p:tgtEl>
                                        <p:attrNameLst>
                                          <p:attrName>style.visibility</p:attrName>
                                        </p:attrNameLst>
                                      </p:cBhvr>
                                      <p:to>
                                        <p:strVal val="visible"/>
                                      </p:to>
                                    </p:set>
                                    <p:animEffect transition="in" filter="fade">
                                      <p:cBhvr>
                                        <p:cTn id="35" dur="500"/>
                                        <p:tgtEl>
                                          <p:spTgt spid="66"/>
                                        </p:tgtEl>
                                      </p:cBhvr>
                                    </p:animEffect>
                                  </p:childTnLst>
                                </p:cTn>
                              </p:par>
                              <p:par>
                                <p:cTn id="36" presetID="22" presetClass="entr" presetSubtype="4" fill="hold" grpId="0" nodeType="withEffect">
                                  <p:stCondLst>
                                    <p:cond delay="800"/>
                                  </p:stCondLst>
                                  <p:childTnLst>
                                    <p:set>
                                      <p:cBhvr>
                                        <p:cTn id="37" dur="1" fill="hold">
                                          <p:stCondLst>
                                            <p:cond delay="0"/>
                                          </p:stCondLst>
                                        </p:cTn>
                                        <p:tgtEl>
                                          <p:spTgt spid="67"/>
                                        </p:tgtEl>
                                        <p:attrNameLst>
                                          <p:attrName>style.visibility</p:attrName>
                                        </p:attrNameLst>
                                      </p:cBhvr>
                                      <p:to>
                                        <p:strVal val="visible"/>
                                      </p:to>
                                    </p:set>
                                    <p:animEffect transition="in" filter="wipe(down)">
                                      <p:cBhvr>
                                        <p:cTn id="38" dur="500"/>
                                        <p:tgtEl>
                                          <p:spTgt spid="67"/>
                                        </p:tgtEl>
                                      </p:cBhvr>
                                    </p:animEffect>
                                  </p:childTnLst>
                                </p:cTn>
                              </p:par>
                              <p:par>
                                <p:cTn id="39" presetID="22" presetClass="entr" presetSubtype="4" fill="hold" nodeType="withEffect">
                                  <p:stCondLst>
                                    <p:cond delay="1000"/>
                                  </p:stCondLst>
                                  <p:childTnLst>
                                    <p:set>
                                      <p:cBhvr>
                                        <p:cTn id="40" dur="1" fill="hold">
                                          <p:stCondLst>
                                            <p:cond delay="0"/>
                                          </p:stCondLst>
                                        </p:cTn>
                                        <p:tgtEl>
                                          <p:spTgt spid="91"/>
                                        </p:tgtEl>
                                        <p:attrNameLst>
                                          <p:attrName>style.visibility</p:attrName>
                                        </p:attrNameLst>
                                      </p:cBhvr>
                                      <p:to>
                                        <p:strVal val="visible"/>
                                      </p:to>
                                    </p:set>
                                    <p:animEffect transition="in" filter="wipe(down)">
                                      <p:cBhvr>
                                        <p:cTn id="41" dur="500"/>
                                        <p:tgtEl>
                                          <p:spTgt spid="91"/>
                                        </p:tgtEl>
                                      </p:cBhvr>
                                    </p:animEffect>
                                  </p:childTnLst>
                                </p:cTn>
                              </p:par>
                              <p:par>
                                <p:cTn id="42" presetID="22" presetClass="entr" presetSubtype="4" fill="hold" nodeType="withEffect">
                                  <p:stCondLst>
                                    <p:cond delay="1100"/>
                                  </p:stCondLst>
                                  <p:childTnLst>
                                    <p:set>
                                      <p:cBhvr>
                                        <p:cTn id="43" dur="1" fill="hold">
                                          <p:stCondLst>
                                            <p:cond delay="0"/>
                                          </p:stCondLst>
                                        </p:cTn>
                                        <p:tgtEl>
                                          <p:spTgt spid="92"/>
                                        </p:tgtEl>
                                        <p:attrNameLst>
                                          <p:attrName>style.visibility</p:attrName>
                                        </p:attrNameLst>
                                      </p:cBhvr>
                                      <p:to>
                                        <p:strVal val="visible"/>
                                      </p:to>
                                    </p:set>
                                    <p:animEffect transition="in" filter="wipe(down)">
                                      <p:cBhvr>
                                        <p:cTn id="44" dur="500"/>
                                        <p:tgtEl>
                                          <p:spTgt spid="92"/>
                                        </p:tgtEl>
                                      </p:cBhvr>
                                    </p:animEffect>
                                  </p:childTnLst>
                                </p:cTn>
                              </p:par>
                              <p:par>
                                <p:cTn id="45" presetID="22" presetClass="entr" presetSubtype="4" fill="hold" nodeType="withEffect">
                                  <p:stCondLst>
                                    <p:cond delay="1200"/>
                                  </p:stCondLst>
                                  <p:childTnLst>
                                    <p:set>
                                      <p:cBhvr>
                                        <p:cTn id="46" dur="1" fill="hold">
                                          <p:stCondLst>
                                            <p:cond delay="0"/>
                                          </p:stCondLst>
                                        </p:cTn>
                                        <p:tgtEl>
                                          <p:spTgt spid="93"/>
                                        </p:tgtEl>
                                        <p:attrNameLst>
                                          <p:attrName>style.visibility</p:attrName>
                                        </p:attrNameLst>
                                      </p:cBhvr>
                                      <p:to>
                                        <p:strVal val="visible"/>
                                      </p:to>
                                    </p:set>
                                    <p:animEffect transition="in" filter="wipe(down)">
                                      <p:cBhvr>
                                        <p:cTn id="47" dur="500"/>
                                        <p:tgtEl>
                                          <p:spTgt spid="93"/>
                                        </p:tgtEl>
                                      </p:cBhvr>
                                    </p:animEffect>
                                  </p:childTnLst>
                                </p:cTn>
                              </p:par>
                              <p:par>
                                <p:cTn id="48" presetID="22" presetClass="entr" presetSubtype="4" fill="hold" nodeType="withEffect">
                                  <p:stCondLst>
                                    <p:cond delay="1300"/>
                                  </p:stCondLst>
                                  <p:childTnLst>
                                    <p:set>
                                      <p:cBhvr>
                                        <p:cTn id="49" dur="1" fill="hold">
                                          <p:stCondLst>
                                            <p:cond delay="0"/>
                                          </p:stCondLst>
                                        </p:cTn>
                                        <p:tgtEl>
                                          <p:spTgt spid="94"/>
                                        </p:tgtEl>
                                        <p:attrNameLst>
                                          <p:attrName>style.visibility</p:attrName>
                                        </p:attrNameLst>
                                      </p:cBhvr>
                                      <p:to>
                                        <p:strVal val="visible"/>
                                      </p:to>
                                    </p:set>
                                    <p:animEffect transition="in" filter="wipe(down)">
                                      <p:cBhvr>
                                        <p:cTn id="50" dur="500"/>
                                        <p:tgtEl>
                                          <p:spTgt spid="94"/>
                                        </p:tgtEl>
                                      </p:cBhvr>
                                    </p:animEffect>
                                  </p:childTnLst>
                                </p:cTn>
                              </p:par>
                              <p:par>
                                <p:cTn id="51" presetID="22" presetClass="entr" presetSubtype="4" fill="hold" nodeType="withEffect">
                                  <p:stCondLst>
                                    <p:cond delay="1400"/>
                                  </p:stCondLst>
                                  <p:childTnLst>
                                    <p:set>
                                      <p:cBhvr>
                                        <p:cTn id="52" dur="1" fill="hold">
                                          <p:stCondLst>
                                            <p:cond delay="0"/>
                                          </p:stCondLst>
                                        </p:cTn>
                                        <p:tgtEl>
                                          <p:spTgt spid="95"/>
                                        </p:tgtEl>
                                        <p:attrNameLst>
                                          <p:attrName>style.visibility</p:attrName>
                                        </p:attrNameLst>
                                      </p:cBhvr>
                                      <p:to>
                                        <p:strVal val="visible"/>
                                      </p:to>
                                    </p:set>
                                    <p:animEffect transition="in" filter="wipe(down)">
                                      <p:cBhvr>
                                        <p:cTn id="53" dur="500"/>
                                        <p:tgtEl>
                                          <p:spTgt spid="95"/>
                                        </p:tgtEl>
                                      </p:cBhvr>
                                    </p:animEffect>
                                  </p:childTnLst>
                                </p:cTn>
                              </p:par>
                              <p:par>
                                <p:cTn id="54" presetID="22" presetClass="entr" presetSubtype="4" fill="hold" nodeType="withEffect">
                                  <p:stCondLst>
                                    <p:cond delay="1500"/>
                                  </p:stCondLst>
                                  <p:childTnLst>
                                    <p:set>
                                      <p:cBhvr>
                                        <p:cTn id="55" dur="1" fill="hold">
                                          <p:stCondLst>
                                            <p:cond delay="0"/>
                                          </p:stCondLst>
                                        </p:cTn>
                                        <p:tgtEl>
                                          <p:spTgt spid="96"/>
                                        </p:tgtEl>
                                        <p:attrNameLst>
                                          <p:attrName>style.visibility</p:attrName>
                                        </p:attrNameLst>
                                      </p:cBhvr>
                                      <p:to>
                                        <p:strVal val="visible"/>
                                      </p:to>
                                    </p:set>
                                    <p:animEffect transition="in" filter="wipe(down)">
                                      <p:cBhvr>
                                        <p:cTn id="56" dur="500"/>
                                        <p:tgtEl>
                                          <p:spTgt spid="96"/>
                                        </p:tgtEl>
                                      </p:cBhvr>
                                    </p:animEffect>
                                  </p:childTnLst>
                                </p:cTn>
                              </p:par>
                              <p:par>
                                <p:cTn id="57" presetID="22" presetClass="entr" presetSubtype="4" fill="hold" nodeType="withEffect">
                                  <p:stCondLst>
                                    <p:cond delay="1600"/>
                                  </p:stCondLst>
                                  <p:childTnLst>
                                    <p:set>
                                      <p:cBhvr>
                                        <p:cTn id="58" dur="1" fill="hold">
                                          <p:stCondLst>
                                            <p:cond delay="0"/>
                                          </p:stCondLst>
                                        </p:cTn>
                                        <p:tgtEl>
                                          <p:spTgt spid="97"/>
                                        </p:tgtEl>
                                        <p:attrNameLst>
                                          <p:attrName>style.visibility</p:attrName>
                                        </p:attrNameLst>
                                      </p:cBhvr>
                                      <p:to>
                                        <p:strVal val="visible"/>
                                      </p:to>
                                    </p:set>
                                    <p:animEffect transition="in" filter="wipe(down)">
                                      <p:cBhvr>
                                        <p:cTn id="59" dur="500"/>
                                        <p:tgtEl>
                                          <p:spTgt spid="97"/>
                                        </p:tgtEl>
                                      </p:cBhvr>
                                    </p:animEffect>
                                  </p:childTnLst>
                                </p:cTn>
                              </p:par>
                              <p:par>
                                <p:cTn id="60" presetID="22" presetClass="entr" presetSubtype="4" fill="hold" nodeType="withEffect">
                                  <p:stCondLst>
                                    <p:cond delay="1700"/>
                                  </p:stCondLst>
                                  <p:childTnLst>
                                    <p:set>
                                      <p:cBhvr>
                                        <p:cTn id="61" dur="1" fill="hold">
                                          <p:stCondLst>
                                            <p:cond delay="0"/>
                                          </p:stCondLst>
                                        </p:cTn>
                                        <p:tgtEl>
                                          <p:spTgt spid="98"/>
                                        </p:tgtEl>
                                        <p:attrNameLst>
                                          <p:attrName>style.visibility</p:attrName>
                                        </p:attrNameLst>
                                      </p:cBhvr>
                                      <p:to>
                                        <p:strVal val="visible"/>
                                      </p:to>
                                    </p:set>
                                    <p:animEffect transition="in" filter="wipe(down)">
                                      <p:cBhvr>
                                        <p:cTn id="62" dur="500"/>
                                        <p:tgtEl>
                                          <p:spTgt spid="98"/>
                                        </p:tgtEl>
                                      </p:cBhvr>
                                    </p:animEffect>
                                  </p:childTnLst>
                                </p:cTn>
                              </p:par>
                              <p:par>
                                <p:cTn id="63" presetID="22" presetClass="entr" presetSubtype="4" fill="hold" nodeType="withEffect">
                                  <p:stCondLst>
                                    <p:cond delay="1800"/>
                                  </p:stCondLst>
                                  <p:childTnLst>
                                    <p:set>
                                      <p:cBhvr>
                                        <p:cTn id="64" dur="1" fill="hold">
                                          <p:stCondLst>
                                            <p:cond delay="0"/>
                                          </p:stCondLst>
                                        </p:cTn>
                                        <p:tgtEl>
                                          <p:spTgt spid="99"/>
                                        </p:tgtEl>
                                        <p:attrNameLst>
                                          <p:attrName>style.visibility</p:attrName>
                                        </p:attrNameLst>
                                      </p:cBhvr>
                                      <p:to>
                                        <p:strVal val="visible"/>
                                      </p:to>
                                    </p:set>
                                    <p:animEffect transition="in" filter="wipe(down)">
                                      <p:cBhvr>
                                        <p:cTn id="65" dur="500"/>
                                        <p:tgtEl>
                                          <p:spTgt spid="99"/>
                                        </p:tgtEl>
                                      </p:cBhvr>
                                    </p:animEffect>
                                  </p:childTnLst>
                                </p:cTn>
                              </p:par>
                              <p:par>
                                <p:cTn id="66" presetID="22" presetClass="entr" presetSubtype="4" fill="hold" nodeType="withEffect">
                                  <p:stCondLst>
                                    <p:cond delay="1800"/>
                                  </p:stCondLst>
                                  <p:childTnLst>
                                    <p:set>
                                      <p:cBhvr>
                                        <p:cTn id="67" dur="1" fill="hold">
                                          <p:stCondLst>
                                            <p:cond delay="0"/>
                                          </p:stCondLst>
                                        </p:cTn>
                                        <p:tgtEl>
                                          <p:spTgt spid="100"/>
                                        </p:tgtEl>
                                        <p:attrNameLst>
                                          <p:attrName>style.visibility</p:attrName>
                                        </p:attrNameLst>
                                      </p:cBhvr>
                                      <p:to>
                                        <p:strVal val="visible"/>
                                      </p:to>
                                    </p:set>
                                    <p:animEffect transition="in" filter="wipe(down)">
                                      <p:cBhvr>
                                        <p:cTn id="68" dur="500"/>
                                        <p:tgtEl>
                                          <p:spTgt spid="100"/>
                                        </p:tgtEl>
                                      </p:cBhvr>
                                    </p:animEffect>
                                  </p:childTnLst>
                                </p:cTn>
                              </p:par>
                              <p:par>
                                <p:cTn id="69" presetID="22" presetClass="entr" presetSubtype="4" fill="hold" nodeType="withEffect">
                                  <p:stCondLst>
                                    <p:cond delay="2000"/>
                                  </p:stCondLst>
                                  <p:childTnLst>
                                    <p:set>
                                      <p:cBhvr>
                                        <p:cTn id="70" dur="1" fill="hold">
                                          <p:stCondLst>
                                            <p:cond delay="0"/>
                                          </p:stCondLst>
                                        </p:cTn>
                                        <p:tgtEl>
                                          <p:spTgt spid="101"/>
                                        </p:tgtEl>
                                        <p:attrNameLst>
                                          <p:attrName>style.visibility</p:attrName>
                                        </p:attrNameLst>
                                      </p:cBhvr>
                                      <p:to>
                                        <p:strVal val="visible"/>
                                      </p:to>
                                    </p:set>
                                    <p:animEffect transition="in" filter="wipe(down)">
                                      <p:cBhvr>
                                        <p:cTn id="71" dur="500"/>
                                        <p:tgtEl>
                                          <p:spTgt spid="101"/>
                                        </p:tgtEl>
                                      </p:cBhvr>
                                    </p:animEffect>
                                  </p:childTnLst>
                                </p:cTn>
                              </p:par>
                              <p:par>
                                <p:cTn id="72" presetID="22" presetClass="entr" presetSubtype="4" fill="hold" nodeType="withEffect">
                                  <p:stCondLst>
                                    <p:cond delay="2100"/>
                                  </p:stCondLst>
                                  <p:childTnLst>
                                    <p:set>
                                      <p:cBhvr>
                                        <p:cTn id="73" dur="1" fill="hold">
                                          <p:stCondLst>
                                            <p:cond delay="0"/>
                                          </p:stCondLst>
                                        </p:cTn>
                                        <p:tgtEl>
                                          <p:spTgt spid="102"/>
                                        </p:tgtEl>
                                        <p:attrNameLst>
                                          <p:attrName>style.visibility</p:attrName>
                                        </p:attrNameLst>
                                      </p:cBhvr>
                                      <p:to>
                                        <p:strVal val="visible"/>
                                      </p:to>
                                    </p:set>
                                    <p:animEffect transition="in" filter="wipe(down)">
                                      <p:cBhvr>
                                        <p:cTn id="74" dur="500"/>
                                        <p:tgtEl>
                                          <p:spTgt spid="102"/>
                                        </p:tgtEl>
                                      </p:cBhvr>
                                    </p:animEffect>
                                  </p:childTnLst>
                                </p:cTn>
                              </p:par>
                              <p:par>
                                <p:cTn id="75" presetID="22" presetClass="entr" presetSubtype="4" fill="hold" nodeType="withEffect">
                                  <p:stCondLst>
                                    <p:cond delay="2200"/>
                                  </p:stCondLst>
                                  <p:childTnLst>
                                    <p:set>
                                      <p:cBhvr>
                                        <p:cTn id="76" dur="1" fill="hold">
                                          <p:stCondLst>
                                            <p:cond delay="0"/>
                                          </p:stCondLst>
                                        </p:cTn>
                                        <p:tgtEl>
                                          <p:spTgt spid="103"/>
                                        </p:tgtEl>
                                        <p:attrNameLst>
                                          <p:attrName>style.visibility</p:attrName>
                                        </p:attrNameLst>
                                      </p:cBhvr>
                                      <p:to>
                                        <p:strVal val="visible"/>
                                      </p:to>
                                    </p:set>
                                    <p:animEffect transition="in" filter="wipe(down)">
                                      <p:cBhvr>
                                        <p:cTn id="77" dur="500"/>
                                        <p:tgtEl>
                                          <p:spTgt spid="103"/>
                                        </p:tgtEl>
                                      </p:cBhvr>
                                    </p:animEffect>
                                  </p:childTnLst>
                                </p:cTn>
                              </p:par>
                              <p:par>
                                <p:cTn id="78" presetID="22" presetClass="entr" presetSubtype="8" fill="hold" grpId="0" nodeType="withEffect">
                                  <p:stCondLst>
                                    <p:cond delay="1000"/>
                                  </p:stCondLst>
                                  <p:childTnLst>
                                    <p:set>
                                      <p:cBhvr>
                                        <p:cTn id="79" dur="1" fill="hold">
                                          <p:stCondLst>
                                            <p:cond delay="0"/>
                                          </p:stCondLst>
                                        </p:cTn>
                                        <p:tgtEl>
                                          <p:spTgt spid="38"/>
                                        </p:tgtEl>
                                        <p:attrNameLst>
                                          <p:attrName>style.visibility</p:attrName>
                                        </p:attrNameLst>
                                      </p:cBhvr>
                                      <p:to>
                                        <p:strVal val="visible"/>
                                      </p:to>
                                    </p:set>
                                    <p:animEffect transition="in" filter="wipe(left)">
                                      <p:cBhvr>
                                        <p:cTn id="80" dur="2000"/>
                                        <p:tgtEl>
                                          <p:spTgt spid="38"/>
                                        </p:tgtEl>
                                      </p:cBhvr>
                                    </p:animEffect>
                                  </p:childTnLst>
                                </p:cTn>
                              </p:par>
                              <p:par>
                                <p:cTn id="81" presetID="10" presetClass="entr" presetSubtype="0" fill="hold" grpId="0" nodeType="withEffect">
                                  <p:stCondLst>
                                    <p:cond delay="1000"/>
                                  </p:stCondLst>
                                  <p:childTnLst>
                                    <p:set>
                                      <p:cBhvr>
                                        <p:cTn id="82" dur="1" fill="hold">
                                          <p:stCondLst>
                                            <p:cond delay="0"/>
                                          </p:stCondLst>
                                        </p:cTn>
                                        <p:tgtEl>
                                          <p:spTgt spid="70"/>
                                        </p:tgtEl>
                                        <p:attrNameLst>
                                          <p:attrName>style.visibility</p:attrName>
                                        </p:attrNameLst>
                                      </p:cBhvr>
                                      <p:to>
                                        <p:strVal val="visible"/>
                                      </p:to>
                                    </p:set>
                                    <p:animEffect transition="in" filter="fade">
                                      <p:cBhvr>
                                        <p:cTn id="83" dur="500"/>
                                        <p:tgtEl>
                                          <p:spTgt spid="70"/>
                                        </p:tgtEl>
                                      </p:cBhvr>
                                    </p:animEffect>
                                  </p:childTnLst>
                                </p:cTn>
                              </p:par>
                              <p:par>
                                <p:cTn id="84" presetID="10" presetClass="entr" presetSubtype="0" fill="hold" grpId="0" nodeType="withEffect">
                                  <p:stCondLst>
                                    <p:cond delay="1000"/>
                                  </p:stCondLst>
                                  <p:childTnLst>
                                    <p:set>
                                      <p:cBhvr>
                                        <p:cTn id="85" dur="1" fill="hold">
                                          <p:stCondLst>
                                            <p:cond delay="0"/>
                                          </p:stCondLst>
                                        </p:cTn>
                                        <p:tgtEl>
                                          <p:spTgt spid="71"/>
                                        </p:tgtEl>
                                        <p:attrNameLst>
                                          <p:attrName>style.visibility</p:attrName>
                                        </p:attrNameLst>
                                      </p:cBhvr>
                                      <p:to>
                                        <p:strVal val="visible"/>
                                      </p:to>
                                    </p:set>
                                    <p:animEffect transition="in" filter="fade">
                                      <p:cBhvr>
                                        <p:cTn id="86" dur="500"/>
                                        <p:tgtEl>
                                          <p:spTgt spid="71"/>
                                        </p:tgtEl>
                                      </p:cBhvr>
                                    </p:animEffect>
                                  </p:childTnLst>
                                </p:cTn>
                              </p:par>
                              <p:par>
                                <p:cTn id="87" presetID="10" presetClass="entr" presetSubtype="0" fill="hold" grpId="0" nodeType="withEffect">
                                  <p:stCondLst>
                                    <p:cond delay="1000"/>
                                  </p:stCondLst>
                                  <p:childTnLst>
                                    <p:set>
                                      <p:cBhvr>
                                        <p:cTn id="88" dur="1" fill="hold">
                                          <p:stCondLst>
                                            <p:cond delay="0"/>
                                          </p:stCondLst>
                                        </p:cTn>
                                        <p:tgtEl>
                                          <p:spTgt spid="72"/>
                                        </p:tgtEl>
                                        <p:attrNameLst>
                                          <p:attrName>style.visibility</p:attrName>
                                        </p:attrNameLst>
                                      </p:cBhvr>
                                      <p:to>
                                        <p:strVal val="visible"/>
                                      </p:to>
                                    </p:set>
                                    <p:animEffect transition="in" filter="fade">
                                      <p:cBhvr>
                                        <p:cTn id="89" dur="500"/>
                                        <p:tgtEl>
                                          <p:spTgt spid="72"/>
                                        </p:tgtEl>
                                      </p:cBhvr>
                                    </p:animEffect>
                                  </p:childTnLst>
                                </p:cTn>
                              </p:par>
                              <p:par>
                                <p:cTn id="90" presetID="42" presetClass="entr" presetSubtype="0" fill="hold" grpId="0" nodeType="withEffect">
                                  <p:stCondLst>
                                    <p:cond delay="1000"/>
                                  </p:stCondLst>
                                  <p:childTnLst>
                                    <p:set>
                                      <p:cBhvr>
                                        <p:cTn id="91" dur="1" fill="hold">
                                          <p:stCondLst>
                                            <p:cond delay="0"/>
                                          </p:stCondLst>
                                        </p:cTn>
                                        <p:tgtEl>
                                          <p:spTgt spid="75"/>
                                        </p:tgtEl>
                                        <p:attrNameLst>
                                          <p:attrName>style.visibility</p:attrName>
                                        </p:attrNameLst>
                                      </p:cBhvr>
                                      <p:to>
                                        <p:strVal val="visible"/>
                                      </p:to>
                                    </p:set>
                                    <p:animEffect transition="in" filter="fade">
                                      <p:cBhvr>
                                        <p:cTn id="92" dur="500"/>
                                        <p:tgtEl>
                                          <p:spTgt spid="75"/>
                                        </p:tgtEl>
                                      </p:cBhvr>
                                    </p:animEffect>
                                    <p:anim calcmode="lin" valueType="num">
                                      <p:cBhvr>
                                        <p:cTn id="93" dur="500" fill="hold"/>
                                        <p:tgtEl>
                                          <p:spTgt spid="75"/>
                                        </p:tgtEl>
                                        <p:attrNameLst>
                                          <p:attrName>ppt_x</p:attrName>
                                        </p:attrNameLst>
                                      </p:cBhvr>
                                      <p:tavLst>
                                        <p:tav tm="0">
                                          <p:val>
                                            <p:strVal val="#ppt_x"/>
                                          </p:val>
                                        </p:tav>
                                        <p:tav tm="100000">
                                          <p:val>
                                            <p:strVal val="#ppt_x"/>
                                          </p:val>
                                        </p:tav>
                                      </p:tavLst>
                                    </p:anim>
                                    <p:anim calcmode="lin" valueType="num">
                                      <p:cBhvr>
                                        <p:cTn id="94" dur="500" fill="hold"/>
                                        <p:tgtEl>
                                          <p:spTgt spid="75"/>
                                        </p:tgtEl>
                                        <p:attrNameLst>
                                          <p:attrName>ppt_y</p:attrName>
                                        </p:attrNameLst>
                                      </p:cBhvr>
                                      <p:tavLst>
                                        <p:tav tm="0">
                                          <p:val>
                                            <p:strVal val="#ppt_y+.1"/>
                                          </p:val>
                                        </p:tav>
                                        <p:tav tm="100000">
                                          <p:val>
                                            <p:strVal val="#ppt_y"/>
                                          </p:val>
                                        </p:tav>
                                      </p:tavLst>
                                    </p:anim>
                                  </p:childTnLst>
                                </p:cTn>
                              </p:par>
                              <p:par>
                                <p:cTn id="95" presetID="42" presetClass="entr" presetSubtype="0" fill="hold" grpId="0" nodeType="withEffect">
                                  <p:stCondLst>
                                    <p:cond delay="1500"/>
                                  </p:stCondLst>
                                  <p:childTnLst>
                                    <p:set>
                                      <p:cBhvr>
                                        <p:cTn id="96" dur="1" fill="hold">
                                          <p:stCondLst>
                                            <p:cond delay="0"/>
                                          </p:stCondLst>
                                        </p:cTn>
                                        <p:tgtEl>
                                          <p:spTgt spid="77"/>
                                        </p:tgtEl>
                                        <p:attrNameLst>
                                          <p:attrName>style.visibility</p:attrName>
                                        </p:attrNameLst>
                                      </p:cBhvr>
                                      <p:to>
                                        <p:strVal val="visible"/>
                                      </p:to>
                                    </p:set>
                                    <p:animEffect transition="in" filter="fade">
                                      <p:cBhvr>
                                        <p:cTn id="97" dur="500"/>
                                        <p:tgtEl>
                                          <p:spTgt spid="77"/>
                                        </p:tgtEl>
                                      </p:cBhvr>
                                    </p:animEffect>
                                    <p:anim calcmode="lin" valueType="num">
                                      <p:cBhvr>
                                        <p:cTn id="98" dur="500" fill="hold"/>
                                        <p:tgtEl>
                                          <p:spTgt spid="77"/>
                                        </p:tgtEl>
                                        <p:attrNameLst>
                                          <p:attrName>ppt_x</p:attrName>
                                        </p:attrNameLst>
                                      </p:cBhvr>
                                      <p:tavLst>
                                        <p:tav tm="0">
                                          <p:val>
                                            <p:strVal val="#ppt_x"/>
                                          </p:val>
                                        </p:tav>
                                        <p:tav tm="100000">
                                          <p:val>
                                            <p:strVal val="#ppt_x"/>
                                          </p:val>
                                        </p:tav>
                                      </p:tavLst>
                                    </p:anim>
                                    <p:anim calcmode="lin" valueType="num">
                                      <p:cBhvr>
                                        <p:cTn id="99" dur="500" fill="hold"/>
                                        <p:tgtEl>
                                          <p:spTgt spid="77"/>
                                        </p:tgtEl>
                                        <p:attrNameLst>
                                          <p:attrName>ppt_y</p:attrName>
                                        </p:attrNameLst>
                                      </p:cBhvr>
                                      <p:tavLst>
                                        <p:tav tm="0">
                                          <p:val>
                                            <p:strVal val="#ppt_y+.1"/>
                                          </p:val>
                                        </p:tav>
                                        <p:tav tm="100000">
                                          <p:val>
                                            <p:strVal val="#ppt_y"/>
                                          </p:val>
                                        </p:tav>
                                      </p:tavLst>
                                    </p:anim>
                                  </p:childTnLst>
                                </p:cTn>
                              </p:par>
                              <p:par>
                                <p:cTn id="100" presetID="42" presetClass="entr" presetSubtype="0" fill="hold" grpId="0" nodeType="withEffect">
                                  <p:stCondLst>
                                    <p:cond delay="2000"/>
                                  </p:stCondLst>
                                  <p:childTnLst>
                                    <p:set>
                                      <p:cBhvr>
                                        <p:cTn id="101" dur="1" fill="hold">
                                          <p:stCondLst>
                                            <p:cond delay="0"/>
                                          </p:stCondLst>
                                        </p:cTn>
                                        <p:tgtEl>
                                          <p:spTgt spid="78"/>
                                        </p:tgtEl>
                                        <p:attrNameLst>
                                          <p:attrName>style.visibility</p:attrName>
                                        </p:attrNameLst>
                                      </p:cBhvr>
                                      <p:to>
                                        <p:strVal val="visible"/>
                                      </p:to>
                                    </p:set>
                                    <p:animEffect transition="in" filter="fade">
                                      <p:cBhvr>
                                        <p:cTn id="102" dur="500"/>
                                        <p:tgtEl>
                                          <p:spTgt spid="78"/>
                                        </p:tgtEl>
                                      </p:cBhvr>
                                    </p:animEffect>
                                    <p:anim calcmode="lin" valueType="num">
                                      <p:cBhvr>
                                        <p:cTn id="103" dur="500" fill="hold"/>
                                        <p:tgtEl>
                                          <p:spTgt spid="78"/>
                                        </p:tgtEl>
                                        <p:attrNameLst>
                                          <p:attrName>ppt_x</p:attrName>
                                        </p:attrNameLst>
                                      </p:cBhvr>
                                      <p:tavLst>
                                        <p:tav tm="0">
                                          <p:val>
                                            <p:strVal val="#ppt_x"/>
                                          </p:val>
                                        </p:tav>
                                        <p:tav tm="100000">
                                          <p:val>
                                            <p:strVal val="#ppt_x"/>
                                          </p:val>
                                        </p:tav>
                                      </p:tavLst>
                                    </p:anim>
                                    <p:anim calcmode="lin" valueType="num">
                                      <p:cBhvr>
                                        <p:cTn id="104" dur="500" fill="hold"/>
                                        <p:tgtEl>
                                          <p:spTgt spid="78"/>
                                        </p:tgtEl>
                                        <p:attrNameLst>
                                          <p:attrName>ppt_y</p:attrName>
                                        </p:attrNameLst>
                                      </p:cBhvr>
                                      <p:tavLst>
                                        <p:tav tm="0">
                                          <p:val>
                                            <p:strVal val="#ppt_y+.1"/>
                                          </p:val>
                                        </p:tav>
                                        <p:tav tm="100000">
                                          <p:val>
                                            <p:strVal val="#ppt_y"/>
                                          </p:val>
                                        </p:tav>
                                      </p:tavLst>
                                    </p:anim>
                                  </p:childTnLst>
                                </p:cTn>
                              </p:par>
                              <p:par>
                                <p:cTn id="105" presetID="22" presetClass="entr" presetSubtype="4" fill="hold" grpId="0" nodeType="withEffect">
                                  <p:stCondLst>
                                    <p:cond delay="2000"/>
                                  </p:stCondLst>
                                  <p:childTnLst>
                                    <p:set>
                                      <p:cBhvr>
                                        <p:cTn id="106" dur="1" fill="hold">
                                          <p:stCondLst>
                                            <p:cond delay="0"/>
                                          </p:stCondLst>
                                        </p:cTn>
                                        <p:tgtEl>
                                          <p:spTgt spid="69"/>
                                        </p:tgtEl>
                                        <p:attrNameLst>
                                          <p:attrName>style.visibility</p:attrName>
                                        </p:attrNameLst>
                                      </p:cBhvr>
                                      <p:to>
                                        <p:strVal val="visible"/>
                                      </p:to>
                                    </p:set>
                                    <p:animEffect transition="in" filter="wipe(down)">
                                      <p:cBhvr>
                                        <p:cTn id="107" dur="500"/>
                                        <p:tgtEl>
                                          <p:spTgt spid="69"/>
                                        </p:tgtEl>
                                      </p:cBhvr>
                                    </p:animEffect>
                                  </p:childTnLst>
                                </p:cTn>
                              </p:par>
                              <p:par>
                                <p:cTn id="108" presetID="10" presetClass="entr" presetSubtype="0" fill="hold" grpId="0" nodeType="withEffect">
                                  <p:stCondLst>
                                    <p:cond delay="2200"/>
                                  </p:stCondLst>
                                  <p:childTnLst>
                                    <p:set>
                                      <p:cBhvr>
                                        <p:cTn id="109" dur="1" fill="hold">
                                          <p:stCondLst>
                                            <p:cond delay="0"/>
                                          </p:stCondLst>
                                        </p:cTn>
                                        <p:tgtEl>
                                          <p:spTgt spid="53"/>
                                        </p:tgtEl>
                                        <p:attrNameLst>
                                          <p:attrName>style.visibility</p:attrName>
                                        </p:attrNameLst>
                                      </p:cBhvr>
                                      <p:to>
                                        <p:strVal val="visible"/>
                                      </p:to>
                                    </p:set>
                                    <p:animEffect transition="in" filter="fade">
                                      <p:cBhvr>
                                        <p:cTn id="110" dur="200"/>
                                        <p:tgtEl>
                                          <p:spTgt spid="53"/>
                                        </p:tgtEl>
                                      </p:cBhvr>
                                    </p:animEffect>
                                  </p:childTnLst>
                                </p:cTn>
                              </p:par>
                              <p:par>
                                <p:cTn id="111" presetID="10" presetClass="entr" presetSubtype="0" fill="hold" grpId="0" nodeType="withEffect">
                                  <p:stCondLst>
                                    <p:cond delay="2300"/>
                                  </p:stCondLst>
                                  <p:childTnLst>
                                    <p:set>
                                      <p:cBhvr>
                                        <p:cTn id="112" dur="1" fill="hold">
                                          <p:stCondLst>
                                            <p:cond delay="0"/>
                                          </p:stCondLst>
                                        </p:cTn>
                                        <p:tgtEl>
                                          <p:spTgt spid="56"/>
                                        </p:tgtEl>
                                        <p:attrNameLst>
                                          <p:attrName>style.visibility</p:attrName>
                                        </p:attrNameLst>
                                      </p:cBhvr>
                                      <p:to>
                                        <p:strVal val="visible"/>
                                      </p:to>
                                    </p:set>
                                    <p:animEffect transition="in" filter="fade">
                                      <p:cBhvr>
                                        <p:cTn id="113" dur="200"/>
                                        <p:tgtEl>
                                          <p:spTgt spid="56"/>
                                        </p:tgtEl>
                                      </p:cBhvr>
                                    </p:animEffect>
                                  </p:childTnLst>
                                </p:cTn>
                              </p:par>
                              <p:par>
                                <p:cTn id="114" presetID="10" presetClass="entr" presetSubtype="0" fill="hold" grpId="0" nodeType="withEffect">
                                  <p:stCondLst>
                                    <p:cond delay="2400"/>
                                  </p:stCondLst>
                                  <p:childTnLst>
                                    <p:set>
                                      <p:cBhvr>
                                        <p:cTn id="115" dur="1" fill="hold">
                                          <p:stCondLst>
                                            <p:cond delay="0"/>
                                          </p:stCondLst>
                                        </p:cTn>
                                        <p:tgtEl>
                                          <p:spTgt spid="57"/>
                                        </p:tgtEl>
                                        <p:attrNameLst>
                                          <p:attrName>style.visibility</p:attrName>
                                        </p:attrNameLst>
                                      </p:cBhvr>
                                      <p:to>
                                        <p:strVal val="visible"/>
                                      </p:to>
                                    </p:set>
                                    <p:animEffect transition="in" filter="fade">
                                      <p:cBhvr>
                                        <p:cTn id="116" dur="200"/>
                                        <p:tgtEl>
                                          <p:spTgt spid="57"/>
                                        </p:tgtEl>
                                      </p:cBhvr>
                                    </p:animEffect>
                                  </p:childTnLst>
                                </p:cTn>
                              </p:par>
                              <p:par>
                                <p:cTn id="117" presetID="10" presetClass="entr" presetSubtype="0" fill="hold" grpId="0" nodeType="withEffect">
                                  <p:stCondLst>
                                    <p:cond delay="2500"/>
                                  </p:stCondLst>
                                  <p:childTnLst>
                                    <p:set>
                                      <p:cBhvr>
                                        <p:cTn id="118" dur="1" fill="hold">
                                          <p:stCondLst>
                                            <p:cond delay="0"/>
                                          </p:stCondLst>
                                        </p:cTn>
                                        <p:tgtEl>
                                          <p:spTgt spid="58"/>
                                        </p:tgtEl>
                                        <p:attrNameLst>
                                          <p:attrName>style.visibility</p:attrName>
                                        </p:attrNameLst>
                                      </p:cBhvr>
                                      <p:to>
                                        <p:strVal val="visible"/>
                                      </p:to>
                                    </p:set>
                                    <p:animEffect transition="in" filter="fade">
                                      <p:cBhvr>
                                        <p:cTn id="119" dur="200"/>
                                        <p:tgtEl>
                                          <p:spTgt spid="58"/>
                                        </p:tgtEl>
                                      </p:cBhvr>
                                    </p:animEffect>
                                  </p:childTnLst>
                                </p:cTn>
                              </p:par>
                              <p:par>
                                <p:cTn id="120" presetID="10" presetClass="entr" presetSubtype="0" fill="hold" grpId="0" nodeType="withEffect">
                                  <p:stCondLst>
                                    <p:cond delay="2600"/>
                                  </p:stCondLst>
                                  <p:childTnLst>
                                    <p:set>
                                      <p:cBhvr>
                                        <p:cTn id="121" dur="1" fill="hold">
                                          <p:stCondLst>
                                            <p:cond delay="0"/>
                                          </p:stCondLst>
                                        </p:cTn>
                                        <p:tgtEl>
                                          <p:spTgt spid="59"/>
                                        </p:tgtEl>
                                        <p:attrNameLst>
                                          <p:attrName>style.visibility</p:attrName>
                                        </p:attrNameLst>
                                      </p:cBhvr>
                                      <p:to>
                                        <p:strVal val="visible"/>
                                      </p:to>
                                    </p:set>
                                    <p:animEffect transition="in" filter="fade">
                                      <p:cBhvr>
                                        <p:cTn id="122" dur="200"/>
                                        <p:tgtEl>
                                          <p:spTgt spid="59"/>
                                        </p:tgtEl>
                                      </p:cBhvr>
                                    </p:animEffect>
                                  </p:childTnLst>
                                </p:cTn>
                              </p:par>
                              <p:par>
                                <p:cTn id="123" presetID="10" presetClass="entr" presetSubtype="0" fill="hold" grpId="0" nodeType="withEffect">
                                  <p:stCondLst>
                                    <p:cond delay="2700"/>
                                  </p:stCondLst>
                                  <p:childTnLst>
                                    <p:set>
                                      <p:cBhvr>
                                        <p:cTn id="124" dur="1" fill="hold">
                                          <p:stCondLst>
                                            <p:cond delay="0"/>
                                          </p:stCondLst>
                                        </p:cTn>
                                        <p:tgtEl>
                                          <p:spTgt spid="60"/>
                                        </p:tgtEl>
                                        <p:attrNameLst>
                                          <p:attrName>style.visibility</p:attrName>
                                        </p:attrNameLst>
                                      </p:cBhvr>
                                      <p:to>
                                        <p:strVal val="visible"/>
                                      </p:to>
                                    </p:set>
                                    <p:animEffect transition="in" filter="fade">
                                      <p:cBhvr>
                                        <p:cTn id="125" dur="200"/>
                                        <p:tgtEl>
                                          <p:spTgt spid="60"/>
                                        </p:tgtEl>
                                      </p:cBhvr>
                                    </p:animEffect>
                                  </p:childTnLst>
                                </p:cTn>
                              </p:par>
                              <p:par>
                                <p:cTn id="126" presetID="26" presetClass="emph" presetSubtype="0" repeatCount="3000" fill="hold" nodeType="withEffect">
                                  <p:stCondLst>
                                    <p:cond delay="2700"/>
                                  </p:stCondLst>
                                  <p:childTnLst>
                                    <p:animEffect transition="out" filter="fade">
                                      <p:cBhvr>
                                        <p:cTn id="127" dur="500" tmFilter="0, 0; .2, .5; .8, .5; 1, 0"/>
                                        <p:tgtEl>
                                          <p:spTgt spid="92"/>
                                        </p:tgtEl>
                                      </p:cBhvr>
                                    </p:animEffect>
                                    <p:animScale>
                                      <p:cBhvr>
                                        <p:cTn id="128" dur="250" autoRev="1" fill="hold"/>
                                        <p:tgtEl>
                                          <p:spTgt spid="92"/>
                                        </p:tgtEl>
                                      </p:cBhvr>
                                      <p:by x="105000" y="105000"/>
                                    </p:animScale>
                                  </p:childTnLst>
                                </p:cTn>
                              </p:par>
                              <p:par>
                                <p:cTn id="129" presetID="26" presetClass="emph" presetSubtype="0" repeatCount="3000" fill="hold" nodeType="withEffect">
                                  <p:stCondLst>
                                    <p:cond delay="2700"/>
                                  </p:stCondLst>
                                  <p:childTnLst>
                                    <p:animEffect transition="out" filter="fade">
                                      <p:cBhvr>
                                        <p:cTn id="130" dur="500" tmFilter="0, 0; .2, .5; .8, .5; 1, 0"/>
                                        <p:tgtEl>
                                          <p:spTgt spid="100"/>
                                        </p:tgtEl>
                                      </p:cBhvr>
                                    </p:animEffect>
                                    <p:animScale>
                                      <p:cBhvr>
                                        <p:cTn id="131" dur="250" autoRev="1" fill="hold"/>
                                        <p:tgtEl>
                                          <p:spTgt spid="100"/>
                                        </p:tgtEl>
                                      </p:cBhvr>
                                      <p:by x="105000" y="105000"/>
                                    </p:animScale>
                                  </p:childTnLst>
                                </p:cTn>
                              </p:par>
                              <p:par>
                                <p:cTn id="132" presetID="22" presetClass="entr" presetSubtype="8" fill="hold" grpId="0" nodeType="withEffect">
                                  <p:stCondLst>
                                    <p:cond delay="3000"/>
                                  </p:stCondLst>
                                  <p:childTnLst>
                                    <p:set>
                                      <p:cBhvr>
                                        <p:cTn id="133" dur="1" fill="hold">
                                          <p:stCondLst>
                                            <p:cond delay="0"/>
                                          </p:stCondLst>
                                        </p:cTn>
                                        <p:tgtEl>
                                          <p:spTgt spid="83"/>
                                        </p:tgtEl>
                                        <p:attrNameLst>
                                          <p:attrName>style.visibility</p:attrName>
                                        </p:attrNameLst>
                                      </p:cBhvr>
                                      <p:to>
                                        <p:strVal val="visible"/>
                                      </p:to>
                                    </p:set>
                                    <p:animEffect transition="in" filter="wipe(left)">
                                      <p:cBhvr>
                                        <p:cTn id="134" dur="500"/>
                                        <p:tgtEl>
                                          <p:spTgt spid="83"/>
                                        </p:tgtEl>
                                      </p:cBhvr>
                                    </p:animEffect>
                                  </p:childTnLst>
                                </p:cTn>
                              </p:par>
                              <p:par>
                                <p:cTn id="135" presetID="10" presetClass="entr" presetSubtype="0" fill="hold" grpId="0" nodeType="withEffect">
                                  <p:stCondLst>
                                    <p:cond delay="3300"/>
                                  </p:stCondLst>
                                  <p:childTnLst>
                                    <p:set>
                                      <p:cBhvr>
                                        <p:cTn id="136" dur="1" fill="hold">
                                          <p:stCondLst>
                                            <p:cond delay="0"/>
                                          </p:stCondLst>
                                        </p:cTn>
                                        <p:tgtEl>
                                          <p:spTgt spid="85"/>
                                        </p:tgtEl>
                                        <p:attrNameLst>
                                          <p:attrName>style.visibility</p:attrName>
                                        </p:attrNameLst>
                                      </p:cBhvr>
                                      <p:to>
                                        <p:strVal val="visible"/>
                                      </p:to>
                                    </p:set>
                                    <p:animEffect transition="in" filter="fade">
                                      <p:cBhvr>
                                        <p:cTn id="137" dur="500"/>
                                        <p:tgtEl>
                                          <p:spTgt spid="85"/>
                                        </p:tgtEl>
                                      </p:cBhvr>
                                    </p:animEffect>
                                  </p:childTnLst>
                                </p:cTn>
                              </p:par>
                              <p:par>
                                <p:cTn id="138" presetID="10" presetClass="entr" presetSubtype="0" fill="hold" grpId="0" nodeType="withEffect">
                                  <p:stCondLst>
                                    <p:cond delay="3300"/>
                                  </p:stCondLst>
                                  <p:childTnLst>
                                    <p:set>
                                      <p:cBhvr>
                                        <p:cTn id="139" dur="1" fill="hold">
                                          <p:stCondLst>
                                            <p:cond delay="0"/>
                                          </p:stCondLst>
                                        </p:cTn>
                                        <p:tgtEl>
                                          <p:spTgt spid="86"/>
                                        </p:tgtEl>
                                        <p:attrNameLst>
                                          <p:attrName>style.visibility</p:attrName>
                                        </p:attrNameLst>
                                      </p:cBhvr>
                                      <p:to>
                                        <p:strVal val="visible"/>
                                      </p:to>
                                    </p:set>
                                    <p:animEffect transition="in" filter="fade">
                                      <p:cBhvr>
                                        <p:cTn id="140" dur="500"/>
                                        <p:tgtEl>
                                          <p:spTgt spid="86"/>
                                        </p:tgtEl>
                                      </p:cBhvr>
                                    </p:animEffect>
                                  </p:childTnLst>
                                </p:cTn>
                              </p:par>
                              <p:par>
                                <p:cTn id="141" presetID="2" presetClass="entr" presetSubtype="2" fill="hold" grpId="0" nodeType="withEffect">
                                  <p:stCondLst>
                                    <p:cond delay="4000"/>
                                  </p:stCondLst>
                                  <p:childTnLst>
                                    <p:set>
                                      <p:cBhvr>
                                        <p:cTn id="142" dur="1" fill="hold">
                                          <p:stCondLst>
                                            <p:cond delay="0"/>
                                          </p:stCondLst>
                                        </p:cTn>
                                        <p:tgtEl>
                                          <p:spTgt spid="87"/>
                                        </p:tgtEl>
                                        <p:attrNameLst>
                                          <p:attrName>style.visibility</p:attrName>
                                        </p:attrNameLst>
                                      </p:cBhvr>
                                      <p:to>
                                        <p:strVal val="visible"/>
                                      </p:to>
                                    </p:set>
                                    <p:anim calcmode="lin" valueType="num">
                                      <p:cBhvr additive="base">
                                        <p:cTn id="143" dur="500" fill="hold"/>
                                        <p:tgtEl>
                                          <p:spTgt spid="87"/>
                                        </p:tgtEl>
                                        <p:attrNameLst>
                                          <p:attrName>ppt_x</p:attrName>
                                        </p:attrNameLst>
                                      </p:cBhvr>
                                      <p:tavLst>
                                        <p:tav tm="0">
                                          <p:val>
                                            <p:strVal val="1+#ppt_w/2"/>
                                          </p:val>
                                        </p:tav>
                                        <p:tav tm="100000">
                                          <p:val>
                                            <p:strVal val="#ppt_x"/>
                                          </p:val>
                                        </p:tav>
                                      </p:tavLst>
                                    </p:anim>
                                    <p:anim calcmode="lin" valueType="num">
                                      <p:cBhvr additive="base">
                                        <p:cTn id="144" dur="500" fill="hold"/>
                                        <p:tgtEl>
                                          <p:spTgt spid="87"/>
                                        </p:tgtEl>
                                        <p:attrNameLst>
                                          <p:attrName>ppt_y</p:attrName>
                                        </p:attrNameLst>
                                      </p:cBhvr>
                                      <p:tavLst>
                                        <p:tav tm="0">
                                          <p:val>
                                            <p:strVal val="#ppt_y"/>
                                          </p:val>
                                        </p:tav>
                                        <p:tav tm="100000">
                                          <p:val>
                                            <p:strVal val="#ppt_y"/>
                                          </p:val>
                                        </p:tav>
                                      </p:tavLst>
                                    </p:anim>
                                  </p:childTnLst>
                                </p:cTn>
                              </p:par>
                              <p:par>
                                <p:cTn id="145" presetID="2" presetClass="entr" presetSubtype="2" fill="hold" grpId="0" nodeType="withEffect">
                                  <p:stCondLst>
                                    <p:cond delay="4000"/>
                                  </p:stCondLst>
                                  <p:childTnLst>
                                    <p:set>
                                      <p:cBhvr>
                                        <p:cTn id="146" dur="1" fill="hold">
                                          <p:stCondLst>
                                            <p:cond delay="0"/>
                                          </p:stCondLst>
                                        </p:cTn>
                                        <p:tgtEl>
                                          <p:spTgt spid="88"/>
                                        </p:tgtEl>
                                        <p:attrNameLst>
                                          <p:attrName>style.visibility</p:attrName>
                                        </p:attrNameLst>
                                      </p:cBhvr>
                                      <p:to>
                                        <p:strVal val="visible"/>
                                      </p:to>
                                    </p:set>
                                    <p:anim calcmode="lin" valueType="num">
                                      <p:cBhvr additive="base">
                                        <p:cTn id="147" dur="500" fill="hold"/>
                                        <p:tgtEl>
                                          <p:spTgt spid="88"/>
                                        </p:tgtEl>
                                        <p:attrNameLst>
                                          <p:attrName>ppt_x</p:attrName>
                                        </p:attrNameLst>
                                      </p:cBhvr>
                                      <p:tavLst>
                                        <p:tav tm="0">
                                          <p:val>
                                            <p:strVal val="1+#ppt_w/2"/>
                                          </p:val>
                                        </p:tav>
                                        <p:tav tm="100000">
                                          <p:val>
                                            <p:strVal val="#ppt_x"/>
                                          </p:val>
                                        </p:tav>
                                      </p:tavLst>
                                    </p:anim>
                                    <p:anim calcmode="lin" valueType="num">
                                      <p:cBhvr additive="base">
                                        <p:cTn id="148" dur="500" fill="hold"/>
                                        <p:tgtEl>
                                          <p:spTgt spid="88"/>
                                        </p:tgtEl>
                                        <p:attrNameLst>
                                          <p:attrName>ppt_y</p:attrName>
                                        </p:attrNameLst>
                                      </p:cBhvr>
                                      <p:tavLst>
                                        <p:tav tm="0">
                                          <p:val>
                                            <p:strVal val="#ppt_y"/>
                                          </p:val>
                                        </p:tav>
                                        <p:tav tm="100000">
                                          <p:val>
                                            <p:strVal val="#ppt_y"/>
                                          </p:val>
                                        </p:tav>
                                      </p:tavLst>
                                    </p:anim>
                                  </p:childTnLst>
                                </p:cTn>
                              </p:par>
                              <p:par>
                                <p:cTn id="149" presetID="2" presetClass="entr" presetSubtype="2" fill="hold" grpId="0" nodeType="withEffect">
                                  <p:stCondLst>
                                    <p:cond delay="4000"/>
                                  </p:stCondLst>
                                  <p:childTnLst>
                                    <p:set>
                                      <p:cBhvr>
                                        <p:cTn id="150" dur="1" fill="hold">
                                          <p:stCondLst>
                                            <p:cond delay="0"/>
                                          </p:stCondLst>
                                        </p:cTn>
                                        <p:tgtEl>
                                          <p:spTgt spid="89"/>
                                        </p:tgtEl>
                                        <p:attrNameLst>
                                          <p:attrName>style.visibility</p:attrName>
                                        </p:attrNameLst>
                                      </p:cBhvr>
                                      <p:to>
                                        <p:strVal val="visible"/>
                                      </p:to>
                                    </p:set>
                                    <p:anim calcmode="lin" valueType="num">
                                      <p:cBhvr additive="base">
                                        <p:cTn id="151" dur="500" fill="hold"/>
                                        <p:tgtEl>
                                          <p:spTgt spid="89"/>
                                        </p:tgtEl>
                                        <p:attrNameLst>
                                          <p:attrName>ppt_x</p:attrName>
                                        </p:attrNameLst>
                                      </p:cBhvr>
                                      <p:tavLst>
                                        <p:tav tm="0">
                                          <p:val>
                                            <p:strVal val="1+#ppt_w/2"/>
                                          </p:val>
                                        </p:tav>
                                        <p:tav tm="100000">
                                          <p:val>
                                            <p:strVal val="#ppt_x"/>
                                          </p:val>
                                        </p:tav>
                                      </p:tavLst>
                                    </p:anim>
                                    <p:anim calcmode="lin" valueType="num">
                                      <p:cBhvr additive="base">
                                        <p:cTn id="152" dur="500" fill="hold"/>
                                        <p:tgtEl>
                                          <p:spTgt spid="89"/>
                                        </p:tgtEl>
                                        <p:attrNameLst>
                                          <p:attrName>ppt_y</p:attrName>
                                        </p:attrNameLst>
                                      </p:cBhvr>
                                      <p:tavLst>
                                        <p:tav tm="0">
                                          <p:val>
                                            <p:strVal val="#ppt_y"/>
                                          </p:val>
                                        </p:tav>
                                        <p:tav tm="100000">
                                          <p:val>
                                            <p:strVal val="#ppt_y"/>
                                          </p:val>
                                        </p:tav>
                                      </p:tavLst>
                                    </p:anim>
                                  </p:childTnLst>
                                </p:cTn>
                              </p:par>
                              <p:par>
                                <p:cTn id="153" presetID="2" presetClass="entr" presetSubtype="2" fill="hold" grpId="0" nodeType="withEffect">
                                  <p:stCondLst>
                                    <p:cond delay="4000"/>
                                  </p:stCondLst>
                                  <p:childTnLst>
                                    <p:set>
                                      <p:cBhvr>
                                        <p:cTn id="154" dur="1" fill="hold">
                                          <p:stCondLst>
                                            <p:cond delay="0"/>
                                          </p:stCondLst>
                                        </p:cTn>
                                        <p:tgtEl>
                                          <p:spTgt spid="90"/>
                                        </p:tgtEl>
                                        <p:attrNameLst>
                                          <p:attrName>style.visibility</p:attrName>
                                        </p:attrNameLst>
                                      </p:cBhvr>
                                      <p:to>
                                        <p:strVal val="visible"/>
                                      </p:to>
                                    </p:set>
                                    <p:anim calcmode="lin" valueType="num">
                                      <p:cBhvr additive="base">
                                        <p:cTn id="155" dur="500" fill="hold"/>
                                        <p:tgtEl>
                                          <p:spTgt spid="90"/>
                                        </p:tgtEl>
                                        <p:attrNameLst>
                                          <p:attrName>ppt_x</p:attrName>
                                        </p:attrNameLst>
                                      </p:cBhvr>
                                      <p:tavLst>
                                        <p:tav tm="0">
                                          <p:val>
                                            <p:strVal val="1+#ppt_w/2"/>
                                          </p:val>
                                        </p:tav>
                                        <p:tav tm="100000">
                                          <p:val>
                                            <p:strVal val="#ppt_x"/>
                                          </p:val>
                                        </p:tav>
                                      </p:tavLst>
                                    </p:anim>
                                    <p:anim calcmode="lin" valueType="num">
                                      <p:cBhvr additive="base">
                                        <p:cTn id="156" dur="500" fill="hold"/>
                                        <p:tgtEl>
                                          <p:spTgt spid="9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8" grpId="0" animBg="1"/>
      <p:bldP spid="53" grpId="0" animBg="1"/>
      <p:bldP spid="56" grpId="0" animBg="1"/>
      <p:bldP spid="57" grpId="0" animBg="1"/>
      <p:bldP spid="58" grpId="0" animBg="1"/>
      <p:bldP spid="59" grpId="0" animBg="1"/>
      <p:bldP spid="60" grpId="0" animBg="1"/>
      <p:bldP spid="61" grpId="0"/>
      <p:bldP spid="62" grpId="0"/>
      <p:bldP spid="63" grpId="0"/>
      <p:bldP spid="64" grpId="0"/>
      <p:bldP spid="65" grpId="0"/>
      <p:bldP spid="66" grpId="0"/>
      <p:bldP spid="67" grpId="0"/>
      <p:bldP spid="69" grpId="0"/>
      <p:bldP spid="70" grpId="0" animBg="1"/>
      <p:bldP spid="71" grpId="0" animBg="1"/>
      <p:bldP spid="72" grpId="0" animBg="1"/>
      <p:bldP spid="75" grpId="0"/>
      <p:bldP spid="77" grpId="0"/>
      <p:bldP spid="78" grpId="0"/>
      <p:bldP spid="83" grpId="0" animBg="1"/>
      <p:bldP spid="85" grpId="0" animBg="1"/>
      <p:bldP spid="86" grpId="0" animBg="1"/>
      <p:bldP spid="87" grpId="0"/>
      <p:bldP spid="88" grpId="0"/>
      <p:bldP spid="89" grpId="0"/>
      <p:bldP spid="90" grpId="0"/>
      <p:bldP spid="79" grpId="0" animBg="1"/>
      <p:bldP spid="80"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6" name="组合 35"/>
          <p:cNvGrpSpPr/>
          <p:nvPr/>
        </p:nvGrpSpPr>
        <p:grpSpPr>
          <a:xfrm>
            <a:off x="2584817" y="1844824"/>
            <a:ext cx="7020779" cy="655104"/>
            <a:chOff x="2584817" y="2125824"/>
            <a:chExt cx="7020779" cy="655104"/>
          </a:xfrm>
        </p:grpSpPr>
        <p:sp>
          <p:nvSpPr>
            <p:cNvPr id="17" name="矩形 16"/>
            <p:cNvSpPr/>
            <p:nvPr/>
          </p:nvSpPr>
          <p:spPr>
            <a:xfrm>
              <a:off x="2584817" y="2125824"/>
              <a:ext cx="936104" cy="655104"/>
            </a:xfrm>
            <a:prstGeom prst="rect">
              <a:avLst/>
            </a:prstGeom>
            <a:solidFill>
              <a:srgbClr val="47A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smtClean="0">
                  <a:latin typeface="HelveticaNeueLT Pro 35 Th" pitchFamily="34" charset="0"/>
                </a:rPr>
                <a:t>1</a:t>
              </a:r>
              <a:endParaRPr lang="zh-CN" altLang="en-US" sz="3600">
                <a:latin typeface="HelveticaNeueLT Pro 35 Th" pitchFamily="34" charset="0"/>
              </a:endParaRPr>
            </a:p>
          </p:txBody>
        </p:sp>
        <p:sp>
          <p:nvSpPr>
            <p:cNvPr id="29" name="矩形 28"/>
            <p:cNvSpPr/>
            <p:nvPr/>
          </p:nvSpPr>
          <p:spPr>
            <a:xfrm>
              <a:off x="3621305" y="2125824"/>
              <a:ext cx="5984291" cy="655104"/>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smtClean="0">
                  <a:latin typeface="华文黑体" pitchFamily="2" charset="-122"/>
                  <a:ea typeface="华文黑体" pitchFamily="2" charset="-122"/>
                  <a:cs typeface="华文黑体" pitchFamily="2" charset="-122"/>
                </a:rPr>
                <a:t>                     点击添加标题</a:t>
              </a:r>
              <a:endParaRPr lang="zh-CN" altLang="en-US" sz="2800">
                <a:latin typeface="华文黑体" pitchFamily="2" charset="-122"/>
                <a:ea typeface="华文黑体" pitchFamily="2" charset="-122"/>
                <a:cs typeface="华文黑体" pitchFamily="2" charset="-122"/>
              </a:endParaRPr>
            </a:p>
          </p:txBody>
        </p:sp>
      </p:grpSp>
      <p:grpSp>
        <p:nvGrpSpPr>
          <p:cNvPr id="37" name="组合 36"/>
          <p:cNvGrpSpPr/>
          <p:nvPr/>
        </p:nvGrpSpPr>
        <p:grpSpPr>
          <a:xfrm>
            <a:off x="2584817" y="2695295"/>
            <a:ext cx="7020779" cy="655104"/>
            <a:chOff x="2584817" y="2976295"/>
            <a:chExt cx="7020779" cy="655104"/>
          </a:xfrm>
        </p:grpSpPr>
        <p:sp>
          <p:nvSpPr>
            <p:cNvPr id="26" name="矩形 25"/>
            <p:cNvSpPr/>
            <p:nvPr/>
          </p:nvSpPr>
          <p:spPr>
            <a:xfrm>
              <a:off x="2584817" y="2976295"/>
              <a:ext cx="936104" cy="655104"/>
            </a:xfrm>
            <a:prstGeom prst="rect">
              <a:avLst/>
            </a:prstGeom>
            <a:solidFill>
              <a:srgbClr val="47A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smtClean="0">
                  <a:latin typeface="HelveticaNeueLT Pro 35 Th" pitchFamily="34" charset="0"/>
                </a:rPr>
                <a:t>2</a:t>
              </a:r>
              <a:endParaRPr lang="zh-CN" altLang="en-US" sz="3600">
                <a:latin typeface="HelveticaNeueLT Pro 35 Th" pitchFamily="34" charset="0"/>
              </a:endParaRPr>
            </a:p>
          </p:txBody>
        </p:sp>
        <p:sp>
          <p:nvSpPr>
            <p:cNvPr id="30" name="矩形 29"/>
            <p:cNvSpPr/>
            <p:nvPr/>
          </p:nvSpPr>
          <p:spPr>
            <a:xfrm>
              <a:off x="3621305" y="2976295"/>
              <a:ext cx="5984291" cy="655104"/>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smtClean="0">
                  <a:latin typeface="华文黑体" pitchFamily="2" charset="-122"/>
                  <a:ea typeface="华文黑体" pitchFamily="2" charset="-122"/>
                  <a:cs typeface="华文黑体" pitchFamily="2" charset="-122"/>
                </a:rPr>
                <a:t>                     点击添加标题</a:t>
              </a:r>
              <a:endParaRPr lang="zh-CN" altLang="en-US" sz="2800">
                <a:latin typeface="华文黑体" pitchFamily="2" charset="-122"/>
                <a:ea typeface="华文黑体" pitchFamily="2" charset="-122"/>
                <a:cs typeface="华文黑体" pitchFamily="2" charset="-122"/>
              </a:endParaRPr>
            </a:p>
          </p:txBody>
        </p:sp>
      </p:grpSp>
      <p:grpSp>
        <p:nvGrpSpPr>
          <p:cNvPr id="38" name="组合 37"/>
          <p:cNvGrpSpPr/>
          <p:nvPr/>
        </p:nvGrpSpPr>
        <p:grpSpPr>
          <a:xfrm>
            <a:off x="2584817" y="3545766"/>
            <a:ext cx="7020779" cy="655104"/>
            <a:chOff x="2584817" y="3826766"/>
            <a:chExt cx="7020779" cy="655104"/>
          </a:xfrm>
        </p:grpSpPr>
        <p:sp>
          <p:nvSpPr>
            <p:cNvPr id="27" name="矩形 26"/>
            <p:cNvSpPr/>
            <p:nvPr/>
          </p:nvSpPr>
          <p:spPr>
            <a:xfrm>
              <a:off x="2584817" y="3826766"/>
              <a:ext cx="936104" cy="655104"/>
            </a:xfrm>
            <a:prstGeom prst="rect">
              <a:avLst/>
            </a:prstGeom>
            <a:solidFill>
              <a:srgbClr val="47A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smtClean="0">
                  <a:latin typeface="HelveticaNeueLT Pro 35 Th" pitchFamily="34" charset="0"/>
                </a:rPr>
                <a:t>3</a:t>
              </a:r>
              <a:endParaRPr lang="zh-CN" altLang="en-US" sz="3600">
                <a:latin typeface="HelveticaNeueLT Pro 35 Th" pitchFamily="34" charset="0"/>
              </a:endParaRPr>
            </a:p>
          </p:txBody>
        </p:sp>
        <p:sp>
          <p:nvSpPr>
            <p:cNvPr id="31" name="矩形 30"/>
            <p:cNvSpPr/>
            <p:nvPr/>
          </p:nvSpPr>
          <p:spPr>
            <a:xfrm>
              <a:off x="3621305" y="3826766"/>
              <a:ext cx="5984291" cy="655104"/>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smtClean="0">
                  <a:latin typeface="华文黑体" pitchFamily="2" charset="-122"/>
                  <a:ea typeface="华文黑体" pitchFamily="2" charset="-122"/>
                  <a:cs typeface="华文黑体" pitchFamily="2" charset="-122"/>
                </a:rPr>
                <a:t>                     点击添加标题</a:t>
              </a:r>
              <a:endParaRPr lang="zh-CN" altLang="en-US" sz="2800">
                <a:latin typeface="华文黑体" pitchFamily="2" charset="-122"/>
                <a:ea typeface="华文黑体" pitchFamily="2" charset="-122"/>
                <a:cs typeface="华文黑体" pitchFamily="2" charset="-122"/>
              </a:endParaRPr>
            </a:p>
          </p:txBody>
        </p:sp>
      </p:grpSp>
      <p:grpSp>
        <p:nvGrpSpPr>
          <p:cNvPr id="39" name="组合 38"/>
          <p:cNvGrpSpPr/>
          <p:nvPr/>
        </p:nvGrpSpPr>
        <p:grpSpPr>
          <a:xfrm>
            <a:off x="2584817" y="4396236"/>
            <a:ext cx="7020779" cy="655104"/>
            <a:chOff x="2584817" y="4677236"/>
            <a:chExt cx="7020779" cy="655104"/>
          </a:xfrm>
        </p:grpSpPr>
        <p:sp>
          <p:nvSpPr>
            <p:cNvPr id="28" name="矩形 27"/>
            <p:cNvSpPr/>
            <p:nvPr/>
          </p:nvSpPr>
          <p:spPr>
            <a:xfrm>
              <a:off x="2584817" y="4677236"/>
              <a:ext cx="936104" cy="655104"/>
            </a:xfrm>
            <a:prstGeom prst="rect">
              <a:avLst/>
            </a:prstGeom>
            <a:solidFill>
              <a:srgbClr val="47A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smtClean="0">
                  <a:latin typeface="HelveticaNeueLT Pro 35 Th" pitchFamily="34" charset="0"/>
                </a:rPr>
                <a:t>4</a:t>
              </a:r>
              <a:endParaRPr lang="zh-CN" altLang="en-US" sz="3600">
                <a:latin typeface="HelveticaNeueLT Pro 35 Th" pitchFamily="34" charset="0"/>
              </a:endParaRPr>
            </a:p>
          </p:txBody>
        </p:sp>
        <p:sp>
          <p:nvSpPr>
            <p:cNvPr id="32" name="矩形 31"/>
            <p:cNvSpPr/>
            <p:nvPr/>
          </p:nvSpPr>
          <p:spPr>
            <a:xfrm>
              <a:off x="3621305" y="4677236"/>
              <a:ext cx="5984291" cy="655104"/>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smtClean="0">
                  <a:latin typeface="华文黑体" pitchFamily="2" charset="-122"/>
                  <a:ea typeface="华文黑体" pitchFamily="2" charset="-122"/>
                  <a:cs typeface="华文黑体" pitchFamily="2" charset="-122"/>
                </a:rPr>
                <a:t>                     点击添加标题</a:t>
              </a:r>
              <a:endParaRPr lang="zh-CN" altLang="en-US" sz="2800">
                <a:latin typeface="华文黑体" pitchFamily="2" charset="-122"/>
                <a:ea typeface="华文黑体" pitchFamily="2" charset="-122"/>
                <a:cs typeface="华文黑体" pitchFamily="2" charset="-122"/>
              </a:endParaRPr>
            </a:p>
          </p:txBody>
        </p:sp>
      </p:grpSp>
      <p:grpSp>
        <p:nvGrpSpPr>
          <p:cNvPr id="40" name="组合 39"/>
          <p:cNvGrpSpPr/>
          <p:nvPr/>
        </p:nvGrpSpPr>
        <p:grpSpPr>
          <a:xfrm>
            <a:off x="2584817" y="5236232"/>
            <a:ext cx="7020779" cy="655104"/>
            <a:chOff x="2584817" y="4677236"/>
            <a:chExt cx="7020779" cy="655104"/>
          </a:xfrm>
        </p:grpSpPr>
        <p:sp>
          <p:nvSpPr>
            <p:cNvPr id="41" name="矩形 40"/>
            <p:cNvSpPr/>
            <p:nvPr/>
          </p:nvSpPr>
          <p:spPr>
            <a:xfrm>
              <a:off x="2584817" y="4677236"/>
              <a:ext cx="936104" cy="655104"/>
            </a:xfrm>
            <a:prstGeom prst="rect">
              <a:avLst/>
            </a:prstGeom>
            <a:solidFill>
              <a:srgbClr val="47A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smtClean="0">
                  <a:latin typeface="HelveticaNeueLT Pro 35 Th" pitchFamily="34" charset="0"/>
                </a:rPr>
                <a:t>5</a:t>
              </a:r>
              <a:endParaRPr lang="zh-CN" altLang="en-US" sz="3600">
                <a:latin typeface="HelveticaNeueLT Pro 35 Th" pitchFamily="34" charset="0"/>
              </a:endParaRPr>
            </a:p>
          </p:txBody>
        </p:sp>
        <p:sp>
          <p:nvSpPr>
            <p:cNvPr id="42" name="矩形 41"/>
            <p:cNvSpPr/>
            <p:nvPr/>
          </p:nvSpPr>
          <p:spPr>
            <a:xfrm>
              <a:off x="3621305" y="4677236"/>
              <a:ext cx="5984291" cy="655104"/>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smtClean="0">
                  <a:latin typeface="华文黑体" pitchFamily="2" charset="-122"/>
                  <a:ea typeface="华文黑体" pitchFamily="2" charset="-122"/>
                  <a:cs typeface="华文黑体" pitchFamily="2" charset="-122"/>
                </a:rPr>
                <a:t>                     点击添加标题</a:t>
              </a:r>
              <a:endParaRPr lang="zh-CN" altLang="en-US" sz="2800">
                <a:latin typeface="华文黑体" pitchFamily="2" charset="-122"/>
                <a:ea typeface="华文黑体" pitchFamily="2" charset="-122"/>
                <a:cs typeface="华文黑体" pitchFamily="2" charset="-122"/>
              </a:endParaRPr>
            </a:p>
          </p:txBody>
        </p:sp>
      </p:grpSp>
      <p:sp>
        <p:nvSpPr>
          <p:cNvPr id="25" name="矩形 24"/>
          <p:cNvSpPr/>
          <p:nvPr/>
        </p:nvSpPr>
        <p:spPr>
          <a:xfrm>
            <a:off x="3621305" y="2695295"/>
            <a:ext cx="5984291" cy="655104"/>
          </a:xfrm>
          <a:prstGeom prst="rect">
            <a:avLst/>
          </a:prstGeom>
          <a:solidFill>
            <a:srgbClr val="FF78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smtClean="0">
                <a:latin typeface="华文黑体" pitchFamily="2" charset="-122"/>
                <a:ea typeface="华文黑体" pitchFamily="2" charset="-122"/>
                <a:cs typeface="华文黑体" pitchFamily="2" charset="-122"/>
              </a:rPr>
              <a:t>                     点击添加标题</a:t>
            </a:r>
            <a:endParaRPr lang="zh-CN" altLang="en-US" sz="2800">
              <a:latin typeface="华文黑体" pitchFamily="2" charset="-122"/>
              <a:ea typeface="华文黑体" pitchFamily="2" charset="-122"/>
              <a:cs typeface="华文黑体" pitchFamily="2" charset="-122"/>
            </a:endParaRPr>
          </a:p>
        </p:txBody>
      </p:sp>
      <p:sp>
        <p:nvSpPr>
          <p:cNvPr id="34" name="矩形 33"/>
          <p:cNvSpPr/>
          <p:nvPr/>
        </p:nvSpPr>
        <p:spPr>
          <a:xfrm>
            <a:off x="2584817" y="2695295"/>
            <a:ext cx="936104" cy="6551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smtClean="0">
                <a:solidFill>
                  <a:srgbClr val="47A7FF"/>
                </a:solidFill>
                <a:latin typeface="HelveticaNeueLT Pro 35 Th" pitchFamily="34" charset="0"/>
              </a:rPr>
              <a:t>2</a:t>
            </a:r>
            <a:endParaRPr lang="zh-CN" altLang="en-US" sz="3600">
              <a:solidFill>
                <a:srgbClr val="47A7FF"/>
              </a:solidFill>
              <a:latin typeface="HelveticaNeueLT Pro 35 Th" pitchFamily="34" charset="0"/>
            </a:endParaRPr>
          </a:p>
        </p:txBody>
      </p:sp>
      <p:sp>
        <p:nvSpPr>
          <p:cNvPr id="24" name="圆角矩形 23"/>
          <p:cNvSpPr/>
          <p:nvPr/>
        </p:nvSpPr>
        <p:spPr>
          <a:xfrm>
            <a:off x="9772022" y="260648"/>
            <a:ext cx="1944216" cy="600163"/>
          </a:xfrm>
          <a:prstGeom prst="roundRect">
            <a:avLst/>
          </a:prstGeom>
          <a:solidFill>
            <a:srgbClr val="FFFFFF"/>
          </a:solidFill>
          <a:ln>
            <a:noFill/>
          </a:ln>
          <a:effectLst>
            <a:reflection blurRad="6350" stA="25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3" name="TextBox 32"/>
          <p:cNvSpPr txBox="1"/>
          <p:nvPr/>
        </p:nvSpPr>
        <p:spPr>
          <a:xfrm>
            <a:off x="10292725" y="260648"/>
            <a:ext cx="902811" cy="523220"/>
          </a:xfrm>
          <a:prstGeom prst="rect">
            <a:avLst/>
          </a:prstGeom>
          <a:noFill/>
        </p:spPr>
        <p:txBody>
          <a:bodyPr wrap="none" rtlCol="0" anchor="ctr">
            <a:spAutoFit/>
          </a:bodyPr>
          <a:lstStyle>
            <a:defPPr>
              <a:defRPr lang="zh-CN"/>
            </a:defPPr>
            <a:lvl1pPr algn="ctr">
              <a:defRPr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anose="02010600040101010101" pitchFamily="2" charset="-122"/>
                <a:cs typeface="华文黑体" pitchFamily="2" charset="-122"/>
              </a:defRPr>
            </a:lvl1pPr>
          </a:lstStyle>
          <a:p>
            <a:r>
              <a:rPr lang="zh-CN" altLang="en-US" sz="2800">
                <a:gradFill>
                  <a:gsLst>
                    <a:gs pos="0">
                      <a:srgbClr val="2A4DFE"/>
                    </a:gs>
                    <a:gs pos="57000">
                      <a:srgbClr val="4F92FF"/>
                    </a:gs>
                    <a:gs pos="70000">
                      <a:srgbClr val="44028C"/>
                    </a:gs>
                    <a:gs pos="100000">
                      <a:srgbClr val="FF09A7"/>
                    </a:gs>
                    <a:gs pos="83000">
                      <a:srgbClr val="B00071"/>
                    </a:gs>
                  </a:gsLst>
                  <a:lin ang="5400000" scaled="0"/>
                </a:gradFill>
              </a:rPr>
              <a:t>目录</a:t>
            </a:r>
            <a:endParaRPr lang="zh-CN" altLang="en-US" sz="2800">
              <a:gradFill>
                <a:gsLst>
                  <a:gs pos="0">
                    <a:srgbClr val="2A4DFE"/>
                  </a:gs>
                  <a:gs pos="57000">
                    <a:srgbClr val="4F92FF"/>
                  </a:gs>
                  <a:gs pos="70000">
                    <a:srgbClr val="44028C"/>
                  </a:gs>
                  <a:gs pos="100000">
                    <a:srgbClr val="FF09A7"/>
                  </a:gs>
                  <a:gs pos="83000">
                    <a:srgbClr val="B00071"/>
                  </a:gs>
                </a:gsLst>
                <a:lin ang="5400000" scaled="0"/>
              </a:gradFill>
            </a:endParaRPr>
          </a:p>
        </p:txBody>
      </p:sp>
      <p:sp>
        <p:nvSpPr>
          <p:cNvPr id="35" name="TextBox 34"/>
          <p:cNvSpPr txBox="1"/>
          <p:nvPr/>
        </p:nvSpPr>
        <p:spPr>
          <a:xfrm>
            <a:off x="7323750" y="276036"/>
            <a:ext cx="2294218" cy="584775"/>
          </a:xfrm>
          <a:prstGeom prst="rect">
            <a:avLst/>
          </a:prstGeom>
          <a:noFill/>
        </p:spPr>
        <p:txBody>
          <a:bodyPr wrap="none" rtlCol="0">
            <a:spAutoFit/>
          </a:bodyPr>
          <a:lstStyle/>
          <a:p>
            <a:pPr algn="ctr"/>
            <a:r>
              <a:rPr lang="en-US" altLang="zh-CN" sz="3200" smtClean="0">
                <a:solidFill>
                  <a:schemeClr val="bg1"/>
                </a:solidFill>
                <a:latin typeface="HelveticaNeueLT Pro 35 Th" pitchFamily="34" charset="0"/>
                <a:ea typeface="华文细黑" panose="02010600040101010101" pitchFamily="2" charset="-122"/>
                <a:cs typeface="华文黑体" pitchFamily="2" charset="-122"/>
              </a:rPr>
              <a:t>CONTENTS</a:t>
            </a:r>
            <a:endParaRPr lang="zh-CN" altLang="en-US" sz="3200">
              <a:solidFill>
                <a:schemeClr val="bg1"/>
              </a:solidFill>
              <a:latin typeface="HelveticaNeueLT Pro 35 Th" pitchFamily="34" charset="0"/>
              <a:ea typeface="华文细黑" panose="02010600040101010101" pitchFamily="2" charset="-122"/>
              <a:cs typeface="华文黑体" pitchFamily="2" charset="-122"/>
            </a:endParaRPr>
          </a:p>
        </p:txBody>
      </p:sp>
    </p:spTree>
  </p:cSld>
  <p:clrMapOvr>
    <a:masterClrMapping/>
  </p:clrMapOvr>
  <p:transition spd="slow">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4"/>
                                        </p:tgtEl>
                                        <p:attrNameLst>
                                          <p:attrName>style.visibility</p:attrName>
                                        </p:attrNameLst>
                                      </p:cBhvr>
                                      <p:to>
                                        <p:strVal val="visible"/>
                                      </p:to>
                                    </p:set>
                                    <p:animEffect transition="in" filter="fade">
                                      <p:cBhvr>
                                        <p:cTn id="7" dur="300"/>
                                        <p:tgtEl>
                                          <p:spTgt spid="2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3"/>
                                        </p:tgtEl>
                                        <p:attrNameLst>
                                          <p:attrName>style.visibility</p:attrName>
                                        </p:attrNameLst>
                                      </p:cBhvr>
                                      <p:to>
                                        <p:strVal val="visible"/>
                                      </p:to>
                                    </p:set>
                                    <p:animEffect transition="in" filter="fade">
                                      <p:cBhvr>
                                        <p:cTn id="10" dur="300"/>
                                        <p:tgtEl>
                                          <p:spTgt spid="33"/>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5"/>
                                        </p:tgtEl>
                                        <p:attrNameLst>
                                          <p:attrName>style.visibility</p:attrName>
                                        </p:attrNameLst>
                                      </p:cBhvr>
                                      <p:to>
                                        <p:strVal val="visible"/>
                                      </p:to>
                                    </p:set>
                                    <p:animEffect transition="in" filter="fade">
                                      <p:cBhvr>
                                        <p:cTn id="13" dur="300"/>
                                        <p:tgtEl>
                                          <p:spTgt spid="35"/>
                                        </p:tgtEl>
                                      </p:cBhvr>
                                    </p:animEffect>
                                  </p:childTnLst>
                                </p:cTn>
                              </p:par>
                            </p:childTnLst>
                          </p:cTn>
                        </p:par>
                        <p:par>
                          <p:cTn id="14" fill="hold">
                            <p:stCondLst>
                              <p:cond delay="500"/>
                            </p:stCondLst>
                            <p:childTnLst>
                              <p:par>
                                <p:cTn id="15" presetID="22" presetClass="entr" presetSubtype="1" fill="hold" grpId="0" nodeType="afterEffect">
                                  <p:stCondLst>
                                    <p:cond delay="0"/>
                                  </p:stCondLst>
                                  <p:childTnLst>
                                    <p:set>
                                      <p:cBhvr>
                                        <p:cTn id="16" dur="1" fill="hold">
                                          <p:stCondLst>
                                            <p:cond delay="0"/>
                                          </p:stCondLst>
                                        </p:cTn>
                                        <p:tgtEl>
                                          <p:spTgt spid="34"/>
                                        </p:tgtEl>
                                        <p:attrNameLst>
                                          <p:attrName>style.visibility</p:attrName>
                                        </p:attrNameLst>
                                      </p:cBhvr>
                                      <p:to>
                                        <p:strVal val="visible"/>
                                      </p:to>
                                    </p:set>
                                    <p:animEffect transition="in" filter="wipe(up)">
                                      <p:cBhvr>
                                        <p:cTn id="17" dur="500"/>
                                        <p:tgtEl>
                                          <p:spTgt spid="34"/>
                                        </p:tgtEl>
                                      </p:cBhvr>
                                    </p:animEffect>
                                  </p:childTnLst>
                                </p:cTn>
                              </p:par>
                              <p:par>
                                <p:cTn id="18" presetID="22" presetClass="entr" presetSubtype="2" fill="hold" grpId="0" nodeType="withEffect">
                                  <p:stCondLst>
                                    <p:cond delay="0"/>
                                  </p:stCondLst>
                                  <p:childTnLst>
                                    <p:set>
                                      <p:cBhvr>
                                        <p:cTn id="19" dur="1" fill="hold">
                                          <p:stCondLst>
                                            <p:cond delay="0"/>
                                          </p:stCondLst>
                                        </p:cTn>
                                        <p:tgtEl>
                                          <p:spTgt spid="25"/>
                                        </p:tgtEl>
                                        <p:attrNameLst>
                                          <p:attrName>style.visibility</p:attrName>
                                        </p:attrNameLst>
                                      </p:cBhvr>
                                      <p:to>
                                        <p:strVal val="visible"/>
                                      </p:to>
                                    </p:set>
                                    <p:animEffect transition="in" filter="wipe(right)">
                                      <p:cBhvr>
                                        <p:cTn id="20"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animBg="1"/>
      <p:bldP spid="34" grpId="0" animBg="1"/>
      <p:bldP spid="24" grpId="0" animBg="1"/>
      <p:bldP spid="33" grpId="0"/>
      <p:bldP spid="35" grpId="0"/>
    </p:bldLst>
  </p:timing>
</p:sld>
</file>

<file path=ppt/tags/tag1.xml><?xml version="1.0" encoding="utf-8"?>
<p:tagLst xmlns:p="http://schemas.openxmlformats.org/presentationml/2006/main">
  <p:tag name="THINKCELLSHAPEDONOTDELETE" val="ps1938Mw9kkyV2XgRVpibQw"/>
</p:tagLst>
</file>

<file path=ppt/tags/tag2.xml><?xml version="1.0" encoding="utf-8"?>
<p:tagLst xmlns:p="http://schemas.openxmlformats.org/presentationml/2006/main">
  <p:tag name="commondata" val="eyJoZGlkIjoiYTQ3YTc2YjBlNWRhYjQ0NTA0MDBkN2E0YWM4YTZjZGMifQ=="/>
</p:tagLst>
</file>

<file path=ppt/theme/theme1.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3793</Words>
  <Application>WPS 演示</Application>
  <PresentationFormat>自定义</PresentationFormat>
  <Paragraphs>598</Paragraphs>
  <Slides>28</Slides>
  <Notes>28</Notes>
  <HiddenSlides>0</HiddenSlides>
  <MMClips>0</MMClips>
  <ScaleCrop>false</ScaleCrop>
  <HeadingPairs>
    <vt:vector size="6" baseType="variant">
      <vt:variant>
        <vt:lpstr>已用的字体</vt:lpstr>
      </vt:variant>
      <vt:variant>
        <vt:i4>17</vt:i4>
      </vt:variant>
      <vt:variant>
        <vt:lpstr>主题</vt:lpstr>
      </vt:variant>
      <vt:variant>
        <vt:i4>1</vt:i4>
      </vt:variant>
      <vt:variant>
        <vt:lpstr>幻灯片标题</vt:lpstr>
      </vt:variant>
      <vt:variant>
        <vt:i4>28</vt:i4>
      </vt:variant>
    </vt:vector>
  </HeadingPairs>
  <TitlesOfParts>
    <vt:vector size="46" baseType="lpstr">
      <vt:lpstr>Arial</vt:lpstr>
      <vt:lpstr>宋体</vt:lpstr>
      <vt:lpstr>Wingdings</vt:lpstr>
      <vt:lpstr>华文黑体</vt:lpstr>
      <vt:lpstr>黑体</vt:lpstr>
      <vt:lpstr>HelveticaNeueLT Pro 35 Th</vt:lpstr>
      <vt:lpstr>华文细黑</vt:lpstr>
      <vt:lpstr>Segoe Print</vt:lpstr>
      <vt:lpstr>Gill Sans MT Pro Light</vt:lpstr>
      <vt:lpstr>Calibri</vt:lpstr>
      <vt:lpstr>微软雅黑</vt:lpstr>
      <vt:lpstr>Arial Unicode MS</vt:lpstr>
      <vt:lpstr>Meiryo</vt:lpstr>
      <vt:lpstr>Yu Gothic UI</vt:lpstr>
      <vt:lpstr>Arial Narrow</vt:lpstr>
      <vt:lpstr>Calibri</vt:lpstr>
      <vt:lpstr>Calibri Light</vt:lpstr>
      <vt:lpstr>Office 主题</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Administrator</dc:creator>
  <cp:lastModifiedBy>Years later</cp:lastModifiedBy>
  <cp:revision>65</cp:revision>
  <dcterms:created xsi:type="dcterms:W3CDTF">2014-05-13T11:59:00Z</dcterms:created>
  <dcterms:modified xsi:type="dcterms:W3CDTF">2024-05-05T18:48:4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CV">
    <vt:lpwstr>72DEC301D3654372BFC8FDB7465451AA_13</vt:lpwstr>
  </property>
  <property fmtid="{D5CDD505-2E9C-101B-9397-08002B2CF9AE}" pid="3" name="KSOProductBuildVer">
    <vt:lpwstr>2052-12.1.0.16417</vt:lpwstr>
  </property>
</Properties>
</file>